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slideLayouts/slideLayout8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8" r:id="rId1"/>
    <p:sldMasterId id="2147483781" r:id="rId2"/>
    <p:sldMasterId id="2147483795" r:id="rId3"/>
    <p:sldMasterId id="2147483814" r:id="rId4"/>
    <p:sldMasterId id="2147483837" r:id="rId5"/>
    <p:sldMasterId id="2147483853" r:id="rId6"/>
    <p:sldMasterId id="2147483856" r:id="rId7"/>
  </p:sldMasterIdLst>
  <p:notesMasterIdLst>
    <p:notesMasterId r:id="rId18"/>
  </p:notesMasterIdLst>
  <p:sldIdLst>
    <p:sldId id="256" r:id="rId8"/>
    <p:sldId id="259" r:id="rId9"/>
    <p:sldId id="261" r:id="rId10"/>
    <p:sldId id="262" r:id="rId11"/>
    <p:sldId id="263" r:id="rId12"/>
    <p:sldId id="2147468052" r:id="rId13"/>
    <p:sldId id="2147468170" r:id="rId14"/>
    <p:sldId id="2076136710" r:id="rId15"/>
    <p:sldId id="2056" r:id="rId16"/>
    <p:sldId id="260" r:id="rId17"/>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327"/>
  </p:normalViewPr>
  <p:slideViewPr>
    <p:cSldViewPr snapToGrid="0">
      <p:cViewPr varScale="1">
        <p:scale>
          <a:sx n="150" d="100"/>
          <a:sy n="150" d="100"/>
        </p:scale>
        <p:origin x="456" y="12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CA"/>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E0C3FC-35DF-4FE6-9A96-C6988D34DD85}" type="datetimeFigureOut">
              <a:rPr lang="fr-CA" smtClean="0"/>
              <a:t>2023-04-11</a:t>
            </a:fld>
            <a:endParaRPr lang="fr-CA"/>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CA"/>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CA"/>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1D2DF4-ED0D-4497-AB72-C89910D0F6EE}" type="slidenum">
              <a:rPr lang="fr-CA" smtClean="0"/>
              <a:t>‹N°›</a:t>
            </a:fld>
            <a:endParaRPr lang="fr-CA"/>
          </a:p>
        </p:txBody>
      </p:sp>
    </p:spTree>
    <p:extLst>
      <p:ext uri="{BB962C8B-B14F-4D97-AF65-F5344CB8AC3E}">
        <p14:creationId xmlns:p14="http://schemas.microsoft.com/office/powerpoint/2010/main" val="14817237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sas.com/en_us/customers/telenor-personalization.html"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AF0A8AE-7462-4565-9DEE-22EA0464603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819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C255CEC-CD33-4DAD-A50E-B5CF1A02E9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711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400" b="1" u="sng" baseline="0" dirty="0">
                <a:solidFill>
                  <a:srgbClr val="FF0000"/>
                </a:solidFill>
              </a:rPr>
              <a:t>You are responsible for adhering to the following restrictions when sharing this slide</a:t>
            </a:r>
            <a:endParaRPr lang="en-US" sz="1200" b="1" kern="1200" baseline="0" dirty="0">
              <a:solidFill>
                <a:schemeClr val="tx1"/>
              </a:solidFill>
              <a:effectLst/>
              <a:latin typeface="+mn-lt"/>
              <a:ea typeface="+mn-ea"/>
              <a:cs typeface="Arial" pitchFamily="34" charset="0"/>
            </a:endParaRPr>
          </a:p>
          <a:p>
            <a:pPr marL="0" indent="0">
              <a:buNone/>
            </a:pPr>
            <a:r>
              <a:rPr lang="en-US" sz="1200" b="1" kern="1200" baseline="0" dirty="0">
                <a:solidFill>
                  <a:schemeClr val="tx1"/>
                </a:solidFill>
                <a:effectLst/>
                <a:latin typeface="+mn-lt"/>
                <a:ea typeface="+mn-ea"/>
                <a:cs typeface="Arial" pitchFamily="34" charset="0"/>
              </a:rPr>
              <a:t>Named customer based on customer success story</a:t>
            </a:r>
          </a:p>
          <a:p>
            <a:pPr marL="342900" lvl="1" indent="-171450"/>
            <a:r>
              <a:rPr lang="en-US" sz="1200" kern="1200" baseline="0" dirty="0">
                <a:solidFill>
                  <a:schemeClr val="tx1"/>
                </a:solidFill>
                <a:effectLst/>
                <a:latin typeface="+mn-lt"/>
                <a:ea typeface="+mn-ea"/>
                <a:cs typeface="Arial" pitchFamily="34" charset="0"/>
              </a:rPr>
              <a:t>General external distribution allowed. Customer slide can be sent to customers or left behind after meetings.</a:t>
            </a:r>
          </a:p>
          <a:p>
            <a:pPr lvl="1"/>
            <a:endParaRPr lang="en-US" sz="1200" b="0" i="0" kern="1200" baseline="0" dirty="0">
              <a:solidFill>
                <a:schemeClr val="tx1">
                  <a:lumMod val="65000"/>
                  <a:lumOff val="35000"/>
                </a:schemeClr>
              </a:solidFill>
              <a:effectLst/>
              <a:latin typeface="+mn-lt"/>
              <a:ea typeface="+mn-ea"/>
              <a:cs typeface="Arial" pitchFamily="34" charset="0"/>
            </a:endParaRPr>
          </a:p>
          <a:p>
            <a:pPr marL="0" marR="0" lvl="0" indent="0" algn="l" defTabSz="365760" rtl="0" eaLnBrk="1" fontAlgn="auto" latinLnBrk="0" hangingPunct="1">
              <a:lnSpc>
                <a:spcPct val="85000"/>
              </a:lnSpc>
              <a:spcBef>
                <a:spcPts val="800"/>
              </a:spcBef>
              <a:spcAft>
                <a:spcPts val="0"/>
              </a:spcAft>
              <a:buClr>
                <a:schemeClr val="tx1"/>
              </a:buClr>
              <a:buSzPct val="80000"/>
              <a:buFont typeface="Arial" charset="0"/>
              <a:buNone/>
              <a:tabLst/>
              <a:defRPr/>
            </a:pPr>
            <a:r>
              <a:rPr lang="en-US" baseline="0" dirty="0"/>
              <a:t>Customer Success Story: https://</a:t>
            </a:r>
            <a:r>
              <a:rPr lang="en-US" baseline="0" dirty="0" err="1"/>
              <a:t>www.sas.com</a:t>
            </a:r>
            <a:r>
              <a:rPr lang="en-US" baseline="0" dirty="0"/>
              <a:t>/</a:t>
            </a:r>
            <a:r>
              <a:rPr lang="en-US" baseline="0" dirty="0" err="1"/>
              <a:t>en_us</a:t>
            </a:r>
            <a:r>
              <a:rPr lang="en-US" baseline="0" dirty="0"/>
              <a:t>/customers/</a:t>
            </a:r>
            <a:r>
              <a:rPr lang="en-US" baseline="0" dirty="0" err="1"/>
              <a:t>vietcredit.html</a:t>
            </a:r>
            <a:endParaRPr lang="en-US" dirty="0"/>
          </a:p>
          <a:p>
            <a:pPr marL="0" lvl="0" indent="0">
              <a:buNone/>
            </a:pPr>
            <a:endParaRPr lang="en-US" baseline="0" dirty="0"/>
          </a:p>
          <a:p>
            <a:pPr marL="0" lvl="0" indent="0">
              <a:buNone/>
            </a:pPr>
            <a:r>
              <a:rPr lang="en-US" baseline="0" dirty="0"/>
              <a:t>List of Products sold:</a:t>
            </a:r>
          </a:p>
          <a:p>
            <a:pPr indent="-171450"/>
            <a:r>
              <a:rPr lang="en-US" dirty="0"/>
              <a:t>SAS® Credit Scoring</a:t>
            </a:r>
          </a:p>
          <a:p>
            <a:pPr indent="-171450"/>
            <a:r>
              <a:rPr lang="en-US" dirty="0"/>
              <a:t>SAS® Real-Time Decision Manager</a:t>
            </a:r>
          </a:p>
          <a:p>
            <a:pPr indent="-171450"/>
            <a:r>
              <a:rPr lang="en-US" dirty="0"/>
              <a:t>SAS® Intelligent Decisioning</a:t>
            </a:r>
          </a:p>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5CDC26A-55A4-0C4A-8C1E-120E45EF06C4}" type="slidenum">
              <a:rPr kumimoji="0" lang="en-US" sz="180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1022526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Products Sold:</a:t>
            </a:r>
          </a:p>
          <a:p>
            <a:pPr marL="171450" indent="-171450">
              <a:buFont typeface="Arial" panose="020B0604020202020204" pitchFamily="34" charset="0"/>
              <a:buChar char="•"/>
            </a:pPr>
            <a:r>
              <a:rPr lang="en-US" dirty="0"/>
              <a:t>SAS® Intelligent Decisioning</a:t>
            </a:r>
          </a:p>
          <a:p>
            <a:pPr marL="171450" indent="-171450">
              <a:buFont typeface="Arial" panose="020B0604020202020204" pitchFamily="34" charset="0"/>
              <a:buChar char="•"/>
            </a:pPr>
            <a:r>
              <a:rPr lang="en-US" dirty="0"/>
              <a:t>SAS® Advanced Analytics solutions on SAS® Viya®</a:t>
            </a:r>
          </a:p>
          <a:p>
            <a:pPr marL="171450" indent="-171450">
              <a:buFont typeface="Arial" panose="020B0604020202020204" pitchFamily="34" charset="0"/>
              <a:buChar char="•"/>
            </a:pPr>
            <a:endParaRPr lang="en-US" dirty="0"/>
          </a:p>
          <a:p>
            <a:pPr marL="0" indent="0">
              <a:buFont typeface="Arial" panose="020B0604020202020204" pitchFamily="34" charset="0"/>
              <a:buNone/>
            </a:pPr>
            <a:r>
              <a:rPr lang="en-US" dirty="0"/>
              <a:t>Link to Case Study / Sales Highlight / Success Story: </a:t>
            </a:r>
            <a:r>
              <a:rPr lang="en-US" dirty="0">
                <a:hlinkClick r:id="rId3"/>
              </a:rPr>
              <a:t>https://www.sas.com/en_us/customers/telenor-personalization.html</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dirty="0"/>
              <a:t>Version 1/ Created 8/19/2020</a:t>
            </a:r>
          </a:p>
          <a:p>
            <a:endParaRPr lang="en-GB" dirty="0">
              <a:cs typeface="Arial"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E355CA-6858-4870-9252-56B3C3CB14A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78509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38.xml"/><Relationship Id="rId5" Type="http://schemas.openxmlformats.org/officeDocument/2006/relationships/image" Target="../media/image10.png"/><Relationship Id="rId4" Type="http://schemas.microsoft.com/office/2007/relationships/hdphoto" Target="../media/hdphoto1.wdp"/></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3.xml"/><Relationship Id="rId1" Type="http://schemas.openxmlformats.org/officeDocument/2006/relationships/tags" Target="../tags/tag39.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44.xml"/><Relationship Id="rId7" Type="http://schemas.openxmlformats.org/officeDocument/2006/relationships/oleObject" Target="../embeddings/oleObject1.bin"/><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slideMaster" Target="../slideMasters/slideMaster4.xml"/><Relationship Id="rId5" Type="http://schemas.openxmlformats.org/officeDocument/2006/relationships/tags" Target="../tags/tag46.xml"/><Relationship Id="rId4" Type="http://schemas.openxmlformats.org/officeDocument/2006/relationships/tags" Target="../tags/tag4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48.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49.xml"/><Relationship Id="rId4" Type="http://schemas.openxmlformats.org/officeDocument/2006/relationships/image" Target="../media/image4.png"/></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0.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2.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3.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55.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5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5.xml"/><Relationship Id="rId1" Type="http://schemas.openxmlformats.org/officeDocument/2006/relationships/tags" Target="../tags/tag58.xml"/><Relationship Id="rId4" Type="http://schemas.openxmlformats.org/officeDocument/2006/relationships/image" Target="../media/image3.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Master" Target="../slideMasters/slideMaster5.xml"/><Relationship Id="rId1" Type="http://schemas.openxmlformats.org/officeDocument/2006/relationships/tags" Target="../tags/tag5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5.xml"/><Relationship Id="rId1" Type="http://schemas.openxmlformats.org/officeDocument/2006/relationships/tags" Target="../tags/tag60.xml"/><Relationship Id="rId4" Type="http://schemas.openxmlformats.org/officeDocument/2006/relationships/image" Target="../media/image24.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AS - 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0"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2228850" cy="51435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1653872"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fr-FR"/>
              <a:t>Cliquez pour modifier les styles du texte du masque</a:t>
            </a:r>
          </a:p>
        </p:txBody>
      </p:sp>
      <p:sp>
        <p:nvSpPr>
          <p:cNvPr id="10" name="Text Placeholder 34">
            <a:extLst>
              <a:ext uri="{FF2B5EF4-FFF2-40B4-BE49-F238E27FC236}">
                <a16:creationId xmlns:a16="http://schemas.microsoft.com/office/drawing/2014/main" id="{9B949CCB-8408-0B41-9681-4ECA35605A82}"/>
              </a:ext>
            </a:extLst>
          </p:cNvPr>
          <p:cNvSpPr>
            <a:spLocks noGrp="1"/>
          </p:cNvSpPr>
          <p:nvPr>
            <p:ph type="body" sz="quarter" idx="11"/>
          </p:nvPr>
        </p:nvSpPr>
        <p:spPr>
          <a:xfrm>
            <a:off x="1653872" y="2484438"/>
            <a:ext cx="6390694" cy="1458912"/>
          </a:xfrm>
        </p:spPr>
        <p:txBody>
          <a:bodyPr>
            <a:normAutofit/>
          </a:bodyPr>
          <a:lstStyle>
            <a:lvl1pPr marL="0" indent="0" algn="l">
              <a:buNone/>
              <a:defRPr sz="2000">
                <a:solidFill>
                  <a:schemeClr val="accent1">
                    <a:lumMod val="60000"/>
                    <a:lumOff val="40000"/>
                  </a:schemeClr>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Cliquez pour modifier les styles du texte du masque</a:t>
            </a:r>
          </a:p>
        </p:txBody>
      </p:sp>
      <p:sp>
        <p:nvSpPr>
          <p:cNvPr id="11" name="Rectangle 10">
            <a:extLst>
              <a:ext uri="{FF2B5EF4-FFF2-40B4-BE49-F238E27FC236}">
                <a16:creationId xmlns:a16="http://schemas.microsoft.com/office/drawing/2014/main" id="{60F2F4D0-EB0E-3842-9785-6EF69081820E}"/>
              </a:ext>
            </a:extLst>
          </p:cNvPr>
          <p:cNvSpPr/>
          <p:nvPr/>
        </p:nvSpPr>
        <p:spPr>
          <a:xfrm>
            <a:off x="0" y="0"/>
            <a:ext cx="2405925" cy="5148072"/>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4">
            <a:extLst>
              <a:ext uri="{FF2B5EF4-FFF2-40B4-BE49-F238E27FC236}">
                <a16:creationId xmlns:a16="http://schemas.microsoft.com/office/drawing/2014/main" id="{64A8B58C-CD7F-6F4B-B6E8-178EEF4B15DC}"/>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635" y="4475284"/>
            <a:ext cx="1112368" cy="618852"/>
          </a:xfrm>
          <a:prstGeom prst="rect">
            <a:avLst/>
          </a:prstGeom>
        </p:spPr>
      </p:pic>
    </p:spTree>
    <p:custDataLst>
      <p:tags r:id="rId1"/>
    </p:custDataLst>
    <p:extLst>
      <p:ext uri="{BB962C8B-B14F-4D97-AF65-F5344CB8AC3E}">
        <p14:creationId xmlns:p14="http://schemas.microsoft.com/office/powerpoint/2010/main" val="3519975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SAS - Image Only - White">
    <p:bg>
      <p:bgPr>
        <a:solidFill>
          <a:schemeClr val="bg1"/>
        </a:soli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827EE352-7D2C-A441-A898-DDF88FC2D8F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411892" y="4758271"/>
            <a:ext cx="558779" cy="230961"/>
          </a:xfrm>
          <a:prstGeom prst="rect">
            <a:avLst/>
          </a:prstGeom>
        </p:spPr>
      </p:pic>
      <p:sp>
        <p:nvSpPr>
          <p:cNvPr id="4" name="TextBox 4">
            <a:extLst>
              <a:ext uri="{FF2B5EF4-FFF2-40B4-BE49-F238E27FC236}">
                <a16:creationId xmlns:a16="http://schemas.microsoft.com/office/drawing/2014/main" id="{FC61EEC8-0C67-4E4B-96F0-B7FBDEF4618C}"/>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solidFill>
                <a:effectLst/>
                <a:uLnTx/>
                <a:uFillTx/>
                <a:latin typeface="+mn-lt"/>
                <a:ea typeface="Calibri" charset="0"/>
                <a:cs typeface="Arial" panose="020B0604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2722797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AS - Black Background">
    <p:bg>
      <p:bgPr>
        <a:solidFill>
          <a:srgbClr val="0000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51AFB0-E8BA-6E40-9F47-B58679E16989}"/>
              </a:ext>
            </a:extLst>
          </p:cNvPr>
          <p:cNvSpPr/>
          <p:nvPr/>
        </p:nvSpPr>
        <p:spPr>
          <a:xfrm>
            <a:off x="0" y="0"/>
            <a:ext cx="9144000"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9CC8A4CC-C6DD-674E-9755-C2307DA101AD}"/>
              </a:ext>
            </a:extLst>
          </p:cNvPr>
          <p:cNvGrpSpPr/>
          <p:nvPr/>
        </p:nvGrpSpPr>
        <p:grpSpPr>
          <a:xfrm>
            <a:off x="8427835" y="4765184"/>
            <a:ext cx="526892" cy="220528"/>
            <a:chOff x="6145213" y="4384676"/>
            <a:chExt cx="1582738" cy="649287"/>
          </a:xfrm>
          <a:solidFill>
            <a:schemeClr val="bg2">
              <a:lumMod val="50000"/>
            </a:schemeClr>
          </a:solidFill>
        </p:grpSpPr>
        <p:sp>
          <p:nvSpPr>
            <p:cNvPr id="5" name="Freeform 6">
              <a:extLst>
                <a:ext uri="{FF2B5EF4-FFF2-40B4-BE49-F238E27FC236}">
                  <a16:creationId xmlns:a16="http://schemas.microsoft.com/office/drawing/2014/main" id="{FC0936E0-05D4-D944-94E4-FBA36E861837}"/>
                </a:ext>
              </a:extLst>
            </p:cNvPr>
            <p:cNvSpPr>
              <a:spLocks/>
            </p:cNvSpPr>
            <p:nvPr/>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E5ACFC61-8225-8F4F-A539-DCE60FEB039A}"/>
                </a:ext>
              </a:extLst>
            </p:cNvPr>
            <p:cNvSpPr>
              <a:spLocks noEditPoints="1"/>
            </p:cNvSpPr>
            <p:nvPr/>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AB029620-52DD-C540-9F66-FD8586A661D7}"/>
                </a:ext>
              </a:extLst>
            </p:cNvPr>
            <p:cNvSpPr>
              <a:spLocks/>
            </p:cNvSpPr>
            <p:nvPr/>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5F2C8F16-8DA0-6A49-A6A6-F8C208B72416}"/>
                </a:ext>
              </a:extLst>
            </p:cNvPr>
            <p:cNvSpPr>
              <a:spLocks/>
            </p:cNvSpPr>
            <p:nvPr/>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3F51FBB3-DAAD-0546-AF4C-840293C90D95}"/>
                </a:ext>
              </a:extLst>
            </p:cNvPr>
            <p:cNvSpPr>
              <a:spLocks/>
            </p:cNvSpPr>
            <p:nvPr/>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
              <a:extLst>
                <a:ext uri="{FF2B5EF4-FFF2-40B4-BE49-F238E27FC236}">
                  <a16:creationId xmlns:a16="http://schemas.microsoft.com/office/drawing/2014/main" id="{ED4644BB-791F-6241-8C89-AFA3C1325C38}"/>
                </a:ext>
              </a:extLst>
            </p:cNvPr>
            <p:cNvSpPr>
              <a:spLocks noEditPoints="1"/>
            </p:cNvSpPr>
            <p:nvPr/>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0">
              <a:extLst>
                <a:ext uri="{FF2B5EF4-FFF2-40B4-BE49-F238E27FC236}">
                  <a16:creationId xmlns:a16="http://schemas.microsoft.com/office/drawing/2014/main" id="{2DAE9313-7E29-324E-B411-25184A85F9E3}"/>
                </a:ext>
              </a:extLst>
            </p:cNvPr>
            <p:cNvSpPr>
              <a:spLocks noEditPoints="1"/>
            </p:cNvSpPr>
            <p:nvPr/>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 name="TextBox 3">
            <a:extLst>
              <a:ext uri="{FF2B5EF4-FFF2-40B4-BE49-F238E27FC236}">
                <a16:creationId xmlns:a16="http://schemas.microsoft.com/office/drawing/2014/main" id="{ACAC6727-2088-4147-A38A-47850B89BAF6}"/>
              </a:ext>
            </a:extLst>
          </p:cNvPr>
          <p:cNvSpPr txBox="1">
            <a:spLocks noChangeAspect="1"/>
          </p:cNvSpPr>
          <p:nvPr/>
        </p:nvSpPr>
        <p:spPr>
          <a:xfrm>
            <a:off x="3310128" y="4864608"/>
            <a:ext cx="2514600" cy="246221"/>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lumMod val="50000"/>
                  </a:schemeClr>
                </a:solidFill>
                <a:effectLst/>
                <a:uLnTx/>
                <a:uFillTx/>
                <a:latin typeface="+mn-lt"/>
                <a:ea typeface="Calibri" charset="0"/>
                <a:cs typeface="Arial" panose="020B0604020202020204" pitchFamily="34" charset="0"/>
              </a:rPr>
              <a:t>Company Confidential – For Internal Use Only</a:t>
            </a:r>
          </a:p>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lumMod val="50000"/>
                  </a:schemeClr>
                </a:solidFill>
                <a:effectLst/>
                <a:uLnTx/>
                <a:uFillTx/>
                <a:latin typeface="+mn-lt"/>
                <a:ea typeface="Calibri" charset="0"/>
                <a:cs typeface="Arial" panose="020B0604020202020204" pitchFamily="34" charset="0"/>
              </a:rPr>
              <a:t>Copyright © SAS Institute Inc. All rights reserved.</a:t>
            </a:r>
          </a:p>
        </p:txBody>
      </p:sp>
    </p:spTree>
    <p:extLst>
      <p:ext uri="{BB962C8B-B14F-4D97-AF65-F5344CB8AC3E}">
        <p14:creationId xmlns:p14="http://schemas.microsoft.com/office/powerpoint/2010/main" val="224491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losing SAS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0"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2228850" cy="51435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1376653" y="1793688"/>
            <a:ext cx="6390694" cy="1556124"/>
          </a:xfrm>
        </p:spPr>
        <p:txBody>
          <a:bodyPr anchor="ctr">
            <a:normAutofit/>
          </a:bodyPr>
          <a:lstStyle>
            <a:lvl1pPr marL="0" indent="0" algn="ctr">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fr-FR"/>
              <a:t>Cliquez pour modifier les styles du texte du masque</a:t>
            </a:r>
          </a:p>
        </p:txBody>
      </p:sp>
      <p:sp>
        <p:nvSpPr>
          <p:cNvPr id="11" name="Rectangle 10">
            <a:extLst>
              <a:ext uri="{FF2B5EF4-FFF2-40B4-BE49-F238E27FC236}">
                <a16:creationId xmlns:a16="http://schemas.microsoft.com/office/drawing/2014/main" id="{60F2F4D0-EB0E-3842-9785-6EF69081820E}"/>
              </a:ext>
            </a:extLst>
          </p:cNvPr>
          <p:cNvSpPr/>
          <p:nvPr/>
        </p:nvSpPr>
        <p:spPr>
          <a:xfrm>
            <a:off x="0" y="0"/>
            <a:ext cx="2405925" cy="5148072"/>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4">
            <a:extLst>
              <a:ext uri="{FF2B5EF4-FFF2-40B4-BE49-F238E27FC236}">
                <a16:creationId xmlns:a16="http://schemas.microsoft.com/office/drawing/2014/main" id="{64A8B58C-CD7F-6F4B-B6E8-178EEF4B15DC}"/>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635" y="4475284"/>
            <a:ext cx="1112368" cy="618852"/>
          </a:xfrm>
          <a:prstGeom prst="rect">
            <a:avLst/>
          </a:prstGeom>
        </p:spPr>
      </p:pic>
      <p:sp>
        <p:nvSpPr>
          <p:cNvPr id="2" name="TextBox 1">
            <a:extLst>
              <a:ext uri="{FF2B5EF4-FFF2-40B4-BE49-F238E27FC236}">
                <a16:creationId xmlns:a16="http://schemas.microsoft.com/office/drawing/2014/main" id="{503DB4AB-A9DE-4660-939A-CBDF75AC178E}"/>
              </a:ext>
            </a:extLst>
          </p:cNvPr>
          <p:cNvSpPr txBox="1"/>
          <p:nvPr/>
        </p:nvSpPr>
        <p:spPr>
          <a:xfrm>
            <a:off x="4078010" y="4138459"/>
            <a:ext cx="1009314" cy="400110"/>
          </a:xfrm>
          <a:prstGeom prst="rect">
            <a:avLst/>
          </a:prstGeom>
          <a:noFill/>
        </p:spPr>
        <p:txBody>
          <a:bodyPr wrap="none" rtlCol="0">
            <a:spAutoFit/>
          </a:bodyPr>
          <a:lstStyle/>
          <a:p>
            <a:pPr algn="ctr"/>
            <a:r>
              <a:rPr lang="en-US" sz="2000" dirty="0">
                <a:solidFill>
                  <a:schemeClr val="bg1"/>
                </a:solidFill>
                <a:latin typeface="+mj-lt"/>
              </a:rPr>
              <a:t>sas.com</a:t>
            </a:r>
          </a:p>
        </p:txBody>
      </p:sp>
    </p:spTree>
    <p:custDataLst>
      <p:tags r:id="rId1"/>
    </p:custDataLst>
    <p:extLst>
      <p:ext uri="{BB962C8B-B14F-4D97-AF65-F5344CB8AC3E}">
        <p14:creationId xmlns:p14="http://schemas.microsoft.com/office/powerpoint/2010/main" val="441335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AS - 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0" y="-2286"/>
            <a:ext cx="9144000" cy="514807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2228850" cy="51435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1653872"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10" name="Text Placeholder 34">
            <a:extLst>
              <a:ext uri="{FF2B5EF4-FFF2-40B4-BE49-F238E27FC236}">
                <a16:creationId xmlns:a16="http://schemas.microsoft.com/office/drawing/2014/main" id="{9B949CCB-8408-0B41-9681-4ECA35605A82}"/>
              </a:ext>
            </a:extLst>
          </p:cNvPr>
          <p:cNvSpPr>
            <a:spLocks noGrp="1"/>
          </p:cNvSpPr>
          <p:nvPr>
            <p:ph type="body" sz="quarter" idx="11"/>
          </p:nvPr>
        </p:nvSpPr>
        <p:spPr>
          <a:xfrm>
            <a:off x="1653872" y="2484438"/>
            <a:ext cx="6390694" cy="1458912"/>
          </a:xfrm>
        </p:spPr>
        <p:txBody>
          <a:bodyPr/>
          <a:lstStyle>
            <a:lvl1pPr marL="0" indent="0" algn="l">
              <a:buNone/>
              <a:defRPr>
                <a:solidFill>
                  <a:schemeClr val="accent1">
                    <a:lumMod val="60000"/>
                    <a:lumOff val="40000"/>
                  </a:schemeClr>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11" name="Rectangle 10">
            <a:extLst>
              <a:ext uri="{FF2B5EF4-FFF2-40B4-BE49-F238E27FC236}">
                <a16:creationId xmlns:a16="http://schemas.microsoft.com/office/drawing/2014/main" id="{60F2F4D0-EB0E-3842-9785-6EF69081820E}"/>
              </a:ext>
            </a:extLst>
          </p:cNvPr>
          <p:cNvSpPr/>
          <p:nvPr/>
        </p:nvSpPr>
        <p:spPr>
          <a:xfrm>
            <a:off x="0" y="-2286"/>
            <a:ext cx="2405925" cy="5148072"/>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4">
            <a:extLst>
              <a:ext uri="{FF2B5EF4-FFF2-40B4-BE49-F238E27FC236}">
                <a16:creationId xmlns:a16="http://schemas.microsoft.com/office/drawing/2014/main" id="{64A8B58C-CD7F-6F4B-B6E8-178EEF4B15DC}"/>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635" y="4475284"/>
            <a:ext cx="1112368" cy="618852"/>
          </a:xfrm>
          <a:prstGeom prst="rect">
            <a:avLst/>
          </a:prstGeom>
        </p:spPr>
      </p:pic>
    </p:spTree>
    <p:custDataLst>
      <p:tags r:id="rId1"/>
    </p:custDataLst>
    <p:extLst>
      <p:ext uri="{BB962C8B-B14F-4D97-AF65-F5344CB8AC3E}">
        <p14:creationId xmlns:p14="http://schemas.microsoft.com/office/powerpoint/2010/main" val="15568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AS - Section Header - Dark Blu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900AF95-1FC8-274C-A784-F831F6B8647F}"/>
              </a:ext>
            </a:extLst>
          </p:cNvPr>
          <p:cNvSpPr/>
          <p:nvPr/>
        </p:nvSpPr>
        <p:spPr>
          <a:xfrm>
            <a:off x="0" y="-6211"/>
            <a:ext cx="9144000" cy="515592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4">
            <a:extLst>
              <a:ext uri="{FF2B5EF4-FFF2-40B4-BE49-F238E27FC236}">
                <a16:creationId xmlns:a16="http://schemas.microsoft.com/office/drawing/2014/main" id="{B0C6AF5C-E29A-9E49-801E-0A1C09DFDE5F}"/>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4" name="Picture 6">
            <a:extLst>
              <a:ext uri="{FF2B5EF4-FFF2-40B4-BE49-F238E27FC236}">
                <a16:creationId xmlns:a16="http://schemas.microsoft.com/office/drawing/2014/main" id="{6BFF7639-E4DF-3741-90C7-2DFCD9D26A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11892" y="4746756"/>
            <a:ext cx="558779" cy="253991"/>
          </a:xfrm>
          <a:prstGeom prst="rect">
            <a:avLst/>
          </a:prstGeom>
        </p:spPr>
      </p:pic>
      <p:pic>
        <p:nvPicPr>
          <p:cNvPr id="8" name="Picture 7" descr="A picture containing clock, light, drawing&#10;&#10;Description automatically generated">
            <a:extLst>
              <a:ext uri="{FF2B5EF4-FFF2-40B4-BE49-F238E27FC236}">
                <a16:creationId xmlns:a16="http://schemas.microsoft.com/office/drawing/2014/main" id="{60F9A2CE-31BE-CB49-98C4-EAE0F449CAB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23061" r="33611" b="20040"/>
          <a:stretch/>
        </p:blipFill>
        <p:spPr>
          <a:xfrm>
            <a:off x="4561295" y="-6045"/>
            <a:ext cx="4582705" cy="5149545"/>
          </a:xfrm>
          <a:prstGeom prst="rect">
            <a:avLst/>
          </a:prstGeom>
        </p:spPr>
      </p:pic>
      <p:sp>
        <p:nvSpPr>
          <p:cNvPr id="10" name="Text Placeholder 32">
            <a:extLst>
              <a:ext uri="{FF2B5EF4-FFF2-40B4-BE49-F238E27FC236}">
                <a16:creationId xmlns:a16="http://schemas.microsoft.com/office/drawing/2014/main" id="{D5BF76BC-A168-D846-A33A-DDC741AB2C49}"/>
              </a:ext>
            </a:extLst>
          </p:cNvPr>
          <p:cNvSpPr>
            <a:spLocks noGrp="1"/>
          </p:cNvSpPr>
          <p:nvPr>
            <p:ph type="body" sz="quarter" idx="10"/>
          </p:nvPr>
        </p:nvSpPr>
        <p:spPr>
          <a:xfrm>
            <a:off x="620203"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11" name="Text Placeholder 34">
            <a:extLst>
              <a:ext uri="{FF2B5EF4-FFF2-40B4-BE49-F238E27FC236}">
                <a16:creationId xmlns:a16="http://schemas.microsoft.com/office/drawing/2014/main" id="{C8C0CE08-E9A8-3940-A81E-001DC88592F4}"/>
              </a:ext>
            </a:extLst>
          </p:cNvPr>
          <p:cNvSpPr>
            <a:spLocks noGrp="1"/>
          </p:cNvSpPr>
          <p:nvPr>
            <p:ph type="body" sz="quarter" idx="11"/>
          </p:nvPr>
        </p:nvSpPr>
        <p:spPr>
          <a:xfrm>
            <a:off x="620203" y="2484438"/>
            <a:ext cx="6390694" cy="1458912"/>
          </a:xfrm>
        </p:spPr>
        <p:txBody>
          <a:bodyPr/>
          <a:lstStyle>
            <a:lvl1pPr marL="0" indent="0" algn="l">
              <a:buNone/>
              <a:defRPr>
                <a:solidFill>
                  <a:schemeClr val="accent1">
                    <a:lumMod val="60000"/>
                    <a:lumOff val="40000"/>
                  </a:schemeClr>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2443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AS - Content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Clr>
                <a:schemeClr val="bg2"/>
              </a:buClr>
              <a:defRPr>
                <a:solidFill>
                  <a:schemeClr val="bg1"/>
                </a:solidFill>
                <a:latin typeface="+mj-lt"/>
              </a:defRPr>
            </a:lvl1pPr>
            <a:lvl2pPr>
              <a:buClr>
                <a:schemeClr val="bg2"/>
              </a:buClr>
              <a:defRPr>
                <a:solidFill>
                  <a:schemeClr val="bg1"/>
                </a:solidFill>
                <a:latin typeface="+mj-lt"/>
              </a:defRPr>
            </a:lvl2pPr>
            <a:lvl3pPr>
              <a:buClr>
                <a:schemeClr val="bg2"/>
              </a:buClr>
              <a:defRPr>
                <a:solidFill>
                  <a:schemeClr val="bg1"/>
                </a:solidFill>
                <a:latin typeface="+mj-lt"/>
              </a:defRPr>
            </a:lvl3pPr>
            <a:lvl4pPr>
              <a:buClr>
                <a:schemeClr val="bg2"/>
              </a:buClr>
              <a:defRPr>
                <a:solidFill>
                  <a:schemeClr val="bg1"/>
                </a:solidFill>
                <a:latin typeface="+mj-lt"/>
              </a:defRPr>
            </a:lvl4pPr>
            <a:lvl5pPr>
              <a:buClr>
                <a:schemeClr val="bg2"/>
              </a:buClr>
              <a:defRPr>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3344433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AS - Title &amp; Subtitle -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298448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AS - 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p>
        </p:txBody>
      </p:sp>
    </p:spTree>
    <p:custDataLst>
      <p:tags r:id="rId1"/>
    </p:custDataLst>
    <p:extLst>
      <p:ext uri="{BB962C8B-B14F-4D97-AF65-F5344CB8AC3E}">
        <p14:creationId xmlns:p14="http://schemas.microsoft.com/office/powerpoint/2010/main" val="88305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AS - Comparison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lvl1pPr>
              <a:buClr>
                <a:schemeClr val="bg2"/>
              </a:buClr>
              <a:defRPr/>
            </a:lvl1pPr>
            <a:lvl2pPr>
              <a:buClr>
                <a:schemeClr val="bg2"/>
              </a:buClr>
              <a:defRPr/>
            </a:lvl2pPr>
            <a:lvl3pPr>
              <a:buClr>
                <a:schemeClr val="bg2"/>
              </a:buClr>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29150" y="1369219"/>
            <a:ext cx="3886200" cy="3263504"/>
          </a:xfrm>
        </p:spPr>
        <p:txBody>
          <a:bodyPr/>
          <a:lstStyle>
            <a:lvl1pPr>
              <a:buClr>
                <a:schemeClr val="bg2"/>
              </a:buClr>
              <a:defRPr/>
            </a:lvl1pPr>
            <a:lvl2pPr>
              <a:buClr>
                <a:schemeClr val="bg2"/>
              </a:buClr>
              <a:defRPr/>
            </a:lvl2pPr>
            <a:lvl3pPr>
              <a:buClr>
                <a:schemeClr val="bg2"/>
              </a:buClr>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EFE90ADF-F9C8-471B-A694-7C0B48436B41}"/>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2273349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AS - Content with Caption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7E60C6F-E980-EE42-AE99-4BF9E126C012}"/>
              </a:ext>
            </a:extLst>
          </p:cNvPr>
          <p:cNvSpPr/>
          <p:nvPr/>
        </p:nvSpPr>
        <p:spPr>
          <a:xfrm>
            <a:off x="0" y="0"/>
            <a:ext cx="3127248" cy="5143500"/>
          </a:xfrm>
          <a:prstGeom prst="rect">
            <a:avLst/>
          </a:prstGeom>
          <a:gradFill flip="none" rotWithShape="1">
            <a:gsLst>
              <a:gs pos="0">
                <a:schemeClr val="tx2">
                  <a:lumMod val="90000"/>
                  <a:lumOff val="10000"/>
                </a:schemeClr>
              </a:gs>
              <a:gs pos="100000">
                <a:schemeClr val="tx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950D4204-70D0-4767-A333-0B97E79B59AE}"/>
              </a:ext>
            </a:extLst>
          </p:cNvPr>
          <p:cNvSpPr/>
          <p:nvPr/>
        </p:nvSpPr>
        <p:spPr>
          <a:xfrm>
            <a:off x="0" y="4650624"/>
            <a:ext cx="3193576" cy="4928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32F2FC9C-401F-5C4C-88BC-0A45460C4F9C}"/>
              </a:ext>
            </a:extLst>
          </p:cNvPr>
          <p:cNvSpPr>
            <a:spLocks noGrp="1"/>
          </p:cNvSpPr>
          <p:nvPr>
            <p:ph type="title" hasCustomPrompt="1"/>
          </p:nvPr>
        </p:nvSpPr>
        <p:spPr>
          <a:xfrm>
            <a:off x="0" y="228887"/>
            <a:ext cx="3127248" cy="341632"/>
          </a:xfrm>
        </p:spPr>
        <p:txBody>
          <a:bodyPr lIns="91440" rIns="91440" anchor="t" anchorCtr="0">
            <a:spAutoFit/>
          </a:bodyPr>
          <a:lstStyle>
            <a:lvl1pPr algn="ctr" defTabSz="182880">
              <a:spcBef>
                <a:spcPts val="0"/>
              </a:spcBef>
              <a:defRPr sz="1800" baseline="0">
                <a:solidFill>
                  <a:schemeClr val="accent1">
                    <a:lumMod val="60000"/>
                    <a:lumOff val="40000"/>
                  </a:schemeClr>
                </a:solidFill>
                <a:effectLst/>
                <a:latin typeface="+mj-lt"/>
              </a:defRPr>
            </a:lvl1pPr>
          </a:lstStyle>
          <a:p>
            <a:r>
              <a:rPr lang="en-US" dirty="0"/>
              <a:t>Click to add title</a:t>
            </a:r>
          </a:p>
        </p:txBody>
      </p:sp>
      <p:sp>
        <p:nvSpPr>
          <p:cNvPr id="4" name="Text Placeholder 4">
            <a:extLst>
              <a:ext uri="{FF2B5EF4-FFF2-40B4-BE49-F238E27FC236}">
                <a16:creationId xmlns:a16="http://schemas.microsoft.com/office/drawing/2014/main" id="{0ADB52DD-F50B-834D-99B3-5D1C55A9E47D}"/>
              </a:ext>
            </a:extLst>
          </p:cNvPr>
          <p:cNvSpPr>
            <a:spLocks noGrp="1"/>
          </p:cNvSpPr>
          <p:nvPr>
            <p:ph type="body" sz="quarter" idx="13" hasCustomPrompt="1"/>
          </p:nvPr>
        </p:nvSpPr>
        <p:spPr>
          <a:xfrm>
            <a:off x="411480" y="996694"/>
            <a:ext cx="2304288" cy="615553"/>
          </a:xfrm>
        </p:spPr>
        <p:txBody>
          <a:bodyPr wrap="square" anchor="t" anchorCtr="0">
            <a:spAutoFit/>
          </a:bodyPr>
          <a:lstStyle>
            <a:lvl1pPr marL="0" indent="-182880" algn="l">
              <a:buFont typeface="Arial" pitchFamily="34" charset="0"/>
              <a:buNone/>
              <a:defRPr sz="2000" b="0" cap="none" baseline="0">
                <a:solidFill>
                  <a:schemeClr val="bg1">
                    <a:lumMod val="85000"/>
                  </a:schemeClr>
                </a:solidFill>
                <a:effectLst/>
                <a:latin typeface="+mn-lt"/>
              </a:defRPr>
            </a:lvl1pPr>
          </a:lstStyle>
          <a:p>
            <a:pPr lvl="0"/>
            <a:r>
              <a:rPr lang="en-US"/>
              <a:t>Click to edit caption text</a:t>
            </a:r>
          </a:p>
        </p:txBody>
      </p:sp>
      <p:sp>
        <p:nvSpPr>
          <p:cNvPr id="6" name="Text Placeholder 2">
            <a:extLst>
              <a:ext uri="{FF2B5EF4-FFF2-40B4-BE49-F238E27FC236}">
                <a16:creationId xmlns:a16="http://schemas.microsoft.com/office/drawing/2014/main" id="{AC4D2804-3DAD-EE40-936A-43F13F80C8DF}"/>
              </a:ext>
            </a:extLst>
          </p:cNvPr>
          <p:cNvSpPr>
            <a:spLocks noGrp="1"/>
          </p:cNvSpPr>
          <p:nvPr>
            <p:ph type="body" sz="quarter" idx="11" hasCustomPrompt="1"/>
          </p:nvPr>
        </p:nvSpPr>
        <p:spPr>
          <a:xfrm>
            <a:off x="3127248" y="637660"/>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lumMod val="60000"/>
                    <a:lumOff val="40000"/>
                  </a:schemeClr>
                </a:solidFill>
                <a:effectLst/>
                <a:latin typeface="+mj-lt"/>
              </a:defRPr>
            </a:lvl1pPr>
          </a:lstStyle>
          <a:p>
            <a:pPr lvl="0"/>
            <a:r>
              <a:rPr lang="en-US"/>
              <a:t>Click to add subtitle</a:t>
            </a:r>
          </a:p>
        </p:txBody>
      </p:sp>
      <p:sp>
        <p:nvSpPr>
          <p:cNvPr id="7" name="Content Placeholder 3">
            <a:extLst>
              <a:ext uri="{FF2B5EF4-FFF2-40B4-BE49-F238E27FC236}">
                <a16:creationId xmlns:a16="http://schemas.microsoft.com/office/drawing/2014/main" id="{6A0DAF33-5110-D340-8044-FA8F4990F845}"/>
              </a:ext>
            </a:extLst>
          </p:cNvPr>
          <p:cNvSpPr>
            <a:spLocks noGrp="1"/>
          </p:cNvSpPr>
          <p:nvPr>
            <p:ph sz="quarter" idx="15" hasCustomPrompt="1"/>
          </p:nvPr>
        </p:nvSpPr>
        <p:spPr>
          <a:xfrm>
            <a:off x="3127248" y="920337"/>
            <a:ext cx="6016752" cy="4215653"/>
          </a:xfrm>
        </p:spPr>
        <p:txBody>
          <a:bodyPr wrap="square" lIns="365760" rIns="274320" bIns="91440" anchor="t" anchorCtr="0">
            <a:normAutofit/>
          </a:bodyPr>
          <a:lstStyle>
            <a:lvl1pPr>
              <a:buClr>
                <a:schemeClr val="bg2"/>
              </a:buClr>
              <a:defRPr sz="2000" baseline="0">
                <a:solidFill>
                  <a:schemeClr val="bg1"/>
                </a:solidFill>
              </a:defRPr>
            </a:lvl1pPr>
            <a:lvl2pPr>
              <a:buClr>
                <a:schemeClr val="bg2"/>
              </a:buClr>
              <a:defRPr baseline="0">
                <a:solidFill>
                  <a:schemeClr val="bg1">
                    <a:lumMod val="75000"/>
                  </a:schemeClr>
                </a:solidFill>
              </a:defRPr>
            </a:lvl2pPr>
            <a:lvl3pPr>
              <a:buClr>
                <a:schemeClr val="bg2"/>
              </a:buClr>
              <a:defRPr baseline="0">
                <a:solidFill>
                  <a:schemeClr val="bg1">
                    <a:lumMod val="75000"/>
                  </a:schemeClr>
                </a:solidFill>
              </a:defRPr>
            </a:lvl3pPr>
            <a:lvl4pPr>
              <a:defRPr baseline="0"/>
            </a:lvl4pPr>
            <a:lvl5pPr>
              <a:defRPr baseline="0"/>
            </a:lvl5pPr>
          </a:lstStyle>
          <a:p>
            <a:pPr lvl="0"/>
            <a:r>
              <a:rPr lang="en-US"/>
              <a:t>Click to add text or click an icon to add other content types.</a:t>
            </a:r>
          </a:p>
          <a:p>
            <a:pPr lvl="1"/>
            <a:r>
              <a:rPr lang="en-US"/>
              <a:t>Second level</a:t>
            </a:r>
          </a:p>
          <a:p>
            <a:pPr lvl="2"/>
            <a:r>
              <a:rPr lang="en-US"/>
              <a:t>Third level</a:t>
            </a:r>
          </a:p>
        </p:txBody>
      </p:sp>
      <p:sp>
        <p:nvSpPr>
          <p:cNvPr id="15" name="Text Placeholder 14">
            <a:extLst>
              <a:ext uri="{FF2B5EF4-FFF2-40B4-BE49-F238E27FC236}">
                <a16:creationId xmlns:a16="http://schemas.microsoft.com/office/drawing/2014/main" id="{6841ED34-FEB5-C146-83AC-389AC6CD9768}"/>
              </a:ext>
            </a:extLst>
          </p:cNvPr>
          <p:cNvSpPr>
            <a:spLocks noGrp="1"/>
          </p:cNvSpPr>
          <p:nvPr>
            <p:ph type="body" sz="quarter" idx="16" hasCustomPrompt="1"/>
          </p:nvPr>
        </p:nvSpPr>
        <p:spPr>
          <a:xfrm>
            <a:off x="3127375" y="228887"/>
            <a:ext cx="6016625" cy="409575"/>
          </a:xfrm>
        </p:spPr>
        <p:txBody>
          <a:bodyPr>
            <a:noAutofit/>
          </a:bodyPr>
          <a:lstStyle>
            <a:lvl1pPr marL="0" indent="0" algn="ctr">
              <a:buNone/>
              <a:defRPr sz="2800" b="1">
                <a:latin typeface="+mn-lt"/>
              </a:defRPr>
            </a:lvl1pPr>
          </a:lstStyle>
          <a:p>
            <a:pPr lvl="0"/>
            <a:r>
              <a:rPr lang="en-US"/>
              <a:t>Click to add title</a:t>
            </a:r>
          </a:p>
        </p:txBody>
      </p:sp>
      <p:grpSp>
        <p:nvGrpSpPr>
          <p:cNvPr id="16" name="Group 15">
            <a:extLst>
              <a:ext uri="{FF2B5EF4-FFF2-40B4-BE49-F238E27FC236}">
                <a16:creationId xmlns:a16="http://schemas.microsoft.com/office/drawing/2014/main" id="{9E23137D-5031-B540-810B-5B5014DDB875}"/>
              </a:ext>
            </a:extLst>
          </p:cNvPr>
          <p:cNvGrpSpPr/>
          <p:nvPr/>
        </p:nvGrpSpPr>
        <p:grpSpPr>
          <a:xfrm>
            <a:off x="100130" y="3903136"/>
            <a:ext cx="1843588" cy="1108928"/>
            <a:chOff x="92670" y="3892522"/>
            <a:chExt cx="1843588" cy="1108928"/>
          </a:xfrm>
        </p:grpSpPr>
        <p:sp>
          <p:nvSpPr>
            <p:cNvPr id="17" name="Freeform 16">
              <a:extLst>
                <a:ext uri="{FF2B5EF4-FFF2-40B4-BE49-F238E27FC236}">
                  <a16:creationId xmlns:a16="http://schemas.microsoft.com/office/drawing/2014/main" id="{84F2A5B7-99AC-BD49-8594-6DAE464CF372}"/>
                </a:ext>
              </a:extLst>
            </p:cNvPr>
            <p:cNvSpPr/>
            <p:nvPr/>
          </p:nvSpPr>
          <p:spPr>
            <a:xfrm>
              <a:off x="1836799"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E995F31-A398-C943-8027-FFECF81903AA}"/>
                </a:ext>
              </a:extLst>
            </p:cNvPr>
            <p:cNvSpPr/>
            <p:nvPr/>
          </p:nvSpPr>
          <p:spPr>
            <a:xfrm>
              <a:off x="1587637"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60762E83-CF17-2247-AB0C-CDF3C02BC0D7}"/>
                </a:ext>
              </a:extLst>
            </p:cNvPr>
            <p:cNvSpPr/>
            <p:nvPr/>
          </p:nvSpPr>
          <p:spPr>
            <a:xfrm>
              <a:off x="1338476"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067A16E5-88F6-E34C-ADB8-42534BE72FC5}"/>
                </a:ext>
              </a:extLst>
            </p:cNvPr>
            <p:cNvSpPr/>
            <p:nvPr/>
          </p:nvSpPr>
          <p:spPr>
            <a:xfrm>
              <a:off x="1089315"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7822DD3-7A44-584E-8FDE-044968D0AF24}"/>
                </a:ext>
              </a:extLst>
            </p:cNvPr>
            <p:cNvSpPr/>
            <p:nvPr/>
          </p:nvSpPr>
          <p:spPr>
            <a:xfrm>
              <a:off x="1089315"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CC0BCCA-D6DE-DD4E-8026-E1C841BE8CA7}"/>
                </a:ext>
              </a:extLst>
            </p:cNvPr>
            <p:cNvSpPr/>
            <p:nvPr/>
          </p:nvSpPr>
          <p:spPr>
            <a:xfrm>
              <a:off x="840154"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8AED6F9-E6A3-EB4A-A55C-0740537659D6}"/>
                </a:ext>
              </a:extLst>
            </p:cNvPr>
            <p:cNvSpPr/>
            <p:nvPr/>
          </p:nvSpPr>
          <p:spPr>
            <a:xfrm>
              <a:off x="1089315"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3000"/>
              </a:srgbClr>
            </a:solidFill>
            <a:ln w="205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D44A5219-46D3-9D49-A8CC-36711F2BF6DB}"/>
                </a:ext>
              </a:extLst>
            </p:cNvPr>
            <p:cNvSpPr/>
            <p:nvPr/>
          </p:nvSpPr>
          <p:spPr>
            <a:xfrm>
              <a:off x="840154"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4628D6A-430F-AD46-B90A-8331A948822D}"/>
                </a:ext>
              </a:extLst>
            </p:cNvPr>
            <p:cNvSpPr/>
            <p:nvPr/>
          </p:nvSpPr>
          <p:spPr>
            <a:xfrm>
              <a:off x="590992"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B47CCF-EFB3-B44B-9884-4494451C2D72}"/>
                </a:ext>
              </a:extLst>
            </p:cNvPr>
            <p:cNvSpPr/>
            <p:nvPr/>
          </p:nvSpPr>
          <p:spPr>
            <a:xfrm>
              <a:off x="341831"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2A0D0CC0-B494-924D-8C7F-13E6CFA6A115}"/>
                </a:ext>
              </a:extLst>
            </p:cNvPr>
            <p:cNvSpPr/>
            <p:nvPr/>
          </p:nvSpPr>
          <p:spPr>
            <a:xfrm>
              <a:off x="92670"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1A103DE1-86D1-CC40-BC8E-F37870113828}"/>
                </a:ext>
              </a:extLst>
            </p:cNvPr>
            <p:cNvSpPr/>
            <p:nvPr/>
          </p:nvSpPr>
          <p:spPr>
            <a:xfrm>
              <a:off x="341831"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F85B7FDA-2A3D-5148-882C-7F5FD28C86D6}"/>
                </a:ext>
              </a:extLst>
            </p:cNvPr>
            <p:cNvSpPr/>
            <p:nvPr/>
          </p:nvSpPr>
          <p:spPr>
            <a:xfrm>
              <a:off x="341831"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319DB66-4056-974A-B568-9BE51C46D6DB}"/>
                </a:ext>
              </a:extLst>
            </p:cNvPr>
            <p:cNvSpPr/>
            <p:nvPr/>
          </p:nvSpPr>
          <p:spPr>
            <a:xfrm>
              <a:off x="92670"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7D9D4266-26E2-A649-B58A-BBD393D3909A}"/>
                </a:ext>
              </a:extLst>
            </p:cNvPr>
            <p:cNvSpPr/>
            <p:nvPr/>
          </p:nvSpPr>
          <p:spPr>
            <a:xfrm>
              <a:off x="341831" y="414168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25792925-8473-D74D-AD5F-C84AAB25EA9D}"/>
                </a:ext>
              </a:extLst>
            </p:cNvPr>
            <p:cNvSpPr/>
            <p:nvPr/>
          </p:nvSpPr>
          <p:spPr>
            <a:xfrm>
              <a:off x="341831" y="389252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0FFE52ED-3497-1048-86AD-9D9A6F52BF03}"/>
                </a:ext>
              </a:extLst>
            </p:cNvPr>
            <p:cNvSpPr/>
            <p:nvPr/>
          </p:nvSpPr>
          <p:spPr>
            <a:xfrm>
              <a:off x="590992" y="4141684"/>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9AE3BE6B-1DF9-664B-8C6A-831ED119861F}"/>
                </a:ext>
              </a:extLst>
            </p:cNvPr>
            <p:cNvSpPr/>
            <p:nvPr/>
          </p:nvSpPr>
          <p:spPr>
            <a:xfrm>
              <a:off x="827337" y="4876356"/>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25000"/>
              </a:srgbClr>
            </a:solidFill>
            <a:ln w="2052" cap="flat">
              <a:noFill/>
              <a:prstDash val="solid"/>
              <a:miter/>
            </a:ln>
          </p:spPr>
          <p:txBody>
            <a:bodyPr rtlCol="0" anchor="ctr"/>
            <a:lstStyle/>
            <a:p>
              <a:endParaRPr lang="en-US"/>
            </a:p>
          </p:txBody>
        </p:sp>
      </p:grpSp>
    </p:spTree>
    <p:custDataLst>
      <p:tags r:id="rId1"/>
    </p:custDataLst>
    <p:extLst>
      <p:ext uri="{BB962C8B-B14F-4D97-AF65-F5344CB8AC3E}">
        <p14:creationId xmlns:p14="http://schemas.microsoft.com/office/powerpoint/2010/main" val="250767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AS - Section Header - Dark Blu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900AF95-1FC8-274C-A784-F831F6B8647F}"/>
              </a:ext>
            </a:extLst>
          </p:cNvPr>
          <p:cNvSpPr/>
          <p:nvPr/>
        </p:nvSpPr>
        <p:spPr>
          <a:xfrm>
            <a:off x="0"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4">
            <a:extLst>
              <a:ext uri="{FF2B5EF4-FFF2-40B4-BE49-F238E27FC236}">
                <a16:creationId xmlns:a16="http://schemas.microsoft.com/office/drawing/2014/main" id="{B0C6AF5C-E29A-9E49-801E-0A1C09DFDE5F}"/>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4" name="Picture 6">
            <a:extLst>
              <a:ext uri="{FF2B5EF4-FFF2-40B4-BE49-F238E27FC236}">
                <a16:creationId xmlns:a16="http://schemas.microsoft.com/office/drawing/2014/main" id="{6BFF7639-E4DF-3741-90C7-2DFCD9D26A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11892" y="4746756"/>
            <a:ext cx="558779" cy="253991"/>
          </a:xfrm>
          <a:prstGeom prst="rect">
            <a:avLst/>
          </a:prstGeom>
        </p:spPr>
      </p:pic>
      <p:pic>
        <p:nvPicPr>
          <p:cNvPr id="6" name="Picture 5" descr="A picture containing clock, light, drawing&#10;&#10;Description automatically generated">
            <a:extLst>
              <a:ext uri="{FF2B5EF4-FFF2-40B4-BE49-F238E27FC236}">
                <a16:creationId xmlns:a16="http://schemas.microsoft.com/office/drawing/2014/main" id="{43AE3E76-C4CC-8245-858F-A891F08C3E5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23061" r="33611" b="20040"/>
          <a:stretch/>
        </p:blipFill>
        <p:spPr>
          <a:xfrm>
            <a:off x="4561295" y="-6045"/>
            <a:ext cx="4582705" cy="5149545"/>
          </a:xfrm>
          <a:prstGeom prst="rect">
            <a:avLst/>
          </a:prstGeom>
        </p:spPr>
      </p:pic>
      <p:sp>
        <p:nvSpPr>
          <p:cNvPr id="11" name="Text Placeholder 34">
            <a:extLst>
              <a:ext uri="{FF2B5EF4-FFF2-40B4-BE49-F238E27FC236}">
                <a16:creationId xmlns:a16="http://schemas.microsoft.com/office/drawing/2014/main" id="{C8C0CE08-E9A8-3940-A81E-001DC88592F4}"/>
              </a:ext>
            </a:extLst>
          </p:cNvPr>
          <p:cNvSpPr>
            <a:spLocks noGrp="1"/>
          </p:cNvSpPr>
          <p:nvPr>
            <p:ph type="body" sz="quarter" idx="11"/>
          </p:nvPr>
        </p:nvSpPr>
        <p:spPr>
          <a:xfrm>
            <a:off x="620203" y="2484438"/>
            <a:ext cx="6390694" cy="1458912"/>
          </a:xfrm>
        </p:spPr>
        <p:txBody>
          <a:bodyPr>
            <a:normAutofit/>
          </a:bodyPr>
          <a:lstStyle>
            <a:lvl1pPr marL="0" indent="0" algn="l">
              <a:buNone/>
              <a:defRPr sz="2000">
                <a:solidFill>
                  <a:schemeClr val="accent1">
                    <a:lumMod val="60000"/>
                    <a:lumOff val="40000"/>
                  </a:schemeClr>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fr-FR"/>
              <a:t>Cliquez pour modifier les styles du texte du masque</a:t>
            </a:r>
          </a:p>
        </p:txBody>
      </p:sp>
      <p:sp>
        <p:nvSpPr>
          <p:cNvPr id="10" name="Text Placeholder 32">
            <a:extLst>
              <a:ext uri="{FF2B5EF4-FFF2-40B4-BE49-F238E27FC236}">
                <a16:creationId xmlns:a16="http://schemas.microsoft.com/office/drawing/2014/main" id="{D5BF76BC-A168-D846-A33A-DDC741AB2C49}"/>
              </a:ext>
            </a:extLst>
          </p:cNvPr>
          <p:cNvSpPr>
            <a:spLocks noGrp="1"/>
          </p:cNvSpPr>
          <p:nvPr>
            <p:ph type="body" sz="quarter" idx="10"/>
          </p:nvPr>
        </p:nvSpPr>
        <p:spPr>
          <a:xfrm>
            <a:off x="620203"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fr-FR"/>
              <a:t>Cliquez pour modifier les styles du texte du masque</a:t>
            </a:r>
          </a:p>
        </p:txBody>
      </p:sp>
    </p:spTree>
    <p:custDataLst>
      <p:tags r:id="rId1"/>
    </p:custDataLst>
    <p:extLst>
      <p:ext uri="{BB962C8B-B14F-4D97-AF65-F5344CB8AC3E}">
        <p14:creationId xmlns:p14="http://schemas.microsoft.com/office/powerpoint/2010/main" val="2615853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AS - Content with Image">
    <p:spTree>
      <p:nvGrpSpPr>
        <p:cNvPr id="1" name=""/>
        <p:cNvGrpSpPr/>
        <p:nvPr/>
      </p:nvGrpSpPr>
      <p:grpSpPr>
        <a:xfrm>
          <a:off x="0" y="0"/>
          <a:ext cx="0" cy="0"/>
          <a:chOff x="0" y="0"/>
          <a:chExt cx="0" cy="0"/>
        </a:xfrm>
      </p:grpSpPr>
      <p:sp>
        <p:nvSpPr>
          <p:cNvPr id="5" name="TextBox 3">
            <a:extLst>
              <a:ext uri="{FF2B5EF4-FFF2-40B4-BE49-F238E27FC236}">
                <a16:creationId xmlns:a16="http://schemas.microsoft.com/office/drawing/2014/main" id="{BA3B1AA2-50A5-4442-A897-3FD0C1BC19F0}"/>
              </a:ext>
            </a:extLst>
          </p:cNvPr>
          <p:cNvSpPr txBox="1"/>
          <p:nvPr/>
        </p:nvSpPr>
        <p:spPr>
          <a:xfrm>
            <a:off x="2230628" y="4679818"/>
            <a:ext cx="4673600" cy="297454"/>
          </a:xfrm>
          <a:prstGeom prst="rect">
            <a:avLst/>
          </a:prstGeom>
          <a:noFill/>
        </p:spPr>
        <p:txBody>
          <a:bodyPr wrap="square" rtlCol="0" anchor="ctr">
            <a:spAutoFit/>
          </a:bodyPr>
          <a:lstStyle/>
          <a:p>
            <a:pPr algn="ctr" defTabSz="243834"/>
            <a:r>
              <a:rPr lang="en-US" sz="1333" b="0" cap="all" spc="0" baseline="0" dirty="0">
                <a:solidFill>
                  <a:schemeClr val="bg1"/>
                </a:solidFill>
                <a:latin typeface="+mn-lt"/>
                <a:cs typeface="Arial" pitchFamily="34" charset="0"/>
              </a:rPr>
              <a:t>CONFIDENTIAL  •  DO NOT DISCLOSE</a:t>
            </a:r>
          </a:p>
        </p:txBody>
      </p:sp>
      <p:sp>
        <p:nvSpPr>
          <p:cNvPr id="17" name="Freeform 16">
            <a:extLst>
              <a:ext uri="{FF2B5EF4-FFF2-40B4-BE49-F238E27FC236}">
                <a16:creationId xmlns:a16="http://schemas.microsoft.com/office/drawing/2014/main" id="{B28BF588-A539-E84D-BAE7-8D1EE1761D7B}"/>
              </a:ext>
            </a:extLst>
          </p:cNvPr>
          <p:cNvSpPr/>
          <p:nvPr/>
        </p:nvSpPr>
        <p:spPr>
          <a:xfrm>
            <a:off x="3405809" y="-1"/>
            <a:ext cx="2724336" cy="4651514"/>
          </a:xfrm>
          <a:custGeom>
            <a:avLst/>
            <a:gdLst>
              <a:gd name="connsiteX0" fmla="*/ 2952243 w 3004957"/>
              <a:gd name="connsiteY0" fmla="*/ 0 h 5143500"/>
              <a:gd name="connsiteX1" fmla="*/ 3004957 w 3004957"/>
              <a:gd name="connsiteY1" fmla="*/ 0 h 5143500"/>
              <a:gd name="connsiteX2" fmla="*/ 52714 w 3004957"/>
              <a:gd name="connsiteY2" fmla="*/ 5143500 h 5143500"/>
              <a:gd name="connsiteX3" fmla="*/ 0 w 3004957"/>
              <a:gd name="connsiteY3" fmla="*/ 5143500 h 5143500"/>
              <a:gd name="connsiteX4" fmla="*/ 2952243 w 3004957"/>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4957" h="5143500">
                <a:moveTo>
                  <a:pt x="2952243" y="0"/>
                </a:moveTo>
                <a:lnTo>
                  <a:pt x="3004957" y="0"/>
                </a:lnTo>
                <a:lnTo>
                  <a:pt x="52714" y="5143500"/>
                </a:lnTo>
                <a:lnTo>
                  <a:pt x="0" y="5143500"/>
                </a:lnTo>
                <a:lnTo>
                  <a:pt x="2952243" y="0"/>
                </a:lnTo>
                <a:close/>
              </a:path>
            </a:pathLst>
          </a:custGeom>
          <a:gradFill flip="none" rotWithShape="1">
            <a:gsLst>
              <a:gs pos="30000">
                <a:srgbClr val="3D5AAE"/>
              </a:gs>
              <a:gs pos="100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9">
            <a:extLst>
              <a:ext uri="{FF2B5EF4-FFF2-40B4-BE49-F238E27FC236}">
                <a16:creationId xmlns:a16="http://schemas.microsoft.com/office/drawing/2014/main" id="{69FD8B09-C03A-1F47-8E8E-7F5B82C66987}"/>
              </a:ext>
            </a:extLst>
          </p:cNvPr>
          <p:cNvSpPr>
            <a:spLocks noGrp="1"/>
          </p:cNvSpPr>
          <p:nvPr>
            <p:ph type="body" sz="quarter" idx="11"/>
          </p:nvPr>
        </p:nvSpPr>
        <p:spPr>
          <a:xfrm>
            <a:off x="5394152" y="1751961"/>
            <a:ext cx="3357562" cy="1022310"/>
          </a:xfrm>
        </p:spPr>
        <p:txBody>
          <a:bodyPr/>
          <a:lstStyle>
            <a:lvl1pPr marL="0" indent="0">
              <a:buNone/>
              <a:defRPr/>
            </a:lvl1pPr>
            <a:lvl2pPr marL="182880" indent="0">
              <a:buNone/>
              <a:defRPr/>
            </a:lvl2pPr>
            <a:lvl3pPr marL="365760" indent="0">
              <a:buNone/>
              <a:defRPr/>
            </a:lvl3pPr>
            <a:lvl4pPr marL="1028700" indent="0">
              <a:buNone/>
              <a:defRPr/>
            </a:lvl4pPr>
            <a:lvl5pPr marL="1371600" indent="0">
              <a:buNone/>
              <a:defRPr/>
            </a:lvl5pPr>
          </a:lstStyle>
          <a:p>
            <a:pPr lvl="0"/>
            <a:r>
              <a:rPr lang="en-US"/>
              <a:t>Click to edit Master text styles</a:t>
            </a:r>
          </a:p>
        </p:txBody>
      </p:sp>
      <p:sp>
        <p:nvSpPr>
          <p:cNvPr id="7" name="Picture Placeholder 2">
            <a:extLst>
              <a:ext uri="{FF2B5EF4-FFF2-40B4-BE49-F238E27FC236}">
                <a16:creationId xmlns:a16="http://schemas.microsoft.com/office/drawing/2014/main" id="{2A0DCB78-264D-144D-A952-10F81BCE055A}"/>
              </a:ext>
            </a:extLst>
          </p:cNvPr>
          <p:cNvSpPr>
            <a:spLocks noGrp="1"/>
          </p:cNvSpPr>
          <p:nvPr>
            <p:ph type="pic" sz="quarter" idx="12"/>
          </p:nvPr>
        </p:nvSpPr>
        <p:spPr>
          <a:xfrm>
            <a:off x="-7058" y="-1"/>
            <a:ext cx="6081885" cy="4654853"/>
          </a:xfrm>
          <a:custGeom>
            <a:avLst/>
            <a:gdLst>
              <a:gd name="connsiteX0" fmla="*/ 0 w 3125788"/>
              <a:gd name="connsiteY0" fmla="*/ 5143500 h 5143500"/>
              <a:gd name="connsiteX1" fmla="*/ 781447 w 3125788"/>
              <a:gd name="connsiteY1" fmla="*/ 0 h 5143500"/>
              <a:gd name="connsiteX2" fmla="*/ 2344341 w 3125788"/>
              <a:gd name="connsiteY2" fmla="*/ 0 h 5143500"/>
              <a:gd name="connsiteX3" fmla="*/ 3125788 w 3125788"/>
              <a:gd name="connsiteY3" fmla="*/ 5143500 h 5143500"/>
              <a:gd name="connsiteX4" fmla="*/ 0 w 3125788"/>
              <a:gd name="connsiteY4" fmla="*/ 5143500 h 5143500"/>
              <a:gd name="connsiteX0" fmla="*/ 0 w 6074828"/>
              <a:gd name="connsiteY0" fmla="*/ 5143500 h 5143500"/>
              <a:gd name="connsiteX1" fmla="*/ 781447 w 6074828"/>
              <a:gd name="connsiteY1" fmla="*/ 0 h 5143500"/>
              <a:gd name="connsiteX2" fmla="*/ 6074828 w 6074828"/>
              <a:gd name="connsiteY2" fmla="*/ 0 h 5143500"/>
              <a:gd name="connsiteX3" fmla="*/ 3125788 w 6074828"/>
              <a:gd name="connsiteY3" fmla="*/ 5143500 h 5143500"/>
              <a:gd name="connsiteX4" fmla="*/ 0 w 6074828"/>
              <a:gd name="connsiteY4" fmla="*/ 5143500 h 5143500"/>
              <a:gd name="connsiteX0" fmla="*/ 7057 w 6081885"/>
              <a:gd name="connsiteY0" fmla="*/ 5143500 h 5143500"/>
              <a:gd name="connsiteX1" fmla="*/ 0 w 6081885"/>
              <a:gd name="connsiteY1" fmla="*/ 0 h 5143500"/>
              <a:gd name="connsiteX2" fmla="*/ 6081885 w 6081885"/>
              <a:gd name="connsiteY2" fmla="*/ 0 h 5143500"/>
              <a:gd name="connsiteX3" fmla="*/ 3132845 w 6081885"/>
              <a:gd name="connsiteY3" fmla="*/ 5143500 h 5143500"/>
              <a:gd name="connsiteX4" fmla="*/ 7057 w 6081885"/>
              <a:gd name="connsiteY4" fmla="*/ 5143500 h 5143500"/>
              <a:gd name="connsiteX0" fmla="*/ 7057 w 6081885"/>
              <a:gd name="connsiteY0" fmla="*/ 5143500 h 5143500"/>
              <a:gd name="connsiteX1" fmla="*/ 0 w 6081885"/>
              <a:gd name="connsiteY1" fmla="*/ 0 h 5143500"/>
              <a:gd name="connsiteX2" fmla="*/ 6081885 w 6081885"/>
              <a:gd name="connsiteY2" fmla="*/ 0 h 5143500"/>
              <a:gd name="connsiteX3" fmla="*/ 3397888 w 6081885"/>
              <a:gd name="connsiteY3" fmla="*/ 4653170 h 5143500"/>
              <a:gd name="connsiteX4" fmla="*/ 7057 w 6081885"/>
              <a:gd name="connsiteY4" fmla="*/ 5143500 h 5143500"/>
              <a:gd name="connsiteX0" fmla="*/ 7057 w 6081885"/>
              <a:gd name="connsiteY0" fmla="*/ 4659796 h 4659796"/>
              <a:gd name="connsiteX1" fmla="*/ 0 w 6081885"/>
              <a:gd name="connsiteY1" fmla="*/ 0 h 4659796"/>
              <a:gd name="connsiteX2" fmla="*/ 6081885 w 6081885"/>
              <a:gd name="connsiteY2" fmla="*/ 0 h 4659796"/>
              <a:gd name="connsiteX3" fmla="*/ 3397888 w 6081885"/>
              <a:gd name="connsiteY3" fmla="*/ 4653170 h 4659796"/>
              <a:gd name="connsiteX4" fmla="*/ 7057 w 6081885"/>
              <a:gd name="connsiteY4" fmla="*/ 4659796 h 4659796"/>
              <a:gd name="connsiteX0" fmla="*/ 7057 w 6081885"/>
              <a:gd name="connsiteY0" fmla="*/ 4659796 h 4659796"/>
              <a:gd name="connsiteX1" fmla="*/ 0 w 6081885"/>
              <a:gd name="connsiteY1" fmla="*/ 0 h 4659796"/>
              <a:gd name="connsiteX2" fmla="*/ 6081885 w 6081885"/>
              <a:gd name="connsiteY2" fmla="*/ 0 h 4659796"/>
              <a:gd name="connsiteX3" fmla="*/ 3402831 w 6081885"/>
              <a:gd name="connsiteY3" fmla="*/ 4653170 h 4659796"/>
              <a:gd name="connsiteX4" fmla="*/ 7057 w 6081885"/>
              <a:gd name="connsiteY4" fmla="*/ 4659796 h 4659796"/>
              <a:gd name="connsiteX0" fmla="*/ 2114 w 6081885"/>
              <a:gd name="connsiteY0" fmla="*/ 4654853 h 4654853"/>
              <a:gd name="connsiteX1" fmla="*/ 0 w 6081885"/>
              <a:gd name="connsiteY1" fmla="*/ 0 h 4654853"/>
              <a:gd name="connsiteX2" fmla="*/ 6081885 w 6081885"/>
              <a:gd name="connsiteY2" fmla="*/ 0 h 4654853"/>
              <a:gd name="connsiteX3" fmla="*/ 3402831 w 6081885"/>
              <a:gd name="connsiteY3" fmla="*/ 4653170 h 4654853"/>
              <a:gd name="connsiteX4" fmla="*/ 2114 w 6081885"/>
              <a:gd name="connsiteY4" fmla="*/ 4654853 h 465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885" h="4654853">
                <a:moveTo>
                  <a:pt x="2114" y="4654853"/>
                </a:moveTo>
                <a:cubicBezTo>
                  <a:pt x="-238" y="2940353"/>
                  <a:pt x="2352" y="1714500"/>
                  <a:pt x="0" y="0"/>
                </a:cubicBezTo>
                <a:lnTo>
                  <a:pt x="6081885" y="0"/>
                </a:lnTo>
                <a:lnTo>
                  <a:pt x="3402831" y="4653170"/>
                </a:lnTo>
                <a:lnTo>
                  <a:pt x="2114" y="4654853"/>
                </a:lnTo>
                <a:close/>
              </a:path>
            </a:pathLst>
          </a:custGeom>
        </p:spPr>
        <p:txBody>
          <a:bodyPr/>
          <a:lstStyle/>
          <a:p>
            <a:endParaRPr lang="en-US"/>
          </a:p>
        </p:txBody>
      </p:sp>
    </p:spTree>
    <p:custDataLst>
      <p:tags r:id="rId1"/>
    </p:custDataLst>
    <p:extLst>
      <p:ext uri="{BB962C8B-B14F-4D97-AF65-F5344CB8AC3E}">
        <p14:creationId xmlns:p14="http://schemas.microsoft.com/office/powerpoint/2010/main" val="424646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SAS - Blue Backgroun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696823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SAS - Image Only - White">
    <p:bg>
      <p:bgPr>
        <a:solidFill>
          <a:schemeClr val="bg1"/>
        </a:soli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827EE352-7D2C-A441-A898-DDF88FC2D8F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411892" y="4758271"/>
            <a:ext cx="558779" cy="230961"/>
          </a:xfrm>
          <a:prstGeom prst="rect">
            <a:avLst/>
          </a:prstGeom>
        </p:spPr>
      </p:pic>
      <p:sp>
        <p:nvSpPr>
          <p:cNvPr id="4" name="TextBox 4">
            <a:extLst>
              <a:ext uri="{FF2B5EF4-FFF2-40B4-BE49-F238E27FC236}">
                <a16:creationId xmlns:a16="http://schemas.microsoft.com/office/drawing/2014/main" id="{FC61EEC8-0C67-4E4B-96F0-B7FBDEF4618C}"/>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solidFill>
                <a:effectLst/>
                <a:uLnTx/>
                <a:uFillTx/>
                <a:latin typeface="+mn-lt"/>
                <a:ea typeface="Calibri" charset="0"/>
                <a:cs typeface="Arial" panose="020B0604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204266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AS - Black Background">
    <p:bg>
      <p:bgPr>
        <a:solidFill>
          <a:srgbClr val="0000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51AFB0-E8BA-6E40-9F47-B58679E16989}"/>
              </a:ext>
            </a:extLst>
          </p:cNvPr>
          <p:cNvSpPr/>
          <p:nvPr/>
        </p:nvSpPr>
        <p:spPr>
          <a:xfrm>
            <a:off x="0" y="0"/>
            <a:ext cx="9144000"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9CC8A4CC-C6DD-674E-9755-C2307DA101AD}"/>
              </a:ext>
            </a:extLst>
          </p:cNvPr>
          <p:cNvGrpSpPr/>
          <p:nvPr/>
        </p:nvGrpSpPr>
        <p:grpSpPr>
          <a:xfrm>
            <a:off x="8427835" y="4765184"/>
            <a:ext cx="526892" cy="220528"/>
            <a:chOff x="6145213" y="4384676"/>
            <a:chExt cx="1582738" cy="649287"/>
          </a:xfrm>
          <a:solidFill>
            <a:schemeClr val="bg2">
              <a:lumMod val="50000"/>
            </a:schemeClr>
          </a:solidFill>
        </p:grpSpPr>
        <p:sp>
          <p:nvSpPr>
            <p:cNvPr id="5" name="Freeform 6">
              <a:extLst>
                <a:ext uri="{FF2B5EF4-FFF2-40B4-BE49-F238E27FC236}">
                  <a16:creationId xmlns:a16="http://schemas.microsoft.com/office/drawing/2014/main" id="{FC0936E0-05D4-D944-94E4-FBA36E861837}"/>
                </a:ext>
              </a:extLst>
            </p:cNvPr>
            <p:cNvSpPr>
              <a:spLocks/>
            </p:cNvSpPr>
            <p:nvPr/>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E5ACFC61-8225-8F4F-A539-DCE60FEB039A}"/>
                </a:ext>
              </a:extLst>
            </p:cNvPr>
            <p:cNvSpPr>
              <a:spLocks noEditPoints="1"/>
            </p:cNvSpPr>
            <p:nvPr/>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AB029620-52DD-C540-9F66-FD8586A661D7}"/>
                </a:ext>
              </a:extLst>
            </p:cNvPr>
            <p:cNvSpPr>
              <a:spLocks/>
            </p:cNvSpPr>
            <p:nvPr/>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5F2C8F16-8DA0-6A49-A6A6-F8C208B72416}"/>
                </a:ext>
              </a:extLst>
            </p:cNvPr>
            <p:cNvSpPr>
              <a:spLocks/>
            </p:cNvSpPr>
            <p:nvPr/>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3F51FBB3-DAAD-0546-AF4C-840293C90D95}"/>
                </a:ext>
              </a:extLst>
            </p:cNvPr>
            <p:cNvSpPr>
              <a:spLocks/>
            </p:cNvSpPr>
            <p:nvPr/>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
              <a:extLst>
                <a:ext uri="{FF2B5EF4-FFF2-40B4-BE49-F238E27FC236}">
                  <a16:creationId xmlns:a16="http://schemas.microsoft.com/office/drawing/2014/main" id="{ED4644BB-791F-6241-8C89-AFA3C1325C38}"/>
                </a:ext>
              </a:extLst>
            </p:cNvPr>
            <p:cNvSpPr>
              <a:spLocks noEditPoints="1"/>
            </p:cNvSpPr>
            <p:nvPr/>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0">
              <a:extLst>
                <a:ext uri="{FF2B5EF4-FFF2-40B4-BE49-F238E27FC236}">
                  <a16:creationId xmlns:a16="http://schemas.microsoft.com/office/drawing/2014/main" id="{2DAE9313-7E29-324E-B411-25184A85F9E3}"/>
                </a:ext>
              </a:extLst>
            </p:cNvPr>
            <p:cNvSpPr>
              <a:spLocks noEditPoints="1"/>
            </p:cNvSpPr>
            <p:nvPr/>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 name="TextBox 3">
            <a:extLst>
              <a:ext uri="{FF2B5EF4-FFF2-40B4-BE49-F238E27FC236}">
                <a16:creationId xmlns:a16="http://schemas.microsoft.com/office/drawing/2014/main" id="{ACAC6727-2088-4147-A38A-47850B89BAF6}"/>
              </a:ext>
            </a:extLst>
          </p:cNvPr>
          <p:cNvSpPr txBox="1">
            <a:spLocks noChangeAspect="1"/>
          </p:cNvSpPr>
          <p:nvPr/>
        </p:nvSpPr>
        <p:spPr>
          <a:xfrm>
            <a:off x="3310128" y="4864608"/>
            <a:ext cx="2514600" cy="246221"/>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lumMod val="50000"/>
                  </a:schemeClr>
                </a:solidFill>
                <a:effectLst/>
                <a:uLnTx/>
                <a:uFillTx/>
                <a:latin typeface="+mn-lt"/>
                <a:ea typeface="Calibri" charset="0"/>
                <a:cs typeface="Arial" panose="020B0604020202020204" pitchFamily="34" charset="0"/>
              </a:rPr>
              <a:t>Company Confidential – For Internal Use Only</a:t>
            </a:r>
          </a:p>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lumMod val="50000"/>
                  </a:schemeClr>
                </a:solidFill>
                <a:effectLst/>
                <a:uLnTx/>
                <a:uFillTx/>
                <a:latin typeface="+mn-lt"/>
                <a:ea typeface="Calibri" charset="0"/>
                <a:cs typeface="Arial" panose="020B0604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1317263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losing SAS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0" y="-6047"/>
            <a:ext cx="9144000" cy="52173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2228850" cy="51435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1376653" y="1793688"/>
            <a:ext cx="6390694" cy="1556124"/>
          </a:xfrm>
        </p:spPr>
        <p:txBody>
          <a:bodyPr anchor="ctr">
            <a:normAutofit/>
          </a:bodyPr>
          <a:lstStyle>
            <a:lvl1pPr marL="0" indent="0" algn="ctr">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11" name="Rectangle 10">
            <a:extLst>
              <a:ext uri="{FF2B5EF4-FFF2-40B4-BE49-F238E27FC236}">
                <a16:creationId xmlns:a16="http://schemas.microsoft.com/office/drawing/2014/main" id="{60F2F4D0-EB0E-3842-9785-6EF69081820E}"/>
              </a:ext>
            </a:extLst>
          </p:cNvPr>
          <p:cNvSpPr/>
          <p:nvPr/>
        </p:nvSpPr>
        <p:spPr>
          <a:xfrm>
            <a:off x="0" y="0"/>
            <a:ext cx="2405925" cy="5148072"/>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4">
            <a:extLst>
              <a:ext uri="{FF2B5EF4-FFF2-40B4-BE49-F238E27FC236}">
                <a16:creationId xmlns:a16="http://schemas.microsoft.com/office/drawing/2014/main" id="{64A8B58C-CD7F-6F4B-B6E8-178EEF4B15DC}"/>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635" y="4475284"/>
            <a:ext cx="1112368" cy="618852"/>
          </a:xfrm>
          <a:prstGeom prst="rect">
            <a:avLst/>
          </a:prstGeom>
        </p:spPr>
      </p:pic>
      <p:sp>
        <p:nvSpPr>
          <p:cNvPr id="2" name="TextBox 1">
            <a:extLst>
              <a:ext uri="{FF2B5EF4-FFF2-40B4-BE49-F238E27FC236}">
                <a16:creationId xmlns:a16="http://schemas.microsoft.com/office/drawing/2014/main" id="{503DB4AB-A9DE-4660-939A-CBDF75AC178E}"/>
              </a:ext>
            </a:extLst>
          </p:cNvPr>
          <p:cNvSpPr txBox="1"/>
          <p:nvPr/>
        </p:nvSpPr>
        <p:spPr>
          <a:xfrm>
            <a:off x="4078010" y="4138459"/>
            <a:ext cx="1009314" cy="400110"/>
          </a:xfrm>
          <a:prstGeom prst="rect">
            <a:avLst/>
          </a:prstGeom>
          <a:noFill/>
        </p:spPr>
        <p:txBody>
          <a:bodyPr wrap="none" rtlCol="0">
            <a:spAutoFit/>
          </a:bodyPr>
          <a:lstStyle/>
          <a:p>
            <a:pPr algn="ctr"/>
            <a:r>
              <a:rPr lang="en-US" sz="2000" dirty="0">
                <a:solidFill>
                  <a:schemeClr val="bg1"/>
                </a:solidFill>
                <a:latin typeface="+mj-lt"/>
              </a:rPr>
              <a:t>sas.com</a:t>
            </a:r>
          </a:p>
        </p:txBody>
      </p:sp>
    </p:spTree>
    <p:custDataLst>
      <p:tags r:id="rId1"/>
    </p:custDataLst>
    <p:extLst>
      <p:ext uri="{BB962C8B-B14F-4D97-AF65-F5344CB8AC3E}">
        <p14:creationId xmlns:p14="http://schemas.microsoft.com/office/powerpoint/2010/main" val="42737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AS - 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1"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2228850" cy="51435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1653873"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10" name="Text Placeholder 34">
            <a:extLst>
              <a:ext uri="{FF2B5EF4-FFF2-40B4-BE49-F238E27FC236}">
                <a16:creationId xmlns:a16="http://schemas.microsoft.com/office/drawing/2014/main" id="{9B949CCB-8408-0B41-9681-4ECA35605A82}"/>
              </a:ext>
            </a:extLst>
          </p:cNvPr>
          <p:cNvSpPr>
            <a:spLocks noGrp="1"/>
          </p:cNvSpPr>
          <p:nvPr>
            <p:ph type="body" sz="quarter" idx="11"/>
          </p:nvPr>
        </p:nvSpPr>
        <p:spPr>
          <a:xfrm>
            <a:off x="1653873" y="2484438"/>
            <a:ext cx="6390694" cy="1458912"/>
          </a:xfrm>
        </p:spPr>
        <p:txBody>
          <a:bodyPr>
            <a:normAutofit/>
          </a:bodyPr>
          <a:lstStyle>
            <a:lvl1pPr marL="0" indent="0" algn="l">
              <a:buNone/>
              <a:defRPr sz="2000">
                <a:solidFill>
                  <a:schemeClr val="accent1">
                    <a:lumMod val="60000"/>
                    <a:lumOff val="40000"/>
                  </a:schemeClr>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11" name="Rectangle 10">
            <a:extLst>
              <a:ext uri="{FF2B5EF4-FFF2-40B4-BE49-F238E27FC236}">
                <a16:creationId xmlns:a16="http://schemas.microsoft.com/office/drawing/2014/main" id="{60F2F4D0-EB0E-3842-9785-6EF69081820E}"/>
              </a:ext>
            </a:extLst>
          </p:cNvPr>
          <p:cNvSpPr/>
          <p:nvPr/>
        </p:nvSpPr>
        <p:spPr>
          <a:xfrm>
            <a:off x="1" y="0"/>
            <a:ext cx="2405925" cy="5148072"/>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Box 4">
            <a:extLst>
              <a:ext uri="{FF2B5EF4-FFF2-40B4-BE49-F238E27FC236}">
                <a16:creationId xmlns:a16="http://schemas.microsoft.com/office/drawing/2014/main" id="{64A8B58C-CD7F-6F4B-B6E8-178EEF4B15DC}"/>
              </a:ext>
            </a:extLst>
          </p:cNvPr>
          <p:cNvSpPr txBox="1"/>
          <p:nvPr/>
        </p:nvSpPr>
        <p:spPr>
          <a:xfrm>
            <a:off x="3310128" y="4941553"/>
            <a:ext cx="2514600" cy="169277"/>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636" y="4475284"/>
            <a:ext cx="1112368" cy="618852"/>
          </a:xfrm>
          <a:prstGeom prst="rect">
            <a:avLst/>
          </a:prstGeom>
        </p:spPr>
      </p:pic>
    </p:spTree>
    <p:custDataLst>
      <p:tags r:id="rId1"/>
    </p:custDataLst>
    <p:extLst>
      <p:ext uri="{BB962C8B-B14F-4D97-AF65-F5344CB8AC3E}">
        <p14:creationId xmlns:p14="http://schemas.microsoft.com/office/powerpoint/2010/main" val="339044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AS - Section Header - Dark Blu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900AF95-1FC8-274C-A784-F831F6B8647F}"/>
              </a:ext>
            </a:extLst>
          </p:cNvPr>
          <p:cNvSpPr/>
          <p:nvPr/>
        </p:nvSpPr>
        <p:spPr>
          <a:xfrm>
            <a:off x="1"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TextBox 4">
            <a:extLst>
              <a:ext uri="{FF2B5EF4-FFF2-40B4-BE49-F238E27FC236}">
                <a16:creationId xmlns:a16="http://schemas.microsoft.com/office/drawing/2014/main" id="{B0C6AF5C-E29A-9E49-801E-0A1C09DFDE5F}"/>
              </a:ext>
            </a:extLst>
          </p:cNvPr>
          <p:cNvSpPr txBox="1"/>
          <p:nvPr/>
        </p:nvSpPr>
        <p:spPr>
          <a:xfrm>
            <a:off x="3310128" y="4941553"/>
            <a:ext cx="2514600" cy="169277"/>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4" name="Picture 6">
            <a:extLst>
              <a:ext uri="{FF2B5EF4-FFF2-40B4-BE49-F238E27FC236}">
                <a16:creationId xmlns:a16="http://schemas.microsoft.com/office/drawing/2014/main" id="{6BFF7639-E4DF-3741-90C7-2DFCD9D26A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11893" y="4746757"/>
            <a:ext cx="558779" cy="253991"/>
          </a:xfrm>
          <a:prstGeom prst="rect">
            <a:avLst/>
          </a:prstGeom>
        </p:spPr>
      </p:pic>
      <p:pic>
        <p:nvPicPr>
          <p:cNvPr id="6" name="Picture 5" descr="A picture containing clock, light, drawing&#10;&#10;Description automatically generated">
            <a:extLst>
              <a:ext uri="{FF2B5EF4-FFF2-40B4-BE49-F238E27FC236}">
                <a16:creationId xmlns:a16="http://schemas.microsoft.com/office/drawing/2014/main" id="{43AE3E76-C4CC-8245-858F-A891F08C3E5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23061" r="33611" b="20040"/>
          <a:stretch/>
        </p:blipFill>
        <p:spPr>
          <a:xfrm>
            <a:off x="4561296" y="-6044"/>
            <a:ext cx="4582705" cy="5149545"/>
          </a:xfrm>
          <a:prstGeom prst="rect">
            <a:avLst/>
          </a:prstGeom>
        </p:spPr>
      </p:pic>
      <p:sp>
        <p:nvSpPr>
          <p:cNvPr id="11" name="Text Placeholder 34">
            <a:extLst>
              <a:ext uri="{FF2B5EF4-FFF2-40B4-BE49-F238E27FC236}">
                <a16:creationId xmlns:a16="http://schemas.microsoft.com/office/drawing/2014/main" id="{C8C0CE08-E9A8-3940-A81E-001DC88592F4}"/>
              </a:ext>
            </a:extLst>
          </p:cNvPr>
          <p:cNvSpPr>
            <a:spLocks noGrp="1"/>
          </p:cNvSpPr>
          <p:nvPr>
            <p:ph type="body" sz="quarter" idx="11"/>
          </p:nvPr>
        </p:nvSpPr>
        <p:spPr>
          <a:xfrm>
            <a:off x="620204" y="2484438"/>
            <a:ext cx="6390694" cy="1458912"/>
          </a:xfrm>
        </p:spPr>
        <p:txBody>
          <a:bodyPr>
            <a:normAutofit/>
          </a:bodyPr>
          <a:lstStyle>
            <a:lvl1pPr marL="0" indent="0" algn="l">
              <a:buNone/>
              <a:defRPr sz="2000">
                <a:solidFill>
                  <a:schemeClr val="accent1">
                    <a:lumMod val="60000"/>
                    <a:lumOff val="40000"/>
                  </a:schemeClr>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10" name="Text Placeholder 32">
            <a:extLst>
              <a:ext uri="{FF2B5EF4-FFF2-40B4-BE49-F238E27FC236}">
                <a16:creationId xmlns:a16="http://schemas.microsoft.com/office/drawing/2014/main" id="{D5BF76BC-A168-D846-A33A-DDC741AB2C49}"/>
              </a:ext>
            </a:extLst>
          </p:cNvPr>
          <p:cNvSpPr>
            <a:spLocks noGrp="1"/>
          </p:cNvSpPr>
          <p:nvPr>
            <p:ph type="body" sz="quarter" idx="10"/>
          </p:nvPr>
        </p:nvSpPr>
        <p:spPr>
          <a:xfrm>
            <a:off x="620204"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199413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AS - Content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Clr>
                <a:schemeClr val="bg2"/>
              </a:buClr>
              <a:defRPr>
                <a:solidFill>
                  <a:schemeClr val="bg1"/>
                </a:solidFill>
                <a:latin typeface="+mj-lt"/>
              </a:defRPr>
            </a:lvl1pPr>
            <a:lvl2pPr>
              <a:buClr>
                <a:schemeClr val="bg2"/>
              </a:buClr>
              <a:defRPr>
                <a:solidFill>
                  <a:schemeClr val="bg1"/>
                </a:solidFill>
                <a:latin typeface="+mj-lt"/>
              </a:defRPr>
            </a:lvl2pPr>
            <a:lvl3pPr>
              <a:buClr>
                <a:schemeClr val="bg2"/>
              </a:buClr>
              <a:defRPr>
                <a:solidFill>
                  <a:schemeClr val="bg1"/>
                </a:solidFill>
                <a:latin typeface="+mj-lt"/>
              </a:defRPr>
            </a:lvl3pPr>
            <a:lvl4pPr>
              <a:buClr>
                <a:schemeClr val="bg2"/>
              </a:buClr>
              <a:defRPr>
                <a:solidFill>
                  <a:schemeClr val="bg1"/>
                </a:solidFill>
                <a:latin typeface="+mj-lt"/>
              </a:defRPr>
            </a:lvl4pPr>
            <a:lvl5pPr>
              <a:buClr>
                <a:schemeClr val="bg2"/>
              </a:buClr>
              <a:defRPr>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76" indent="0">
              <a:buNone/>
              <a:defRPr/>
            </a:lvl2pPr>
            <a:lvl3pPr marL="365751" indent="0">
              <a:buNone/>
              <a:defRPr/>
            </a:lvl3pPr>
            <a:lvl4pPr marL="1028675" indent="0">
              <a:buNone/>
              <a:defRPr/>
            </a:lvl4pPr>
            <a:lvl5pPr marL="1371566"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2900534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AS - Title &amp; Subtitle -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76" indent="0">
              <a:buNone/>
              <a:defRPr/>
            </a:lvl2pPr>
            <a:lvl3pPr marL="365751" indent="0">
              <a:buNone/>
              <a:defRPr/>
            </a:lvl3pPr>
            <a:lvl4pPr marL="1028675" indent="0">
              <a:buNone/>
              <a:defRPr/>
            </a:lvl4pPr>
            <a:lvl5pPr marL="1371566"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144209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AS - 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98003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AS - Content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lvl1pPr>
              <a:buClr>
                <a:schemeClr val="bg2"/>
              </a:buClr>
              <a:defRPr>
                <a:solidFill>
                  <a:schemeClr val="bg1"/>
                </a:solidFill>
                <a:latin typeface="+mj-lt"/>
              </a:defRPr>
            </a:lvl1pPr>
            <a:lvl2pPr>
              <a:buClr>
                <a:schemeClr val="bg2"/>
              </a:buClr>
              <a:defRPr>
                <a:solidFill>
                  <a:schemeClr val="bg1"/>
                </a:solidFill>
                <a:latin typeface="+mj-lt"/>
              </a:defRPr>
            </a:lvl2pPr>
            <a:lvl3pPr>
              <a:buClr>
                <a:schemeClr val="bg2"/>
              </a:buClr>
              <a:defRPr>
                <a:solidFill>
                  <a:schemeClr val="bg1"/>
                </a:solidFill>
                <a:latin typeface="+mj-lt"/>
              </a:defRPr>
            </a:lvl3pPr>
            <a:lvl4pPr>
              <a:buClr>
                <a:schemeClr val="bg2"/>
              </a:buClr>
              <a:defRPr>
                <a:solidFill>
                  <a:schemeClr val="bg1"/>
                </a:solidFill>
                <a:latin typeface="+mj-lt"/>
              </a:defRPr>
            </a:lvl4pPr>
            <a:lvl5pPr>
              <a:buClr>
                <a:schemeClr val="bg2"/>
              </a:buClr>
              <a:defRPr>
                <a:solidFill>
                  <a:schemeClr val="bg1"/>
                </a:solidFill>
                <a:latin typeface="+mj-lt"/>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fr-FR"/>
              <a:t>Cliquez pour modifier les styles du texte du masque</a:t>
            </a:r>
          </a:p>
        </p:txBody>
      </p:sp>
    </p:spTree>
    <p:custDataLst>
      <p:tags r:id="rId1"/>
    </p:custDataLst>
    <p:extLst>
      <p:ext uri="{BB962C8B-B14F-4D97-AF65-F5344CB8AC3E}">
        <p14:creationId xmlns:p14="http://schemas.microsoft.com/office/powerpoint/2010/main" val="424739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AS - Comparison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lvl1pPr>
              <a:buClr>
                <a:schemeClr val="bg2"/>
              </a:buClr>
              <a:defRPr/>
            </a:lvl1pPr>
            <a:lvl2pPr>
              <a:buClr>
                <a:schemeClr val="bg2"/>
              </a:buClr>
              <a:defRPr/>
            </a:lvl2pPr>
            <a:lvl3pPr>
              <a:buClr>
                <a:schemeClr val="bg2"/>
              </a:buClr>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29150" y="1369219"/>
            <a:ext cx="3886200" cy="3263504"/>
          </a:xfrm>
        </p:spPr>
        <p:txBody>
          <a:bodyPr/>
          <a:lstStyle>
            <a:lvl1pPr>
              <a:buClr>
                <a:schemeClr val="bg2"/>
              </a:buClr>
              <a:defRPr/>
            </a:lvl1pPr>
            <a:lvl2pPr>
              <a:buClr>
                <a:schemeClr val="bg2"/>
              </a:buClr>
              <a:defRPr/>
            </a:lvl2pPr>
            <a:lvl3pPr>
              <a:buClr>
                <a:schemeClr val="bg2"/>
              </a:buClr>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EFE90ADF-F9C8-471B-A694-7C0B48436B41}"/>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76" indent="0">
              <a:buNone/>
              <a:defRPr/>
            </a:lvl2pPr>
            <a:lvl3pPr marL="365751" indent="0">
              <a:buNone/>
              <a:defRPr/>
            </a:lvl3pPr>
            <a:lvl4pPr marL="1028675" indent="0">
              <a:buNone/>
              <a:defRPr/>
            </a:lvl4pPr>
            <a:lvl5pPr marL="1371566"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765026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AS - Content with Caption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7E60C6F-E980-EE42-AE99-4BF9E126C012}"/>
              </a:ext>
            </a:extLst>
          </p:cNvPr>
          <p:cNvSpPr/>
          <p:nvPr/>
        </p:nvSpPr>
        <p:spPr>
          <a:xfrm>
            <a:off x="0" y="0"/>
            <a:ext cx="3127248" cy="5143500"/>
          </a:xfrm>
          <a:prstGeom prst="rect">
            <a:avLst/>
          </a:prstGeom>
          <a:gradFill flip="none" rotWithShape="1">
            <a:gsLst>
              <a:gs pos="0">
                <a:schemeClr val="tx2">
                  <a:lumMod val="90000"/>
                  <a:lumOff val="10000"/>
                </a:schemeClr>
              </a:gs>
              <a:gs pos="100000">
                <a:schemeClr val="tx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Title 1">
            <a:extLst>
              <a:ext uri="{FF2B5EF4-FFF2-40B4-BE49-F238E27FC236}">
                <a16:creationId xmlns:a16="http://schemas.microsoft.com/office/drawing/2014/main" id="{32F2FC9C-401F-5C4C-88BC-0A45460C4F9C}"/>
              </a:ext>
            </a:extLst>
          </p:cNvPr>
          <p:cNvSpPr>
            <a:spLocks noGrp="1"/>
          </p:cNvSpPr>
          <p:nvPr>
            <p:ph type="title" hasCustomPrompt="1"/>
          </p:nvPr>
        </p:nvSpPr>
        <p:spPr>
          <a:xfrm>
            <a:off x="0" y="228887"/>
            <a:ext cx="3127248" cy="341632"/>
          </a:xfrm>
        </p:spPr>
        <p:txBody>
          <a:bodyPr lIns="91440" rIns="91440" anchor="t" anchorCtr="0">
            <a:spAutoFit/>
          </a:bodyPr>
          <a:lstStyle>
            <a:lvl1pPr algn="ctr" defTabSz="182876">
              <a:spcBef>
                <a:spcPts val="0"/>
              </a:spcBef>
              <a:defRPr sz="1800" baseline="0">
                <a:solidFill>
                  <a:schemeClr val="accent1">
                    <a:lumMod val="60000"/>
                    <a:lumOff val="40000"/>
                  </a:schemeClr>
                </a:solidFill>
                <a:effectLst/>
                <a:latin typeface="+mj-lt"/>
              </a:defRPr>
            </a:lvl1pPr>
          </a:lstStyle>
          <a:p>
            <a:r>
              <a:rPr lang="en-US"/>
              <a:t>Click to add title</a:t>
            </a:r>
          </a:p>
        </p:txBody>
      </p:sp>
      <p:sp>
        <p:nvSpPr>
          <p:cNvPr id="4" name="Text Placeholder 4">
            <a:extLst>
              <a:ext uri="{FF2B5EF4-FFF2-40B4-BE49-F238E27FC236}">
                <a16:creationId xmlns:a16="http://schemas.microsoft.com/office/drawing/2014/main" id="{0ADB52DD-F50B-834D-99B3-5D1C55A9E47D}"/>
              </a:ext>
            </a:extLst>
          </p:cNvPr>
          <p:cNvSpPr>
            <a:spLocks noGrp="1"/>
          </p:cNvSpPr>
          <p:nvPr>
            <p:ph type="body" sz="quarter" idx="13" hasCustomPrompt="1"/>
          </p:nvPr>
        </p:nvSpPr>
        <p:spPr>
          <a:xfrm>
            <a:off x="411480" y="996695"/>
            <a:ext cx="2304288" cy="615553"/>
          </a:xfrm>
        </p:spPr>
        <p:txBody>
          <a:bodyPr wrap="square" anchor="t" anchorCtr="0">
            <a:spAutoFit/>
          </a:bodyPr>
          <a:lstStyle>
            <a:lvl1pPr marL="0" indent="-182876" algn="l">
              <a:buFont typeface="Arial" pitchFamily="34" charset="0"/>
              <a:buNone/>
              <a:defRPr sz="2000" b="0" cap="none" baseline="0">
                <a:solidFill>
                  <a:schemeClr val="bg1">
                    <a:lumMod val="85000"/>
                  </a:schemeClr>
                </a:solidFill>
                <a:effectLst/>
                <a:latin typeface="+mn-lt"/>
              </a:defRPr>
            </a:lvl1pPr>
          </a:lstStyle>
          <a:p>
            <a:pPr lvl="0"/>
            <a:r>
              <a:rPr lang="en-US"/>
              <a:t>Click to edit caption text</a:t>
            </a:r>
          </a:p>
        </p:txBody>
      </p:sp>
      <p:sp>
        <p:nvSpPr>
          <p:cNvPr id="6" name="Text Placeholder 2">
            <a:extLst>
              <a:ext uri="{FF2B5EF4-FFF2-40B4-BE49-F238E27FC236}">
                <a16:creationId xmlns:a16="http://schemas.microsoft.com/office/drawing/2014/main" id="{AC4D2804-3DAD-EE40-936A-43F13F80C8DF}"/>
              </a:ext>
            </a:extLst>
          </p:cNvPr>
          <p:cNvSpPr>
            <a:spLocks noGrp="1"/>
          </p:cNvSpPr>
          <p:nvPr>
            <p:ph type="body" sz="quarter" idx="11" hasCustomPrompt="1"/>
          </p:nvPr>
        </p:nvSpPr>
        <p:spPr>
          <a:xfrm>
            <a:off x="3127248" y="637660"/>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lumMod val="60000"/>
                    <a:lumOff val="40000"/>
                  </a:schemeClr>
                </a:solidFill>
                <a:effectLst/>
                <a:latin typeface="+mj-lt"/>
              </a:defRPr>
            </a:lvl1pPr>
          </a:lstStyle>
          <a:p>
            <a:pPr lvl="0"/>
            <a:r>
              <a:rPr lang="en-US"/>
              <a:t>Click to add subtitle</a:t>
            </a:r>
          </a:p>
        </p:txBody>
      </p:sp>
      <p:sp>
        <p:nvSpPr>
          <p:cNvPr id="7" name="Content Placeholder 3">
            <a:extLst>
              <a:ext uri="{FF2B5EF4-FFF2-40B4-BE49-F238E27FC236}">
                <a16:creationId xmlns:a16="http://schemas.microsoft.com/office/drawing/2014/main" id="{6A0DAF33-5110-D340-8044-FA8F4990F845}"/>
              </a:ext>
            </a:extLst>
          </p:cNvPr>
          <p:cNvSpPr>
            <a:spLocks noGrp="1"/>
          </p:cNvSpPr>
          <p:nvPr>
            <p:ph sz="quarter" idx="15" hasCustomPrompt="1"/>
          </p:nvPr>
        </p:nvSpPr>
        <p:spPr>
          <a:xfrm>
            <a:off x="3127248" y="920338"/>
            <a:ext cx="6016752" cy="4215653"/>
          </a:xfrm>
        </p:spPr>
        <p:txBody>
          <a:bodyPr wrap="square" lIns="365760" rIns="274320" bIns="91440" anchor="t" anchorCtr="0">
            <a:normAutofit/>
          </a:bodyPr>
          <a:lstStyle>
            <a:lvl1pPr>
              <a:buClr>
                <a:schemeClr val="bg2"/>
              </a:buClr>
              <a:defRPr sz="2000" baseline="0">
                <a:solidFill>
                  <a:schemeClr val="bg1"/>
                </a:solidFill>
              </a:defRPr>
            </a:lvl1pPr>
            <a:lvl2pPr>
              <a:buClr>
                <a:schemeClr val="bg2"/>
              </a:buClr>
              <a:defRPr baseline="0">
                <a:solidFill>
                  <a:schemeClr val="bg1">
                    <a:lumMod val="75000"/>
                  </a:schemeClr>
                </a:solidFill>
              </a:defRPr>
            </a:lvl2pPr>
            <a:lvl3pPr>
              <a:buClr>
                <a:schemeClr val="bg2"/>
              </a:buClr>
              <a:defRPr baseline="0">
                <a:solidFill>
                  <a:schemeClr val="bg1">
                    <a:lumMod val="75000"/>
                  </a:schemeClr>
                </a:solidFill>
              </a:defRPr>
            </a:lvl3pPr>
            <a:lvl4pPr>
              <a:defRPr baseline="0"/>
            </a:lvl4pPr>
            <a:lvl5pPr>
              <a:defRPr baseline="0"/>
            </a:lvl5pPr>
          </a:lstStyle>
          <a:p>
            <a:pPr lvl="0"/>
            <a:r>
              <a:rPr lang="en-US"/>
              <a:t>Click to add text or click an icon to add other content types.</a:t>
            </a:r>
          </a:p>
          <a:p>
            <a:pPr lvl="1"/>
            <a:r>
              <a:rPr lang="en-US"/>
              <a:t>Second level</a:t>
            </a:r>
          </a:p>
          <a:p>
            <a:pPr lvl="2"/>
            <a:r>
              <a:rPr lang="en-US"/>
              <a:t>Third level</a:t>
            </a:r>
          </a:p>
        </p:txBody>
      </p:sp>
      <p:sp>
        <p:nvSpPr>
          <p:cNvPr id="15" name="Text Placeholder 14">
            <a:extLst>
              <a:ext uri="{FF2B5EF4-FFF2-40B4-BE49-F238E27FC236}">
                <a16:creationId xmlns:a16="http://schemas.microsoft.com/office/drawing/2014/main" id="{6841ED34-FEB5-C146-83AC-389AC6CD9768}"/>
              </a:ext>
            </a:extLst>
          </p:cNvPr>
          <p:cNvSpPr>
            <a:spLocks noGrp="1"/>
          </p:cNvSpPr>
          <p:nvPr>
            <p:ph type="body" sz="quarter" idx="16" hasCustomPrompt="1"/>
          </p:nvPr>
        </p:nvSpPr>
        <p:spPr>
          <a:xfrm>
            <a:off x="3127376" y="228887"/>
            <a:ext cx="6016625" cy="409575"/>
          </a:xfrm>
        </p:spPr>
        <p:txBody>
          <a:bodyPr>
            <a:noAutofit/>
          </a:bodyPr>
          <a:lstStyle>
            <a:lvl1pPr marL="0" indent="0" algn="ctr">
              <a:buNone/>
              <a:defRPr sz="2800" b="1">
                <a:latin typeface="+mn-lt"/>
              </a:defRPr>
            </a:lvl1pPr>
          </a:lstStyle>
          <a:p>
            <a:pPr lvl="0"/>
            <a:r>
              <a:rPr lang="en-US"/>
              <a:t>Click to add title</a:t>
            </a:r>
          </a:p>
        </p:txBody>
      </p:sp>
      <p:grpSp>
        <p:nvGrpSpPr>
          <p:cNvPr id="16" name="Group 15">
            <a:extLst>
              <a:ext uri="{FF2B5EF4-FFF2-40B4-BE49-F238E27FC236}">
                <a16:creationId xmlns:a16="http://schemas.microsoft.com/office/drawing/2014/main" id="{9E23137D-5031-B540-810B-5B5014DDB875}"/>
              </a:ext>
            </a:extLst>
          </p:cNvPr>
          <p:cNvGrpSpPr/>
          <p:nvPr/>
        </p:nvGrpSpPr>
        <p:grpSpPr>
          <a:xfrm>
            <a:off x="100131" y="3903136"/>
            <a:ext cx="1843588" cy="1108928"/>
            <a:chOff x="92670" y="3892522"/>
            <a:chExt cx="1843588" cy="1108928"/>
          </a:xfrm>
        </p:grpSpPr>
        <p:sp>
          <p:nvSpPr>
            <p:cNvPr id="17" name="Freeform 16">
              <a:extLst>
                <a:ext uri="{FF2B5EF4-FFF2-40B4-BE49-F238E27FC236}">
                  <a16:creationId xmlns:a16="http://schemas.microsoft.com/office/drawing/2014/main" id="{84F2A5B7-99AC-BD49-8594-6DAE464CF372}"/>
                </a:ext>
              </a:extLst>
            </p:cNvPr>
            <p:cNvSpPr/>
            <p:nvPr/>
          </p:nvSpPr>
          <p:spPr>
            <a:xfrm>
              <a:off x="1836799"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8000"/>
              </a:srgbClr>
            </a:solidFill>
            <a:ln w="2052" cap="flat">
              <a:noFill/>
              <a:prstDash val="solid"/>
              <a:miter/>
            </a:ln>
          </p:spPr>
          <p:txBody>
            <a:bodyPr rtlCol="0" anchor="ctr"/>
            <a:lstStyle/>
            <a:p>
              <a:endParaRPr lang="en-US" sz="1800"/>
            </a:p>
          </p:txBody>
        </p:sp>
        <p:sp>
          <p:nvSpPr>
            <p:cNvPr id="18" name="Freeform 17">
              <a:extLst>
                <a:ext uri="{FF2B5EF4-FFF2-40B4-BE49-F238E27FC236}">
                  <a16:creationId xmlns:a16="http://schemas.microsoft.com/office/drawing/2014/main" id="{AE995F31-A398-C943-8027-FFECF81903AA}"/>
                </a:ext>
              </a:extLst>
            </p:cNvPr>
            <p:cNvSpPr/>
            <p:nvPr/>
          </p:nvSpPr>
          <p:spPr>
            <a:xfrm>
              <a:off x="1587637"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sz="1800"/>
            </a:p>
          </p:txBody>
        </p:sp>
        <p:sp>
          <p:nvSpPr>
            <p:cNvPr id="19" name="Freeform 18">
              <a:extLst>
                <a:ext uri="{FF2B5EF4-FFF2-40B4-BE49-F238E27FC236}">
                  <a16:creationId xmlns:a16="http://schemas.microsoft.com/office/drawing/2014/main" id="{60762E83-CF17-2247-AB0C-CDF3C02BC0D7}"/>
                </a:ext>
              </a:extLst>
            </p:cNvPr>
            <p:cNvSpPr/>
            <p:nvPr/>
          </p:nvSpPr>
          <p:spPr>
            <a:xfrm>
              <a:off x="1338476"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sz="1800"/>
            </a:p>
          </p:txBody>
        </p:sp>
        <p:sp>
          <p:nvSpPr>
            <p:cNvPr id="20" name="Freeform 19">
              <a:extLst>
                <a:ext uri="{FF2B5EF4-FFF2-40B4-BE49-F238E27FC236}">
                  <a16:creationId xmlns:a16="http://schemas.microsoft.com/office/drawing/2014/main" id="{067A16E5-88F6-E34C-ADB8-42534BE72FC5}"/>
                </a:ext>
              </a:extLst>
            </p:cNvPr>
            <p:cNvSpPr/>
            <p:nvPr/>
          </p:nvSpPr>
          <p:spPr>
            <a:xfrm>
              <a:off x="1089315"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sz="1800"/>
            </a:p>
          </p:txBody>
        </p:sp>
        <p:sp>
          <p:nvSpPr>
            <p:cNvPr id="21" name="Freeform 20">
              <a:extLst>
                <a:ext uri="{FF2B5EF4-FFF2-40B4-BE49-F238E27FC236}">
                  <a16:creationId xmlns:a16="http://schemas.microsoft.com/office/drawing/2014/main" id="{87822DD3-7A44-584E-8FDE-044968D0AF24}"/>
                </a:ext>
              </a:extLst>
            </p:cNvPr>
            <p:cNvSpPr/>
            <p:nvPr/>
          </p:nvSpPr>
          <p:spPr>
            <a:xfrm>
              <a:off x="1089315"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sz="1800"/>
            </a:p>
          </p:txBody>
        </p:sp>
        <p:sp>
          <p:nvSpPr>
            <p:cNvPr id="22" name="Freeform 21">
              <a:extLst>
                <a:ext uri="{FF2B5EF4-FFF2-40B4-BE49-F238E27FC236}">
                  <a16:creationId xmlns:a16="http://schemas.microsoft.com/office/drawing/2014/main" id="{1CC0BCCA-D6DE-DD4E-8026-E1C841BE8CA7}"/>
                </a:ext>
              </a:extLst>
            </p:cNvPr>
            <p:cNvSpPr/>
            <p:nvPr/>
          </p:nvSpPr>
          <p:spPr>
            <a:xfrm>
              <a:off x="840154"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sz="1800"/>
            </a:p>
          </p:txBody>
        </p:sp>
        <p:sp>
          <p:nvSpPr>
            <p:cNvPr id="23" name="Freeform 22">
              <a:extLst>
                <a:ext uri="{FF2B5EF4-FFF2-40B4-BE49-F238E27FC236}">
                  <a16:creationId xmlns:a16="http://schemas.microsoft.com/office/drawing/2014/main" id="{E8AED6F9-E6A3-EB4A-A55C-0740537659D6}"/>
                </a:ext>
              </a:extLst>
            </p:cNvPr>
            <p:cNvSpPr/>
            <p:nvPr/>
          </p:nvSpPr>
          <p:spPr>
            <a:xfrm>
              <a:off x="1089315"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3000"/>
              </a:srgbClr>
            </a:solidFill>
            <a:ln w="2052" cap="flat">
              <a:noFill/>
              <a:prstDash val="solid"/>
              <a:miter/>
            </a:ln>
          </p:spPr>
          <p:txBody>
            <a:bodyPr rtlCol="0" anchor="ctr"/>
            <a:lstStyle/>
            <a:p>
              <a:endParaRPr lang="en-US" sz="1800"/>
            </a:p>
          </p:txBody>
        </p:sp>
        <p:sp>
          <p:nvSpPr>
            <p:cNvPr id="24" name="Freeform 23">
              <a:extLst>
                <a:ext uri="{FF2B5EF4-FFF2-40B4-BE49-F238E27FC236}">
                  <a16:creationId xmlns:a16="http://schemas.microsoft.com/office/drawing/2014/main" id="{D44A5219-46D3-9D49-A8CC-36711F2BF6DB}"/>
                </a:ext>
              </a:extLst>
            </p:cNvPr>
            <p:cNvSpPr/>
            <p:nvPr/>
          </p:nvSpPr>
          <p:spPr>
            <a:xfrm>
              <a:off x="840154"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sz="1800"/>
            </a:p>
          </p:txBody>
        </p:sp>
        <p:sp>
          <p:nvSpPr>
            <p:cNvPr id="25" name="Freeform 24">
              <a:extLst>
                <a:ext uri="{FF2B5EF4-FFF2-40B4-BE49-F238E27FC236}">
                  <a16:creationId xmlns:a16="http://schemas.microsoft.com/office/drawing/2014/main" id="{24628D6A-430F-AD46-B90A-8331A948822D}"/>
                </a:ext>
              </a:extLst>
            </p:cNvPr>
            <p:cNvSpPr/>
            <p:nvPr/>
          </p:nvSpPr>
          <p:spPr>
            <a:xfrm>
              <a:off x="590992"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6000"/>
              </a:srgbClr>
            </a:solidFill>
            <a:ln w="2052"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F0B47CCF-EFB3-B44B-9884-4494451C2D72}"/>
                </a:ext>
              </a:extLst>
            </p:cNvPr>
            <p:cNvSpPr/>
            <p:nvPr/>
          </p:nvSpPr>
          <p:spPr>
            <a:xfrm>
              <a:off x="341831"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sz="1800"/>
            </a:p>
          </p:txBody>
        </p:sp>
        <p:sp>
          <p:nvSpPr>
            <p:cNvPr id="27" name="Freeform 26">
              <a:extLst>
                <a:ext uri="{FF2B5EF4-FFF2-40B4-BE49-F238E27FC236}">
                  <a16:creationId xmlns:a16="http://schemas.microsoft.com/office/drawing/2014/main" id="{2A0D0CC0-B494-924D-8C7F-13E6CFA6A115}"/>
                </a:ext>
              </a:extLst>
            </p:cNvPr>
            <p:cNvSpPr/>
            <p:nvPr/>
          </p:nvSpPr>
          <p:spPr>
            <a:xfrm>
              <a:off x="92670"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sz="1800"/>
            </a:p>
          </p:txBody>
        </p:sp>
        <p:sp>
          <p:nvSpPr>
            <p:cNvPr id="28" name="Freeform 27">
              <a:extLst>
                <a:ext uri="{FF2B5EF4-FFF2-40B4-BE49-F238E27FC236}">
                  <a16:creationId xmlns:a16="http://schemas.microsoft.com/office/drawing/2014/main" id="{1A103DE1-86D1-CC40-BC8E-F37870113828}"/>
                </a:ext>
              </a:extLst>
            </p:cNvPr>
            <p:cNvSpPr/>
            <p:nvPr/>
          </p:nvSpPr>
          <p:spPr>
            <a:xfrm>
              <a:off x="341831"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F85B7FDA-2A3D-5148-882C-7F5FD28C86D6}"/>
                </a:ext>
              </a:extLst>
            </p:cNvPr>
            <p:cNvSpPr/>
            <p:nvPr/>
          </p:nvSpPr>
          <p:spPr>
            <a:xfrm>
              <a:off x="341831"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sz="1800"/>
            </a:p>
          </p:txBody>
        </p:sp>
        <p:sp>
          <p:nvSpPr>
            <p:cNvPr id="30" name="Freeform 29">
              <a:extLst>
                <a:ext uri="{FF2B5EF4-FFF2-40B4-BE49-F238E27FC236}">
                  <a16:creationId xmlns:a16="http://schemas.microsoft.com/office/drawing/2014/main" id="{D319DB66-4056-974A-B568-9BE51C46D6DB}"/>
                </a:ext>
              </a:extLst>
            </p:cNvPr>
            <p:cNvSpPr/>
            <p:nvPr/>
          </p:nvSpPr>
          <p:spPr>
            <a:xfrm>
              <a:off x="92670"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7D9D4266-26E2-A649-B58A-BBD393D3909A}"/>
                </a:ext>
              </a:extLst>
            </p:cNvPr>
            <p:cNvSpPr/>
            <p:nvPr/>
          </p:nvSpPr>
          <p:spPr>
            <a:xfrm>
              <a:off x="341831" y="414168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8000"/>
              </a:srgbClr>
            </a:solidFill>
            <a:ln w="2052" cap="flat">
              <a:noFill/>
              <a:prstDash val="solid"/>
              <a:miter/>
            </a:ln>
          </p:spPr>
          <p:txBody>
            <a:bodyPr rtlCol="0" anchor="ctr"/>
            <a:lstStyle/>
            <a:p>
              <a:endParaRPr lang="en-US" sz="1800"/>
            </a:p>
          </p:txBody>
        </p:sp>
        <p:sp>
          <p:nvSpPr>
            <p:cNvPr id="32" name="Freeform 31">
              <a:extLst>
                <a:ext uri="{FF2B5EF4-FFF2-40B4-BE49-F238E27FC236}">
                  <a16:creationId xmlns:a16="http://schemas.microsoft.com/office/drawing/2014/main" id="{25792925-8473-D74D-AD5F-C84AAB25EA9D}"/>
                </a:ext>
              </a:extLst>
            </p:cNvPr>
            <p:cNvSpPr/>
            <p:nvPr/>
          </p:nvSpPr>
          <p:spPr>
            <a:xfrm>
              <a:off x="341831" y="389252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sz="1800"/>
            </a:p>
          </p:txBody>
        </p:sp>
        <p:sp>
          <p:nvSpPr>
            <p:cNvPr id="33" name="Freeform 32">
              <a:extLst>
                <a:ext uri="{FF2B5EF4-FFF2-40B4-BE49-F238E27FC236}">
                  <a16:creationId xmlns:a16="http://schemas.microsoft.com/office/drawing/2014/main" id="{0FFE52ED-3497-1048-86AD-9D9A6F52BF03}"/>
                </a:ext>
              </a:extLst>
            </p:cNvPr>
            <p:cNvSpPr/>
            <p:nvPr/>
          </p:nvSpPr>
          <p:spPr>
            <a:xfrm>
              <a:off x="590992" y="4141684"/>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24000"/>
              </a:srgbClr>
            </a:solidFill>
            <a:ln w="2052" cap="flat">
              <a:noFill/>
              <a:prstDash val="solid"/>
              <a:miter/>
            </a:ln>
          </p:spPr>
          <p:txBody>
            <a:bodyPr rtlCol="0" anchor="ctr"/>
            <a:lstStyle/>
            <a:p>
              <a:endParaRPr lang="en-US" sz="1800"/>
            </a:p>
          </p:txBody>
        </p:sp>
        <p:sp>
          <p:nvSpPr>
            <p:cNvPr id="34" name="Freeform 33">
              <a:extLst>
                <a:ext uri="{FF2B5EF4-FFF2-40B4-BE49-F238E27FC236}">
                  <a16:creationId xmlns:a16="http://schemas.microsoft.com/office/drawing/2014/main" id="{9AE3BE6B-1DF9-664B-8C6A-831ED119861F}"/>
                </a:ext>
              </a:extLst>
            </p:cNvPr>
            <p:cNvSpPr/>
            <p:nvPr/>
          </p:nvSpPr>
          <p:spPr>
            <a:xfrm>
              <a:off x="827337" y="4876356"/>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25000"/>
              </a:srgbClr>
            </a:solidFill>
            <a:ln w="2052" cap="flat">
              <a:noFill/>
              <a:prstDash val="solid"/>
              <a:miter/>
            </a:ln>
          </p:spPr>
          <p:txBody>
            <a:bodyPr rtlCol="0" anchor="ctr"/>
            <a:lstStyle/>
            <a:p>
              <a:endParaRPr lang="en-US" sz="1800"/>
            </a:p>
          </p:txBody>
        </p:sp>
      </p:grpSp>
    </p:spTree>
    <p:custDataLst>
      <p:tags r:id="rId1"/>
    </p:custDataLst>
    <p:extLst>
      <p:ext uri="{BB962C8B-B14F-4D97-AF65-F5344CB8AC3E}">
        <p14:creationId xmlns:p14="http://schemas.microsoft.com/office/powerpoint/2010/main" val="109598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AS - Content with Ima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D6492C8-F2B6-994C-93E7-13EF75C493AC}"/>
              </a:ext>
            </a:extLst>
          </p:cNvPr>
          <p:cNvSpPr>
            <a:spLocks noGrp="1"/>
          </p:cNvSpPr>
          <p:nvPr>
            <p:ph type="body" sz="quarter" idx="11"/>
          </p:nvPr>
        </p:nvSpPr>
        <p:spPr>
          <a:xfrm>
            <a:off x="5394153" y="1751961"/>
            <a:ext cx="3357562" cy="1022310"/>
          </a:xfrm>
        </p:spPr>
        <p:txBody>
          <a:bodyPr/>
          <a:lstStyle>
            <a:lvl1pPr marL="0" indent="0">
              <a:buNone/>
              <a:defRPr/>
            </a:lvl1pPr>
            <a:lvl2pPr marL="182876" indent="0">
              <a:buNone/>
              <a:defRPr/>
            </a:lvl2pPr>
            <a:lvl3pPr marL="365751" indent="0">
              <a:buNone/>
              <a:defRPr/>
            </a:lvl3pPr>
            <a:lvl4pPr marL="1028675" indent="0">
              <a:buNone/>
              <a:defRPr/>
            </a:lvl4pPr>
            <a:lvl5pPr marL="1371566" indent="0">
              <a:buNone/>
              <a:defRPr/>
            </a:lvl5pPr>
          </a:lstStyle>
          <a:p>
            <a:pPr lvl="0"/>
            <a:r>
              <a:rPr lang="en-US"/>
              <a:t>Click to edit Master text styles</a:t>
            </a:r>
          </a:p>
        </p:txBody>
      </p:sp>
      <p:sp>
        <p:nvSpPr>
          <p:cNvPr id="17" name="Freeform 16">
            <a:extLst>
              <a:ext uri="{FF2B5EF4-FFF2-40B4-BE49-F238E27FC236}">
                <a16:creationId xmlns:a16="http://schemas.microsoft.com/office/drawing/2014/main" id="{B28BF588-A539-E84D-BAE7-8D1EE1761D7B}"/>
              </a:ext>
            </a:extLst>
          </p:cNvPr>
          <p:cNvSpPr/>
          <p:nvPr/>
        </p:nvSpPr>
        <p:spPr>
          <a:xfrm>
            <a:off x="3125189" y="-1"/>
            <a:ext cx="3004957" cy="5143500"/>
          </a:xfrm>
          <a:custGeom>
            <a:avLst/>
            <a:gdLst>
              <a:gd name="connsiteX0" fmla="*/ 2952243 w 3004957"/>
              <a:gd name="connsiteY0" fmla="*/ 0 h 5143500"/>
              <a:gd name="connsiteX1" fmla="*/ 3004957 w 3004957"/>
              <a:gd name="connsiteY1" fmla="*/ 0 h 5143500"/>
              <a:gd name="connsiteX2" fmla="*/ 52714 w 3004957"/>
              <a:gd name="connsiteY2" fmla="*/ 5143500 h 5143500"/>
              <a:gd name="connsiteX3" fmla="*/ 0 w 3004957"/>
              <a:gd name="connsiteY3" fmla="*/ 5143500 h 5143500"/>
              <a:gd name="connsiteX4" fmla="*/ 2952243 w 3004957"/>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4957" h="5143500">
                <a:moveTo>
                  <a:pt x="2952243" y="0"/>
                </a:moveTo>
                <a:lnTo>
                  <a:pt x="3004957" y="0"/>
                </a:lnTo>
                <a:lnTo>
                  <a:pt x="52714" y="5143500"/>
                </a:lnTo>
                <a:lnTo>
                  <a:pt x="0" y="5143500"/>
                </a:lnTo>
                <a:lnTo>
                  <a:pt x="2952243" y="0"/>
                </a:lnTo>
                <a:close/>
              </a:path>
            </a:pathLst>
          </a:custGeom>
          <a:gradFill flip="none" rotWithShape="1">
            <a:gsLst>
              <a:gs pos="30000">
                <a:srgbClr val="3D5AAE"/>
              </a:gs>
              <a:gs pos="100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 name="Picture 6">
            <a:extLst>
              <a:ext uri="{FF2B5EF4-FFF2-40B4-BE49-F238E27FC236}">
                <a16:creationId xmlns:a16="http://schemas.microsoft.com/office/drawing/2014/main" id="{2E8F94DC-1ACF-544C-BF1F-4C5126BC465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11893" y="4746757"/>
            <a:ext cx="558779" cy="253991"/>
          </a:xfrm>
          <a:prstGeom prst="rect">
            <a:avLst/>
          </a:prstGeom>
        </p:spPr>
      </p:pic>
      <p:sp>
        <p:nvSpPr>
          <p:cNvPr id="6" name="TextBox 4">
            <a:extLst>
              <a:ext uri="{FF2B5EF4-FFF2-40B4-BE49-F238E27FC236}">
                <a16:creationId xmlns:a16="http://schemas.microsoft.com/office/drawing/2014/main" id="{310B4187-0EBC-5A45-8561-21E3AF78A755}"/>
              </a:ext>
            </a:extLst>
          </p:cNvPr>
          <p:cNvSpPr txBox="1"/>
          <p:nvPr userDrawn="1"/>
        </p:nvSpPr>
        <p:spPr>
          <a:xfrm>
            <a:off x="3310128" y="4941553"/>
            <a:ext cx="2514600" cy="169277"/>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sp>
        <p:nvSpPr>
          <p:cNvPr id="3" name="Picture Placeholder 2">
            <a:extLst>
              <a:ext uri="{FF2B5EF4-FFF2-40B4-BE49-F238E27FC236}">
                <a16:creationId xmlns:a16="http://schemas.microsoft.com/office/drawing/2014/main" id="{9290C0E4-ECBA-5946-9BAC-DC37C672894D}"/>
              </a:ext>
            </a:extLst>
          </p:cNvPr>
          <p:cNvSpPr>
            <a:spLocks noGrp="1"/>
          </p:cNvSpPr>
          <p:nvPr>
            <p:ph type="pic" sz="quarter" idx="12"/>
          </p:nvPr>
        </p:nvSpPr>
        <p:spPr>
          <a:xfrm>
            <a:off x="-7057" y="0"/>
            <a:ext cx="6081885" cy="5143500"/>
          </a:xfrm>
          <a:custGeom>
            <a:avLst/>
            <a:gdLst>
              <a:gd name="connsiteX0" fmla="*/ 0 w 3125788"/>
              <a:gd name="connsiteY0" fmla="*/ 5143500 h 5143500"/>
              <a:gd name="connsiteX1" fmla="*/ 781447 w 3125788"/>
              <a:gd name="connsiteY1" fmla="*/ 0 h 5143500"/>
              <a:gd name="connsiteX2" fmla="*/ 2344341 w 3125788"/>
              <a:gd name="connsiteY2" fmla="*/ 0 h 5143500"/>
              <a:gd name="connsiteX3" fmla="*/ 3125788 w 3125788"/>
              <a:gd name="connsiteY3" fmla="*/ 5143500 h 5143500"/>
              <a:gd name="connsiteX4" fmla="*/ 0 w 3125788"/>
              <a:gd name="connsiteY4" fmla="*/ 5143500 h 5143500"/>
              <a:gd name="connsiteX0" fmla="*/ 0 w 6074828"/>
              <a:gd name="connsiteY0" fmla="*/ 5143500 h 5143500"/>
              <a:gd name="connsiteX1" fmla="*/ 781447 w 6074828"/>
              <a:gd name="connsiteY1" fmla="*/ 0 h 5143500"/>
              <a:gd name="connsiteX2" fmla="*/ 6074828 w 6074828"/>
              <a:gd name="connsiteY2" fmla="*/ 0 h 5143500"/>
              <a:gd name="connsiteX3" fmla="*/ 3125788 w 6074828"/>
              <a:gd name="connsiteY3" fmla="*/ 5143500 h 5143500"/>
              <a:gd name="connsiteX4" fmla="*/ 0 w 6074828"/>
              <a:gd name="connsiteY4" fmla="*/ 5143500 h 5143500"/>
              <a:gd name="connsiteX0" fmla="*/ 7057 w 6081885"/>
              <a:gd name="connsiteY0" fmla="*/ 5143500 h 5143500"/>
              <a:gd name="connsiteX1" fmla="*/ 0 w 6081885"/>
              <a:gd name="connsiteY1" fmla="*/ 0 h 5143500"/>
              <a:gd name="connsiteX2" fmla="*/ 6081885 w 6081885"/>
              <a:gd name="connsiteY2" fmla="*/ 0 h 5143500"/>
              <a:gd name="connsiteX3" fmla="*/ 3132845 w 6081885"/>
              <a:gd name="connsiteY3" fmla="*/ 5143500 h 5143500"/>
              <a:gd name="connsiteX4" fmla="*/ 7057 w 6081885"/>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885" h="5143500">
                <a:moveTo>
                  <a:pt x="7057" y="5143500"/>
                </a:moveTo>
                <a:cubicBezTo>
                  <a:pt x="4705" y="3429000"/>
                  <a:pt x="2352" y="1714500"/>
                  <a:pt x="0" y="0"/>
                </a:cubicBezTo>
                <a:lnTo>
                  <a:pt x="6081885" y="0"/>
                </a:lnTo>
                <a:lnTo>
                  <a:pt x="3132845" y="5143500"/>
                </a:lnTo>
                <a:lnTo>
                  <a:pt x="7057" y="5143500"/>
                </a:lnTo>
                <a:close/>
              </a:path>
            </a:pathLst>
          </a:custGeom>
        </p:spPr>
        <p:txBody>
          <a:bodyPr/>
          <a:lstStyle/>
          <a:p>
            <a:r>
              <a:rPr lang="en-US"/>
              <a:t>Click icon to add picture</a:t>
            </a:r>
          </a:p>
        </p:txBody>
      </p:sp>
    </p:spTree>
    <p:custDataLst>
      <p:tags r:id="rId1"/>
    </p:custDataLst>
    <p:extLst>
      <p:ext uri="{BB962C8B-B14F-4D97-AF65-F5344CB8AC3E}">
        <p14:creationId xmlns:p14="http://schemas.microsoft.com/office/powerpoint/2010/main" val="4218487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SAS - Blue Backgroun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527382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SAS - Image Only - White">
    <p:bg>
      <p:bgPr>
        <a:solidFill>
          <a:schemeClr val="bg1"/>
        </a:soli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827EE352-7D2C-A441-A898-DDF88FC2D8F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411893" y="4758272"/>
            <a:ext cx="558779" cy="230961"/>
          </a:xfrm>
          <a:prstGeom prst="rect">
            <a:avLst/>
          </a:prstGeom>
        </p:spPr>
      </p:pic>
      <p:sp>
        <p:nvSpPr>
          <p:cNvPr id="4" name="TextBox 4">
            <a:extLst>
              <a:ext uri="{FF2B5EF4-FFF2-40B4-BE49-F238E27FC236}">
                <a16:creationId xmlns:a16="http://schemas.microsoft.com/office/drawing/2014/main" id="{FC61EEC8-0C67-4E4B-96F0-B7FBDEF4618C}"/>
              </a:ext>
            </a:extLst>
          </p:cNvPr>
          <p:cNvSpPr txBox="1"/>
          <p:nvPr/>
        </p:nvSpPr>
        <p:spPr>
          <a:xfrm>
            <a:off x="3310128" y="4941553"/>
            <a:ext cx="2514600" cy="169277"/>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solidFill>
                <a:effectLst/>
                <a:uLnTx/>
                <a:uFillTx/>
                <a:latin typeface="+mn-lt"/>
                <a:ea typeface="Calibri" charset="0"/>
                <a:cs typeface="Arial" panose="020B0604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1519513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AS - Black Background">
    <p:bg>
      <p:bgPr>
        <a:solidFill>
          <a:srgbClr val="0000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51AFB0-E8BA-6E40-9F47-B58679E16989}"/>
              </a:ext>
            </a:extLst>
          </p:cNvPr>
          <p:cNvSpPr/>
          <p:nvPr/>
        </p:nvSpPr>
        <p:spPr>
          <a:xfrm>
            <a:off x="0" y="0"/>
            <a:ext cx="9144000"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4" name="Group 3">
            <a:extLst>
              <a:ext uri="{FF2B5EF4-FFF2-40B4-BE49-F238E27FC236}">
                <a16:creationId xmlns:a16="http://schemas.microsoft.com/office/drawing/2014/main" id="{9CC8A4CC-C6DD-674E-9755-C2307DA101AD}"/>
              </a:ext>
            </a:extLst>
          </p:cNvPr>
          <p:cNvGrpSpPr/>
          <p:nvPr/>
        </p:nvGrpSpPr>
        <p:grpSpPr>
          <a:xfrm>
            <a:off x="8427835" y="4765185"/>
            <a:ext cx="526892" cy="220528"/>
            <a:chOff x="6145213" y="4384676"/>
            <a:chExt cx="1582738" cy="649287"/>
          </a:xfrm>
          <a:solidFill>
            <a:schemeClr val="bg2">
              <a:lumMod val="50000"/>
            </a:schemeClr>
          </a:solidFill>
        </p:grpSpPr>
        <p:sp>
          <p:nvSpPr>
            <p:cNvPr id="5" name="Freeform 6">
              <a:extLst>
                <a:ext uri="{FF2B5EF4-FFF2-40B4-BE49-F238E27FC236}">
                  <a16:creationId xmlns:a16="http://schemas.microsoft.com/office/drawing/2014/main" id="{FC0936E0-05D4-D944-94E4-FBA36E861837}"/>
                </a:ext>
              </a:extLst>
            </p:cNvPr>
            <p:cNvSpPr>
              <a:spLocks/>
            </p:cNvSpPr>
            <p:nvPr/>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6" name="Freeform 5">
              <a:extLst>
                <a:ext uri="{FF2B5EF4-FFF2-40B4-BE49-F238E27FC236}">
                  <a16:creationId xmlns:a16="http://schemas.microsoft.com/office/drawing/2014/main" id="{E5ACFC61-8225-8F4F-A539-DCE60FEB039A}"/>
                </a:ext>
              </a:extLst>
            </p:cNvPr>
            <p:cNvSpPr>
              <a:spLocks noEditPoints="1"/>
            </p:cNvSpPr>
            <p:nvPr/>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7" name="Freeform 6">
              <a:extLst>
                <a:ext uri="{FF2B5EF4-FFF2-40B4-BE49-F238E27FC236}">
                  <a16:creationId xmlns:a16="http://schemas.microsoft.com/office/drawing/2014/main" id="{AB029620-52DD-C540-9F66-FD8586A661D7}"/>
                </a:ext>
              </a:extLst>
            </p:cNvPr>
            <p:cNvSpPr>
              <a:spLocks/>
            </p:cNvSpPr>
            <p:nvPr/>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 name="Freeform 7">
              <a:extLst>
                <a:ext uri="{FF2B5EF4-FFF2-40B4-BE49-F238E27FC236}">
                  <a16:creationId xmlns:a16="http://schemas.microsoft.com/office/drawing/2014/main" id="{5F2C8F16-8DA0-6A49-A6A6-F8C208B72416}"/>
                </a:ext>
              </a:extLst>
            </p:cNvPr>
            <p:cNvSpPr>
              <a:spLocks/>
            </p:cNvSpPr>
            <p:nvPr/>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9" name="Freeform 8">
              <a:extLst>
                <a:ext uri="{FF2B5EF4-FFF2-40B4-BE49-F238E27FC236}">
                  <a16:creationId xmlns:a16="http://schemas.microsoft.com/office/drawing/2014/main" id="{3F51FBB3-DAAD-0546-AF4C-840293C90D95}"/>
                </a:ext>
              </a:extLst>
            </p:cNvPr>
            <p:cNvSpPr>
              <a:spLocks/>
            </p:cNvSpPr>
            <p:nvPr/>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0" name="Freeform 9">
              <a:extLst>
                <a:ext uri="{FF2B5EF4-FFF2-40B4-BE49-F238E27FC236}">
                  <a16:creationId xmlns:a16="http://schemas.microsoft.com/office/drawing/2014/main" id="{ED4644BB-791F-6241-8C89-AFA3C1325C38}"/>
                </a:ext>
              </a:extLst>
            </p:cNvPr>
            <p:cNvSpPr>
              <a:spLocks noEditPoints="1"/>
            </p:cNvSpPr>
            <p:nvPr/>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11" name="Freeform 10">
              <a:extLst>
                <a:ext uri="{FF2B5EF4-FFF2-40B4-BE49-F238E27FC236}">
                  <a16:creationId xmlns:a16="http://schemas.microsoft.com/office/drawing/2014/main" id="{2DAE9313-7E29-324E-B411-25184A85F9E3}"/>
                </a:ext>
              </a:extLst>
            </p:cNvPr>
            <p:cNvSpPr>
              <a:spLocks noEditPoints="1"/>
            </p:cNvSpPr>
            <p:nvPr/>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
        <p:nvSpPr>
          <p:cNvPr id="12" name="TextBox 3">
            <a:extLst>
              <a:ext uri="{FF2B5EF4-FFF2-40B4-BE49-F238E27FC236}">
                <a16:creationId xmlns:a16="http://schemas.microsoft.com/office/drawing/2014/main" id="{ACAC6727-2088-4147-A38A-47850B89BAF6}"/>
              </a:ext>
            </a:extLst>
          </p:cNvPr>
          <p:cNvSpPr txBox="1">
            <a:spLocks noChangeAspect="1"/>
          </p:cNvSpPr>
          <p:nvPr/>
        </p:nvSpPr>
        <p:spPr>
          <a:xfrm>
            <a:off x="3310128" y="4864609"/>
            <a:ext cx="2514600" cy="246221"/>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lumMod val="50000"/>
                  </a:schemeClr>
                </a:solidFill>
                <a:effectLst/>
                <a:uLnTx/>
                <a:uFillTx/>
                <a:latin typeface="+mn-lt"/>
                <a:ea typeface="Calibri" charset="0"/>
                <a:cs typeface="Arial" panose="020B0604020202020204" pitchFamily="34" charset="0"/>
              </a:rPr>
              <a:t>Company Confidential – For Internal Use Only</a:t>
            </a:r>
          </a:p>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lumMod val="50000"/>
                  </a:schemeClr>
                </a:solidFill>
                <a:effectLst/>
                <a:uLnTx/>
                <a:uFillTx/>
                <a:latin typeface="+mn-lt"/>
                <a:ea typeface="Calibri" charset="0"/>
                <a:cs typeface="Arial" panose="020B0604020202020204" pitchFamily="34" charset="0"/>
              </a:rPr>
              <a:t>Copyright © SAS Institute Inc. All rights reserved.</a:t>
            </a:r>
          </a:p>
        </p:txBody>
      </p:sp>
    </p:spTree>
    <p:extLst>
      <p:ext uri="{BB962C8B-B14F-4D97-AF65-F5344CB8AC3E}">
        <p14:creationId xmlns:p14="http://schemas.microsoft.com/office/powerpoint/2010/main" val="3729091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losing SAS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1"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2228850" cy="51435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1376654" y="1793688"/>
            <a:ext cx="6390694" cy="1556124"/>
          </a:xfrm>
        </p:spPr>
        <p:txBody>
          <a:bodyPr anchor="ctr">
            <a:normAutofit/>
          </a:bodyPr>
          <a:lstStyle>
            <a:lvl1pPr marL="0" indent="0" algn="ctr">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11" name="Rectangle 10">
            <a:extLst>
              <a:ext uri="{FF2B5EF4-FFF2-40B4-BE49-F238E27FC236}">
                <a16:creationId xmlns:a16="http://schemas.microsoft.com/office/drawing/2014/main" id="{60F2F4D0-EB0E-3842-9785-6EF69081820E}"/>
              </a:ext>
            </a:extLst>
          </p:cNvPr>
          <p:cNvSpPr/>
          <p:nvPr/>
        </p:nvSpPr>
        <p:spPr>
          <a:xfrm>
            <a:off x="1" y="0"/>
            <a:ext cx="2405925" cy="5148072"/>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Box 4">
            <a:extLst>
              <a:ext uri="{FF2B5EF4-FFF2-40B4-BE49-F238E27FC236}">
                <a16:creationId xmlns:a16="http://schemas.microsoft.com/office/drawing/2014/main" id="{64A8B58C-CD7F-6F4B-B6E8-178EEF4B15DC}"/>
              </a:ext>
            </a:extLst>
          </p:cNvPr>
          <p:cNvSpPr txBox="1"/>
          <p:nvPr/>
        </p:nvSpPr>
        <p:spPr>
          <a:xfrm>
            <a:off x="3310128" y="4941553"/>
            <a:ext cx="2514600" cy="169277"/>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636" y="4475284"/>
            <a:ext cx="1112368" cy="618852"/>
          </a:xfrm>
          <a:prstGeom prst="rect">
            <a:avLst/>
          </a:prstGeom>
        </p:spPr>
      </p:pic>
      <p:sp>
        <p:nvSpPr>
          <p:cNvPr id="2" name="TextBox 1">
            <a:extLst>
              <a:ext uri="{FF2B5EF4-FFF2-40B4-BE49-F238E27FC236}">
                <a16:creationId xmlns:a16="http://schemas.microsoft.com/office/drawing/2014/main" id="{503DB4AB-A9DE-4660-939A-CBDF75AC178E}"/>
              </a:ext>
            </a:extLst>
          </p:cNvPr>
          <p:cNvSpPr txBox="1"/>
          <p:nvPr/>
        </p:nvSpPr>
        <p:spPr>
          <a:xfrm>
            <a:off x="4078011" y="4138459"/>
            <a:ext cx="1009315" cy="400110"/>
          </a:xfrm>
          <a:prstGeom prst="rect">
            <a:avLst/>
          </a:prstGeom>
          <a:noFill/>
        </p:spPr>
        <p:txBody>
          <a:bodyPr wrap="none" rtlCol="0">
            <a:spAutoFit/>
          </a:bodyPr>
          <a:lstStyle/>
          <a:p>
            <a:pPr algn="ctr"/>
            <a:r>
              <a:rPr lang="en-US" sz="2000">
                <a:solidFill>
                  <a:schemeClr val="bg1"/>
                </a:solidFill>
                <a:latin typeface="+mj-lt"/>
              </a:rPr>
              <a:t>sas.com</a:t>
            </a:r>
          </a:p>
        </p:txBody>
      </p:sp>
    </p:spTree>
    <p:custDataLst>
      <p:tags r:id="rId1"/>
    </p:custDataLst>
    <p:extLst>
      <p:ext uri="{BB962C8B-B14F-4D97-AF65-F5344CB8AC3E}">
        <p14:creationId xmlns:p14="http://schemas.microsoft.com/office/powerpoint/2010/main" val="276094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5920D-8A7A-4F77-92E1-C5E60E7442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992E8A1-FF7B-4590-9D56-786ED4E2233A}"/>
              </a:ext>
            </a:extLst>
          </p:cNvPr>
          <p:cNvSpPr>
            <a:spLocks noGrp="1"/>
          </p:cNvSpPr>
          <p:nvPr>
            <p:ph idx="1"/>
          </p:nvPr>
        </p:nvSpPr>
        <p:spPr>
          <a:xfrm>
            <a:off x="514350" y="1082041"/>
            <a:ext cx="7772400" cy="327088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CE7A074B-2442-495B-9D15-3B3541BC774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24ACEE2-67BD-44C9-BA21-1DA27BA44C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E263FE4-3B92-43AB-B8E7-91FD8928F708}"/>
              </a:ext>
            </a:extLst>
          </p:cNvPr>
          <p:cNvSpPr>
            <a:spLocks noGrp="1"/>
          </p:cNvSpPr>
          <p:nvPr>
            <p:ph type="sldNum" sz="quarter" idx="12"/>
          </p:nvPr>
        </p:nvSpPr>
        <p:spPr/>
        <p:txBody>
          <a:bodyPr/>
          <a:lstStyle/>
          <a:p>
            <a:fld id="{8A666EC2-A711-42B3-9D90-3F392CA9556B}" type="slidenum">
              <a:rPr lang="en-US" smtClean="0"/>
              <a:t>‹N°›</a:t>
            </a:fld>
            <a:endParaRPr lang="en-US"/>
          </a:p>
        </p:txBody>
      </p:sp>
    </p:spTree>
    <p:extLst>
      <p:ext uri="{BB962C8B-B14F-4D97-AF65-F5344CB8AC3E}">
        <p14:creationId xmlns:p14="http://schemas.microsoft.com/office/powerpoint/2010/main" val="108497899"/>
      </p:ext>
    </p:extLst>
  </p:cSld>
  <p:clrMapOvr>
    <a:masterClrMapping/>
  </p:clrMapOvr>
  <p:extLst>
    <p:ext uri="{DCECCB84-F9BA-43D5-87BE-67443E8EF086}">
      <p15:sldGuideLst xmlns:p15="http://schemas.microsoft.com/office/powerpoint/2012/main">
        <p15:guide id="1" orient="horz" pos="280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and 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baseline="0">
                <a:solidFill>
                  <a:schemeClr val="tx2"/>
                </a:solidFill>
              </a:defRPr>
            </a:lvl1pPr>
          </a:lstStyle>
          <a:p>
            <a:r>
              <a:rPr lang="en-US"/>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a:t>Click to edit subtitle</a:t>
            </a:r>
          </a:p>
        </p:txBody>
      </p:sp>
      <p:sp>
        <p:nvSpPr>
          <p:cNvPr id="4" name="Slide Number Placeholder 3"/>
          <p:cNvSpPr>
            <a:spLocks noGrp="1"/>
          </p:cNvSpPr>
          <p:nvPr>
            <p:ph type="sldNum" sz="quarter" idx="13"/>
          </p:nvPr>
        </p:nvSpPr>
        <p:spPr/>
        <p:txBody>
          <a:bodyPr/>
          <a:lstStyle/>
          <a:p>
            <a:fld id="{4976208B-6111-490B-8CEC-FFB249DB2100}" type="slidenum">
              <a:rPr lang="en-US" smtClean="0"/>
              <a:pPr/>
              <a:t>‹N°›</a:t>
            </a:fld>
            <a:endParaRPr lang="en-US"/>
          </a:p>
        </p:txBody>
      </p:sp>
      <p:pic>
        <p:nvPicPr>
          <p:cNvPr id="6" name="Picture 5">
            <a:extLst>
              <a:ext uri="{FF2B5EF4-FFF2-40B4-BE49-F238E27FC236}">
                <a16:creationId xmlns:a16="http://schemas.microsoft.com/office/drawing/2014/main" id="{AFDA5B03-2E98-449E-8E3E-E42812C39A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75835" y="4657726"/>
            <a:ext cx="975122" cy="400050"/>
          </a:xfrm>
          <a:prstGeom prst="rect">
            <a:avLst/>
          </a:prstGeom>
        </p:spPr>
      </p:pic>
      <p:pic>
        <p:nvPicPr>
          <p:cNvPr id="7" name="Graphic 6">
            <a:extLst>
              <a:ext uri="{FF2B5EF4-FFF2-40B4-BE49-F238E27FC236}">
                <a16:creationId xmlns:a16="http://schemas.microsoft.com/office/drawing/2014/main" id="{1903FE1E-FAF1-491B-97A1-E33F3DE5370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1002" y="4657726"/>
            <a:ext cx="1240156" cy="400050"/>
          </a:xfrm>
          <a:prstGeom prst="rect">
            <a:avLst/>
          </a:prstGeom>
        </p:spPr>
      </p:pic>
    </p:spTree>
    <p:extLst>
      <p:ext uri="{BB962C8B-B14F-4D97-AF65-F5344CB8AC3E}">
        <p14:creationId xmlns:p14="http://schemas.microsoft.com/office/powerpoint/2010/main" val="2645511783"/>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baseline="0">
                <a:solidFill>
                  <a:schemeClr val="tx2"/>
                </a:solidFill>
              </a:defRPr>
            </a:lvl1pPr>
          </a:lstStyle>
          <a:p>
            <a:r>
              <a:rPr lang="en-US"/>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a:t>Click to edit subtitle</a:t>
            </a:r>
          </a:p>
        </p:txBody>
      </p:sp>
      <p:sp>
        <p:nvSpPr>
          <p:cNvPr id="4" name="Slide Number Placeholder 3"/>
          <p:cNvSpPr>
            <a:spLocks noGrp="1"/>
          </p:cNvSpPr>
          <p:nvPr>
            <p:ph type="sldNum" sz="quarter" idx="13"/>
          </p:nvPr>
        </p:nvSpPr>
        <p:spPr/>
        <p:txBody>
          <a:bodyPr/>
          <a:lstStyle/>
          <a:p>
            <a:pPr defTabSz="457189">
              <a:defRPr/>
            </a:pPr>
            <a:fld id="{4976208B-6111-490B-8CEC-FFB249DB2100}" type="slidenum">
              <a:rPr lang="en-US" smtClean="0">
                <a:solidFill>
                  <a:srgbClr val="012036"/>
                </a:solidFill>
              </a:rPr>
              <a:pPr defTabSz="457189">
                <a:defRPr/>
              </a:pPr>
              <a:t>‹N°›</a:t>
            </a:fld>
            <a:endParaRPr lang="en-US">
              <a:solidFill>
                <a:srgbClr val="012036"/>
              </a:solidFill>
            </a:endParaRPr>
          </a:p>
        </p:txBody>
      </p:sp>
    </p:spTree>
    <p:extLst>
      <p:ext uri="{BB962C8B-B14F-4D97-AF65-F5344CB8AC3E}">
        <p14:creationId xmlns:p14="http://schemas.microsoft.com/office/powerpoint/2010/main" val="16708390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AS - Title &amp; Subtitle -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fr-FR"/>
              <a:t>Modifiez le style du titre</a:t>
            </a:r>
            <a:endParaRPr lang="en-US"/>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fr-FR"/>
              <a:t>Cliquez pour modifier les styles du texte du masque</a:t>
            </a:r>
          </a:p>
        </p:txBody>
      </p:sp>
    </p:spTree>
    <p:custDataLst>
      <p:tags r:id="rId1"/>
    </p:custDataLst>
    <p:extLst>
      <p:ext uri="{BB962C8B-B14F-4D97-AF65-F5344CB8AC3E}">
        <p14:creationId xmlns:p14="http://schemas.microsoft.com/office/powerpoint/2010/main" val="1002907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Analyst-Repor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BE950F7-21F2-2642-B96F-CC55F26E0F03}"/>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3" name="Rectangle 2">
            <a:extLst>
              <a:ext uri="{FF2B5EF4-FFF2-40B4-BE49-F238E27FC236}">
                <a16:creationId xmlns:a16="http://schemas.microsoft.com/office/drawing/2014/main" id="{9F473F5A-EADA-DC47-A5B0-28F86BD859C5}"/>
              </a:ext>
            </a:extLst>
          </p:cNvPr>
          <p:cNvSpPr/>
          <p:nvPr userDrawn="1"/>
        </p:nvSpPr>
        <p:spPr>
          <a:xfrm>
            <a:off x="0" y="0"/>
            <a:ext cx="9144000" cy="5143500"/>
          </a:xfrm>
          <a:prstGeom prst="rect">
            <a:avLst/>
          </a:prstGeom>
          <a:solidFill>
            <a:schemeClr val="tx2">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BD01A33F-43E6-4942-8214-36A963117886}"/>
              </a:ext>
            </a:extLst>
          </p:cNvPr>
          <p:cNvSpPr/>
          <p:nvPr userDrawn="1"/>
        </p:nvSpPr>
        <p:spPr>
          <a:xfrm>
            <a:off x="0" y="0"/>
            <a:ext cx="9144000" cy="5143500"/>
          </a:xfrm>
          <a:prstGeom prst="rect">
            <a:avLst/>
          </a:prstGeom>
          <a:gradFill flip="none" rotWithShape="1">
            <a:gsLst>
              <a:gs pos="0">
                <a:schemeClr val="tx2">
                  <a:alpha val="57000"/>
                </a:schemeClr>
              </a:gs>
              <a:gs pos="100000">
                <a:schemeClr val="tx2"/>
              </a:gs>
              <a:gs pos="33000">
                <a:schemeClr val="tx2">
                  <a:alpha val="72000"/>
                </a:schemeClr>
              </a:gs>
              <a:gs pos="75000">
                <a:schemeClr val="tx2">
                  <a:alpha val="49000"/>
                </a:schemeClr>
              </a:gs>
              <a:gs pos="52000">
                <a:schemeClr val="accent1">
                  <a:alpha val="58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6" name="Straight Connector 5">
            <a:extLst>
              <a:ext uri="{FF2B5EF4-FFF2-40B4-BE49-F238E27FC236}">
                <a16:creationId xmlns:a16="http://schemas.microsoft.com/office/drawing/2014/main" id="{C768514B-9542-274C-9922-A454B431017D}"/>
              </a:ext>
            </a:extLst>
          </p:cNvPr>
          <p:cNvCxnSpPr>
            <a:cxnSpLocks/>
          </p:cNvCxnSpPr>
          <p:nvPr userDrawn="1"/>
        </p:nvCxnSpPr>
        <p:spPr>
          <a:xfrm>
            <a:off x="2163336" y="1134446"/>
            <a:ext cx="4817328" cy="0"/>
          </a:xfrm>
          <a:prstGeom prst="line">
            <a:avLst/>
          </a:prstGeom>
          <a:ln w="31750">
            <a:gradFill flip="none" rotWithShape="1">
              <a:gsLst>
                <a:gs pos="100000">
                  <a:schemeClr val="accent1">
                    <a:alpha val="0"/>
                  </a:schemeClr>
                </a:gs>
                <a:gs pos="50000">
                  <a:srgbClr val="33A3FF"/>
                </a:gs>
                <a:gs pos="0">
                  <a:schemeClr val="accent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8F45E29-4BCB-1145-806C-DC901D5752D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411893" y="4746757"/>
            <a:ext cx="558779" cy="253991"/>
          </a:xfrm>
          <a:prstGeom prst="rect">
            <a:avLst/>
          </a:prstGeom>
        </p:spPr>
      </p:pic>
      <p:sp>
        <p:nvSpPr>
          <p:cNvPr id="8" name="TextBox 4">
            <a:extLst>
              <a:ext uri="{FF2B5EF4-FFF2-40B4-BE49-F238E27FC236}">
                <a16:creationId xmlns:a16="http://schemas.microsoft.com/office/drawing/2014/main" id="{C38C837A-B8EA-F645-BF77-2B77E29B81E2}"/>
              </a:ext>
            </a:extLst>
          </p:cNvPr>
          <p:cNvSpPr txBox="1"/>
          <p:nvPr userDrawn="1"/>
        </p:nvSpPr>
        <p:spPr>
          <a:xfrm>
            <a:off x="3310128" y="4941553"/>
            <a:ext cx="2514600" cy="169277"/>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rgbClr val="FFFFFF"/>
                </a:solidFill>
                <a:effectLst/>
                <a:uLnTx/>
                <a:uFillTx/>
                <a:latin typeface="Calibri" panose="020F0502020204030204"/>
                <a:ea typeface="Calibri" charset="0"/>
                <a:cs typeface="Arial" panose="020B0604020202020204" pitchFamily="34" charset="0"/>
              </a:rPr>
              <a:t>Copyright © SAS Institute Inc. All rights reserved.</a:t>
            </a:r>
          </a:p>
        </p:txBody>
      </p:sp>
      <p:sp>
        <p:nvSpPr>
          <p:cNvPr id="9" name="Title 1">
            <a:extLst>
              <a:ext uri="{FF2B5EF4-FFF2-40B4-BE49-F238E27FC236}">
                <a16:creationId xmlns:a16="http://schemas.microsoft.com/office/drawing/2014/main" id="{B12F75EA-968C-2841-B10C-8B599B8E37D5}"/>
              </a:ext>
            </a:extLst>
          </p:cNvPr>
          <p:cNvSpPr>
            <a:spLocks noGrp="1"/>
          </p:cNvSpPr>
          <p:nvPr>
            <p:ph type="title"/>
          </p:nvPr>
        </p:nvSpPr>
        <p:spPr>
          <a:xfrm>
            <a:off x="628650" y="273844"/>
            <a:ext cx="7886700" cy="457200"/>
          </a:xfrm>
        </p:spPr>
        <p:txBody>
          <a:bodyPr/>
          <a:lstStyle>
            <a:lvl1pPr algn="ctr">
              <a:defRPr/>
            </a:lvl1pPr>
          </a:lstStyle>
          <a:p>
            <a:r>
              <a:rPr lang="en-US"/>
              <a:t>Click to edit Master title style</a:t>
            </a:r>
          </a:p>
        </p:txBody>
      </p:sp>
      <p:sp>
        <p:nvSpPr>
          <p:cNvPr id="10" name="Text Placeholder 4">
            <a:extLst>
              <a:ext uri="{FF2B5EF4-FFF2-40B4-BE49-F238E27FC236}">
                <a16:creationId xmlns:a16="http://schemas.microsoft.com/office/drawing/2014/main" id="{8763A925-47A8-DC4C-93CF-91C7126ECC88}"/>
              </a:ext>
            </a:extLst>
          </p:cNvPr>
          <p:cNvSpPr>
            <a:spLocks noGrp="1"/>
          </p:cNvSpPr>
          <p:nvPr>
            <p:ph type="body" sz="quarter" idx="10"/>
          </p:nvPr>
        </p:nvSpPr>
        <p:spPr>
          <a:xfrm>
            <a:off x="628650" y="677246"/>
            <a:ext cx="7886700" cy="457200"/>
          </a:xfrm>
        </p:spPr>
        <p:txBody>
          <a:bodyPr anchor="t"/>
          <a:lstStyle>
            <a:lvl1pPr marL="0" indent="0" algn="ctr">
              <a:buNone/>
              <a:defRPr/>
            </a:lvl1pPr>
            <a:lvl2pPr marL="182876" indent="0">
              <a:buNone/>
              <a:defRPr/>
            </a:lvl2pPr>
            <a:lvl3pPr marL="365751" indent="0">
              <a:buNone/>
              <a:defRPr/>
            </a:lvl3pPr>
            <a:lvl4pPr marL="1028675" indent="0">
              <a:buNone/>
              <a:defRPr/>
            </a:lvl4pPr>
            <a:lvl5pPr marL="1371566"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2560591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SAS - Title &amp; Subtitle - Blue">
    <p:bg>
      <p:bgPr>
        <a:gradFill>
          <a:gsLst>
            <a:gs pos="0">
              <a:srgbClr val="00517E"/>
            </a:gs>
            <a:gs pos="100000">
              <a:srgbClr val="04304B"/>
            </a:gs>
          </a:gsLst>
          <a:path path="circle">
            <a:fillToRect l="50000" t="50000" r="50000" b="50000"/>
          </a:path>
        </a:gradFill>
        <a:effectLst/>
      </p:bgPr>
    </p:bg>
    <p:spTree>
      <p:nvGrpSpPr>
        <p:cNvPr id="1" name=""/>
        <p:cNvGrpSpPr/>
        <p:nvPr/>
      </p:nvGrpSpPr>
      <p:grpSpPr>
        <a:xfrm>
          <a:off x="0" y="0"/>
          <a:ext cx="0" cy="0"/>
          <a:chOff x="0" y="0"/>
          <a:chExt cx="0" cy="0"/>
        </a:xfrm>
      </p:grpSpPr>
      <p:sp>
        <p:nvSpPr>
          <p:cNvPr id="5" name="Slide Number Placeholder 3"/>
          <p:cNvSpPr>
            <a:spLocks noGrp="1"/>
          </p:cNvSpPr>
          <p:nvPr>
            <p:ph type="sldNum" sz="quarter" idx="11"/>
          </p:nvPr>
        </p:nvSpPr>
        <p:spPr/>
        <p:txBody>
          <a:bodyPr/>
          <a:lstStyle>
            <a:lvl1pPr>
              <a:defRPr>
                <a:solidFill>
                  <a:schemeClr val="bg1">
                    <a:lumMod val="85000"/>
                  </a:schemeClr>
                </a:solidFill>
              </a:defRPr>
            </a:lvl1pPr>
          </a:lstStyle>
          <a:p>
            <a:fld id="{4976208B-6111-490B-8CEC-FFB249DB2100}" type="slidenum">
              <a:rPr lang="en-US" smtClean="0"/>
              <a:pPr/>
              <a:t>‹N°›</a:t>
            </a:fld>
            <a:endParaRPr lang="en-US"/>
          </a:p>
        </p:txBody>
      </p:sp>
      <p:sp>
        <p:nvSpPr>
          <p:cNvPr id="10" name="TextBox 4"/>
          <p:cNvSpPr txBox="1"/>
          <p:nvPr/>
        </p:nvSpPr>
        <p:spPr>
          <a:xfrm>
            <a:off x="3310128" y="4972388"/>
            <a:ext cx="2514600" cy="150041"/>
          </a:xfrm>
          <a:prstGeom prst="rect">
            <a:avLst/>
          </a:prstGeom>
          <a:noFill/>
        </p:spPr>
        <p:txBody>
          <a:bodyPr wrap="square" anchor="b" anchorCtr="0">
            <a:spAutoFit/>
          </a:bodyPr>
          <a:lstStyle/>
          <a:p>
            <a:pPr marL="0" marR="0" lvl="0" indent="0" algn="ctr" defTabSz="205730" rtl="0" eaLnBrk="0" fontAlgn="auto" latinLnBrk="0" hangingPunct="0">
              <a:lnSpc>
                <a:spcPct val="100000"/>
              </a:lnSpc>
              <a:spcBef>
                <a:spcPts val="0"/>
              </a:spcBef>
              <a:spcAft>
                <a:spcPts val="0"/>
              </a:spcAft>
              <a:buClrTx/>
              <a:buSzTx/>
              <a:buFontTx/>
              <a:buNone/>
              <a:tabLst/>
              <a:defRPr/>
            </a:pPr>
            <a:r>
              <a:rPr kumimoji="0" lang="en-US" sz="375" b="0" i="0" u="none" strike="noStrike" kern="300" cap="none" spc="38" normalizeH="0" baseline="0" noProof="0">
                <a:ln>
                  <a:noFill/>
                </a:ln>
                <a:solidFill>
                  <a:srgbClr val="08649C"/>
                </a:solidFill>
                <a:effectLst/>
                <a:uLnTx/>
                <a:uFillTx/>
                <a:latin typeface="+mn-lt"/>
                <a:ea typeface="Calibri" charset="0"/>
                <a:cs typeface="Arial" panose="020B0604020202020204" pitchFamily="34" charset="0"/>
              </a:rPr>
              <a:t>Copyright © SAS Institute Inc. All rights reserved.</a:t>
            </a:r>
          </a:p>
        </p:txBody>
      </p:sp>
      <p:grpSp>
        <p:nvGrpSpPr>
          <p:cNvPr id="6" name="Group 5"/>
          <p:cNvGrpSpPr/>
          <p:nvPr userDrawn="1"/>
        </p:nvGrpSpPr>
        <p:grpSpPr>
          <a:xfrm>
            <a:off x="8428366" y="4865121"/>
            <a:ext cx="526892" cy="165396"/>
            <a:chOff x="6145213" y="4384676"/>
            <a:chExt cx="1582738" cy="649287"/>
          </a:xfrm>
          <a:solidFill>
            <a:schemeClr val="bg1"/>
          </a:solidFill>
        </p:grpSpPr>
        <p:sp>
          <p:nvSpPr>
            <p:cNvPr id="7" name="Freeform 6"/>
            <p:cNvSpPr>
              <a:spLocks/>
            </p:cNvSpPr>
            <p:nvPr userDrawn="1"/>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9" name="Freeform 7"/>
            <p:cNvSpPr>
              <a:spLocks noEditPoints="1"/>
            </p:cNvSpPr>
            <p:nvPr userDrawn="1"/>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11" name="Freeform 8"/>
            <p:cNvSpPr>
              <a:spLocks/>
            </p:cNvSpPr>
            <p:nvPr userDrawn="1"/>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12" name="Freeform 9"/>
            <p:cNvSpPr>
              <a:spLocks/>
            </p:cNvSpPr>
            <p:nvPr userDrawn="1"/>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13" name="Freeform 10"/>
            <p:cNvSpPr>
              <a:spLocks/>
            </p:cNvSpPr>
            <p:nvPr userDrawn="1"/>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14" name="Freeform 11"/>
            <p:cNvSpPr>
              <a:spLocks noEditPoints="1"/>
            </p:cNvSpPr>
            <p:nvPr userDrawn="1"/>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15" name="Freeform 12"/>
            <p:cNvSpPr>
              <a:spLocks noEditPoints="1"/>
            </p:cNvSpPr>
            <p:nvPr userDrawn="1"/>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grpSp>
      <p:sp>
        <p:nvSpPr>
          <p:cNvPr id="16" name="Title 1"/>
          <p:cNvSpPr>
            <a:spLocks noGrp="1"/>
          </p:cNvSpPr>
          <p:nvPr>
            <p:ph type="title" hasCustomPrompt="1"/>
          </p:nvPr>
        </p:nvSpPr>
        <p:spPr>
          <a:xfrm>
            <a:off x="778764" y="388620"/>
            <a:ext cx="7891272" cy="342900"/>
          </a:xfrm>
        </p:spPr>
        <p:txBody>
          <a:bodyPr anchor="ctr" anchorCtr="0">
            <a:noAutofit/>
          </a:bodyPr>
          <a:lstStyle>
            <a:lvl1pPr algn="ctr">
              <a:defRPr>
                <a:solidFill>
                  <a:schemeClr val="bg1"/>
                </a:solidFill>
              </a:defRPr>
            </a:lvl1pPr>
          </a:lstStyle>
          <a:p>
            <a:r>
              <a:rPr lang="en-US"/>
              <a:t>Click to Edit Title</a:t>
            </a:r>
          </a:p>
        </p:txBody>
      </p:sp>
      <p:sp>
        <p:nvSpPr>
          <p:cNvPr id="17" name="Text Placeholder 2"/>
          <p:cNvSpPr>
            <a:spLocks noGrp="1"/>
          </p:cNvSpPr>
          <p:nvPr>
            <p:ph type="body" sz="quarter" idx="12" hasCustomPrompt="1"/>
          </p:nvPr>
        </p:nvSpPr>
        <p:spPr>
          <a:xfrm flipH="1">
            <a:off x="778764" y="731520"/>
            <a:ext cx="7891272" cy="240030"/>
          </a:xfrm>
        </p:spPr>
        <p:txBody>
          <a:bodyPr wrap="square" anchor="ctr">
            <a:noAutofit/>
          </a:bodyPr>
          <a:lstStyle>
            <a:lvl1pPr marL="0" indent="0" algn="ctr">
              <a:lnSpc>
                <a:spcPct val="100000"/>
              </a:lnSpc>
              <a:spcBef>
                <a:spcPts val="0"/>
              </a:spcBef>
              <a:buFont typeface="Arial" pitchFamily="34" charset="0"/>
              <a:buNone/>
              <a:defRPr sz="1650" b="0" cap="none" baseline="0">
                <a:solidFill>
                  <a:schemeClr val="accent1">
                    <a:lumMod val="40000"/>
                    <a:lumOff val="60000"/>
                  </a:schemeClr>
                </a:solidFill>
                <a:latin typeface="+mj-lt"/>
              </a:defRPr>
            </a:lvl1pPr>
          </a:lstStyle>
          <a:p>
            <a:pPr lvl="0"/>
            <a:r>
              <a:rPr lang="en-US"/>
              <a:t>Click to edit subtitle</a:t>
            </a:r>
          </a:p>
        </p:txBody>
      </p:sp>
    </p:spTree>
    <p:extLst>
      <p:ext uri="{BB962C8B-B14F-4D97-AF65-F5344CB8AC3E}">
        <p14:creationId xmlns:p14="http://schemas.microsoft.com/office/powerpoint/2010/main" val="155950710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Blue_dots">
    <p:bg>
      <p:bgPr>
        <a:gradFill>
          <a:gsLst>
            <a:gs pos="0">
              <a:srgbClr val="61BAE9"/>
            </a:gs>
            <a:gs pos="100000">
              <a:srgbClr val="006A9F"/>
            </a:gs>
          </a:gsLst>
          <a:path path="circle">
            <a:fillToRect l="50000" t="50000" r="50000" b="50000"/>
          </a:path>
        </a:gradFill>
        <a:effectLst/>
      </p:bgPr>
    </p:bg>
    <p:spTree>
      <p:nvGrpSpPr>
        <p:cNvPr id="1" name=""/>
        <p:cNvGrpSpPr/>
        <p:nvPr/>
      </p:nvGrpSpPr>
      <p:grpSpPr>
        <a:xfrm>
          <a:off x="0" y="0"/>
          <a:ext cx="0" cy="0"/>
          <a:chOff x="0" y="0"/>
          <a:chExt cx="0" cy="0"/>
        </a:xfrm>
      </p:grpSpPr>
      <p:sp>
        <p:nvSpPr>
          <p:cNvPr id="3" name="Rectangle 2"/>
          <p:cNvSpPr/>
          <p:nvPr userDrawn="1"/>
        </p:nvSpPr>
        <p:spPr>
          <a:xfrm>
            <a:off x="0" y="1"/>
            <a:ext cx="9144000" cy="5143499"/>
          </a:xfrm>
          <a:prstGeom prst="rect">
            <a:avLst/>
          </a:prstGeom>
          <a:solidFill>
            <a:srgbClr val="1F34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4BE"/>
              </a:solidFill>
              <a:effectLst/>
              <a:uLnTx/>
              <a:uFillTx/>
              <a:latin typeface="Calibri" panose="020F0502020204030204"/>
              <a:ea typeface="+mn-ea"/>
              <a:cs typeface="+mn-cs"/>
            </a:endParaRPr>
          </a:p>
        </p:txBody>
      </p:sp>
      <p:pic>
        <p:nvPicPr>
          <p:cNvPr id="4" name="Picture 6">
            <a:extLst>
              <a:ext uri="{FF2B5EF4-FFF2-40B4-BE49-F238E27FC236}">
                <a16:creationId xmlns:a16="http://schemas.microsoft.com/office/drawing/2014/main" id="{3674B8A7-CF90-4430-B184-516F8D5E0D0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11893" y="4746757"/>
            <a:ext cx="558779" cy="253991"/>
          </a:xfrm>
          <a:prstGeom prst="rect">
            <a:avLst/>
          </a:prstGeom>
        </p:spPr>
      </p:pic>
      <p:sp>
        <p:nvSpPr>
          <p:cNvPr id="5" name="TextBox 3">
            <a:extLst>
              <a:ext uri="{FF2B5EF4-FFF2-40B4-BE49-F238E27FC236}">
                <a16:creationId xmlns:a16="http://schemas.microsoft.com/office/drawing/2014/main" id="{5D40C3BD-F93B-485B-BB33-A3B617AF1D71}"/>
              </a:ext>
            </a:extLst>
          </p:cNvPr>
          <p:cNvSpPr txBox="1">
            <a:spLocks noChangeAspect="1"/>
          </p:cNvSpPr>
          <p:nvPr userDrawn="1"/>
        </p:nvSpPr>
        <p:spPr>
          <a:xfrm>
            <a:off x="3310128" y="4941553"/>
            <a:ext cx="2514600" cy="169277"/>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rgbClr val="08649C"/>
                </a:solidFill>
                <a:effectLst/>
                <a:uLnTx/>
                <a:uFillTx/>
                <a:latin typeface="Calibri" panose="020F0502020204030204"/>
                <a:ea typeface="Calibri" charset="0"/>
                <a:cs typeface="Arial" panose="020B0604020202020204" pitchFamily="34" charset="0"/>
              </a:rPr>
              <a:t>Copyright © SAS Institute Inc. All rights reserved.</a:t>
            </a:r>
          </a:p>
        </p:txBody>
      </p:sp>
      <p:pic>
        <p:nvPicPr>
          <p:cNvPr id="6" name="Picture 5" descr="A close up of a logo&#10;&#10;Description automatically generated">
            <a:extLst>
              <a:ext uri="{FF2B5EF4-FFF2-40B4-BE49-F238E27FC236}">
                <a16:creationId xmlns:a16="http://schemas.microsoft.com/office/drawing/2014/main" id="{11C955FD-C622-4957-B25D-B5DEDD3803A3}"/>
              </a:ext>
            </a:extLst>
          </p:cNvPr>
          <p:cNvPicPr>
            <a:picLocks noChangeAspect="1"/>
          </p:cNvPicPr>
          <p:nvPr userDrawn="1"/>
        </p:nvPicPr>
        <p:blipFill rotWithShape="1">
          <a:blip r:embed="rId4" cstate="screen">
            <a:alphaModFix amt="20000"/>
            <a:extLst>
              <a:ext uri="{28A0092B-C50C-407E-A947-70E740481C1C}">
                <a14:useLocalDpi xmlns:a14="http://schemas.microsoft.com/office/drawing/2010/main"/>
              </a:ext>
            </a:extLst>
          </a:blip>
          <a:srcRect/>
          <a:stretch/>
        </p:blipFill>
        <p:spPr>
          <a:xfrm>
            <a:off x="0" y="3237975"/>
            <a:ext cx="5292246" cy="1905522"/>
          </a:xfrm>
          <a:prstGeom prst="rect">
            <a:avLst/>
          </a:prstGeom>
        </p:spPr>
      </p:pic>
      <p:pic>
        <p:nvPicPr>
          <p:cNvPr id="7" name="Picture 6" descr="A close up of a logo&#10;&#10;Description automatically generated">
            <a:extLst>
              <a:ext uri="{FF2B5EF4-FFF2-40B4-BE49-F238E27FC236}">
                <a16:creationId xmlns:a16="http://schemas.microsoft.com/office/drawing/2014/main" id="{E70C23E5-BD34-48ED-829C-23A90E2C85B9}"/>
              </a:ext>
            </a:extLst>
          </p:cNvPr>
          <p:cNvPicPr>
            <a:picLocks noChangeAspect="1"/>
          </p:cNvPicPr>
          <p:nvPr userDrawn="1"/>
        </p:nvPicPr>
        <p:blipFill rotWithShape="1">
          <a:blip r:embed="rId5" cstate="screen">
            <a:alphaModFix amt="20000"/>
            <a:extLst>
              <a:ext uri="{28A0092B-C50C-407E-A947-70E740481C1C}">
                <a14:useLocalDpi xmlns:a14="http://schemas.microsoft.com/office/drawing/2010/main"/>
              </a:ext>
            </a:extLst>
          </a:blip>
          <a:srcRect/>
          <a:stretch/>
        </p:blipFill>
        <p:spPr>
          <a:xfrm>
            <a:off x="4216077" y="-5"/>
            <a:ext cx="4927924" cy="1571689"/>
          </a:xfrm>
          <a:prstGeom prst="rect">
            <a:avLst/>
          </a:prstGeom>
        </p:spPr>
      </p:pic>
    </p:spTree>
    <p:custDataLst>
      <p:tags r:id="rId1"/>
    </p:custDataLst>
    <p:extLst>
      <p:ext uri="{BB962C8B-B14F-4D97-AF65-F5344CB8AC3E}">
        <p14:creationId xmlns:p14="http://schemas.microsoft.com/office/powerpoint/2010/main" val="357357917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uvert">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90"/>
            <a:ext cx="9144000" cy="5143310"/>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6266" y="416378"/>
            <a:ext cx="2049283" cy="804795"/>
          </a:xfrm>
          <a:prstGeom prst="rect">
            <a:avLst/>
          </a:prstGeom>
        </p:spPr>
      </p:pic>
      <p:cxnSp>
        <p:nvCxnSpPr>
          <p:cNvPr id="4" name="Straight Connector 3"/>
          <p:cNvCxnSpPr>
            <a:cxnSpLocks/>
          </p:cNvCxnSpPr>
          <p:nvPr/>
        </p:nvCxnSpPr>
        <p:spPr>
          <a:xfrm>
            <a:off x="673100" y="1629328"/>
            <a:ext cx="4697294" cy="0"/>
          </a:xfrm>
          <a:prstGeom prst="line">
            <a:avLst/>
          </a:prstGeom>
          <a:ln w="38100">
            <a:solidFill>
              <a:srgbClr val="F50000"/>
            </a:solidFill>
          </a:ln>
          <a:effectLst/>
        </p:spPr>
        <p:style>
          <a:lnRef idx="2">
            <a:schemeClr val="accent1"/>
          </a:lnRef>
          <a:fillRef idx="0">
            <a:schemeClr val="accent1"/>
          </a:fillRef>
          <a:effectRef idx="1">
            <a:schemeClr val="accent1"/>
          </a:effectRef>
          <a:fontRef idx="minor">
            <a:schemeClr val="tx1"/>
          </a:fontRef>
        </p:style>
      </p:cxnSp>
      <p:sp>
        <p:nvSpPr>
          <p:cNvPr id="6" name="Text Placeholder 14"/>
          <p:cNvSpPr>
            <a:spLocks noGrp="1"/>
          </p:cNvSpPr>
          <p:nvPr>
            <p:ph type="body" sz="quarter" idx="11" hasCustomPrompt="1"/>
          </p:nvPr>
        </p:nvSpPr>
        <p:spPr>
          <a:xfrm>
            <a:off x="673100" y="465722"/>
            <a:ext cx="4943475" cy="877887"/>
          </a:xfrm>
          <a:prstGeom prst="rect">
            <a:avLst/>
          </a:prstGeom>
        </p:spPr>
        <p:txBody>
          <a:bodyPr lIns="0" tIns="0" rIns="0" bIns="0"/>
          <a:lstStyle>
            <a:lvl1pPr marL="0" indent="0">
              <a:lnSpc>
                <a:spcPts val="3500"/>
              </a:lnSpc>
              <a:spcBef>
                <a:spcPts val="0"/>
              </a:spcBef>
              <a:buFontTx/>
              <a:buNone/>
              <a:defRPr sz="3000" b="1" i="0">
                <a:solidFill>
                  <a:srgbClr val="FF0000"/>
                </a:solidFill>
                <a:latin typeface="Arial" charset="0"/>
                <a:ea typeface="Arial" charset="0"/>
                <a:cs typeface="Arial" charset="0"/>
              </a:defRPr>
            </a:lvl1pPr>
            <a:lvl2pPr marL="457189" indent="0">
              <a:buFontTx/>
              <a:buNone/>
              <a:defRPr sz="3000" b="1" i="0">
                <a:solidFill>
                  <a:srgbClr val="FF0000"/>
                </a:solidFill>
                <a:latin typeface="Arial" charset="0"/>
                <a:ea typeface="Arial" charset="0"/>
                <a:cs typeface="Arial" charset="0"/>
              </a:defRPr>
            </a:lvl2pPr>
            <a:lvl3pPr marL="914378" indent="0">
              <a:buFontTx/>
              <a:buNone/>
              <a:defRPr sz="3000" b="1" i="0">
                <a:solidFill>
                  <a:srgbClr val="FF0000"/>
                </a:solidFill>
                <a:latin typeface="Arial" charset="0"/>
                <a:ea typeface="Arial" charset="0"/>
                <a:cs typeface="Arial" charset="0"/>
              </a:defRPr>
            </a:lvl3pPr>
            <a:lvl4pPr marL="1371566" indent="0">
              <a:buFontTx/>
              <a:buNone/>
              <a:defRPr sz="3000" b="1" i="0">
                <a:solidFill>
                  <a:srgbClr val="FF0000"/>
                </a:solidFill>
                <a:latin typeface="Arial" charset="0"/>
                <a:ea typeface="Arial" charset="0"/>
                <a:cs typeface="Arial" charset="0"/>
              </a:defRPr>
            </a:lvl4pPr>
            <a:lvl5pPr marL="1828754" indent="0">
              <a:buFontTx/>
              <a:buNone/>
              <a:defRPr sz="3000" b="1" i="0">
                <a:solidFill>
                  <a:srgbClr val="FF0000"/>
                </a:solidFill>
                <a:latin typeface="Arial" charset="0"/>
                <a:ea typeface="Arial" charset="0"/>
                <a:cs typeface="Arial" charset="0"/>
              </a:defRPr>
            </a:lvl5pPr>
          </a:lstStyle>
          <a:p>
            <a:pPr lvl="0"/>
            <a:r>
              <a:rPr lang="en-US" err="1"/>
              <a:t>Titre</a:t>
            </a:r>
            <a:r>
              <a:rPr lang="en-US"/>
              <a:t> de la </a:t>
            </a:r>
            <a:r>
              <a:rPr lang="en-US" err="1"/>
              <a:t>présentation</a:t>
            </a:r>
            <a:br>
              <a:rPr lang="en-US"/>
            </a:br>
            <a:r>
              <a:rPr lang="en-US"/>
              <a:t>lorem ipsum dolore</a:t>
            </a:r>
          </a:p>
        </p:txBody>
      </p:sp>
      <p:sp>
        <p:nvSpPr>
          <p:cNvPr id="7" name="Text Placeholder 16"/>
          <p:cNvSpPr>
            <a:spLocks noGrp="1"/>
          </p:cNvSpPr>
          <p:nvPr>
            <p:ph type="body" sz="quarter" idx="12" hasCustomPrompt="1"/>
          </p:nvPr>
        </p:nvSpPr>
        <p:spPr>
          <a:xfrm>
            <a:off x="618509" y="2003581"/>
            <a:ext cx="4943475" cy="262640"/>
          </a:xfrm>
          <a:prstGeom prst="rect">
            <a:avLst/>
          </a:prstGeom>
        </p:spPr>
        <p:txBody>
          <a:bodyPr lIns="0" tIns="0" rIns="0" bIns="0"/>
          <a:lstStyle>
            <a:lvl1pPr marL="0" indent="0">
              <a:lnSpc>
                <a:spcPts val="2000"/>
              </a:lnSpc>
              <a:spcBef>
                <a:spcPts val="0"/>
              </a:spcBef>
              <a:buFontTx/>
              <a:buNone/>
              <a:defRPr sz="1800" b="1" i="0">
                <a:solidFill>
                  <a:srgbClr val="004260"/>
                </a:solidFill>
                <a:latin typeface="Arial" charset="0"/>
                <a:ea typeface="Arial" charset="0"/>
                <a:cs typeface="Arial" charset="0"/>
              </a:defRPr>
            </a:lvl1pPr>
            <a:lvl2pPr marL="0" indent="0">
              <a:lnSpc>
                <a:spcPts val="2000"/>
              </a:lnSpc>
              <a:spcBef>
                <a:spcPts val="0"/>
              </a:spcBef>
              <a:buFontTx/>
              <a:buNone/>
              <a:defRPr sz="1800" b="1" i="0">
                <a:solidFill>
                  <a:srgbClr val="004260"/>
                </a:solidFill>
                <a:latin typeface="Arial" charset="0"/>
                <a:ea typeface="Arial" charset="0"/>
                <a:cs typeface="Arial" charset="0"/>
              </a:defRPr>
            </a:lvl2pPr>
            <a:lvl3pPr marL="0" indent="0">
              <a:lnSpc>
                <a:spcPts val="2000"/>
              </a:lnSpc>
              <a:spcBef>
                <a:spcPts val="0"/>
              </a:spcBef>
              <a:buFontTx/>
              <a:buNone/>
              <a:defRPr sz="1800" b="1" i="0">
                <a:solidFill>
                  <a:srgbClr val="004260"/>
                </a:solidFill>
                <a:latin typeface="Arial" charset="0"/>
                <a:ea typeface="Arial" charset="0"/>
                <a:cs typeface="Arial" charset="0"/>
              </a:defRPr>
            </a:lvl3pPr>
            <a:lvl4pPr marL="0" indent="0">
              <a:lnSpc>
                <a:spcPts val="2000"/>
              </a:lnSpc>
              <a:spcBef>
                <a:spcPts val="0"/>
              </a:spcBef>
              <a:buFontTx/>
              <a:buNone/>
              <a:defRPr sz="1800" b="1" i="0">
                <a:solidFill>
                  <a:srgbClr val="004260"/>
                </a:solidFill>
                <a:latin typeface="Arial" charset="0"/>
                <a:ea typeface="Arial" charset="0"/>
                <a:cs typeface="Arial" charset="0"/>
              </a:defRPr>
            </a:lvl4pPr>
            <a:lvl5pPr marL="0" indent="0">
              <a:lnSpc>
                <a:spcPts val="2000"/>
              </a:lnSpc>
              <a:spcBef>
                <a:spcPts val="0"/>
              </a:spcBef>
              <a:buFontTx/>
              <a:buNone/>
              <a:defRPr sz="1800" b="1" i="0">
                <a:solidFill>
                  <a:srgbClr val="004260"/>
                </a:solidFill>
                <a:latin typeface="Arial" charset="0"/>
                <a:ea typeface="Arial" charset="0"/>
                <a:cs typeface="Arial" charset="0"/>
              </a:defRPr>
            </a:lvl5pPr>
          </a:lstStyle>
          <a:p>
            <a:pPr lvl="0"/>
            <a:r>
              <a:rPr lang="en-US"/>
              <a:t>Nom du </a:t>
            </a:r>
            <a:r>
              <a:rPr lang="en-US" err="1"/>
              <a:t>présentateur</a:t>
            </a:r>
            <a:endParaRPr lang="en-US"/>
          </a:p>
        </p:txBody>
      </p:sp>
      <p:sp>
        <p:nvSpPr>
          <p:cNvPr id="8" name="Text Placeholder 18"/>
          <p:cNvSpPr>
            <a:spLocks noGrp="1"/>
          </p:cNvSpPr>
          <p:nvPr>
            <p:ph type="body" sz="quarter" idx="13" hasCustomPrompt="1"/>
          </p:nvPr>
        </p:nvSpPr>
        <p:spPr>
          <a:xfrm>
            <a:off x="618509" y="2552468"/>
            <a:ext cx="4943475" cy="277762"/>
          </a:xfrm>
          <a:prstGeom prst="rect">
            <a:avLst/>
          </a:prstGeom>
        </p:spPr>
        <p:txBody>
          <a:bodyPr lIns="0" tIns="0" rIns="0" bIns="0"/>
          <a:lstStyle>
            <a:lvl1pPr marL="0" indent="0">
              <a:lnSpc>
                <a:spcPts val="1700"/>
              </a:lnSpc>
              <a:spcBef>
                <a:spcPts val="0"/>
              </a:spcBef>
              <a:buFontTx/>
              <a:buNone/>
              <a:defRPr sz="1500" b="0" i="0">
                <a:solidFill>
                  <a:srgbClr val="004260"/>
                </a:solidFill>
                <a:latin typeface="Arial" charset="0"/>
                <a:ea typeface="Arial" charset="0"/>
                <a:cs typeface="Arial" charset="0"/>
              </a:defRPr>
            </a:lvl1pPr>
            <a:lvl2pPr marL="457189" indent="0">
              <a:buFontTx/>
              <a:buNone/>
              <a:defRPr/>
            </a:lvl2pPr>
            <a:lvl3pPr marL="914378" indent="0">
              <a:buFontTx/>
              <a:buNone/>
              <a:defRPr/>
            </a:lvl3pPr>
            <a:lvl4pPr marL="1371566" indent="0">
              <a:buFontTx/>
              <a:buNone/>
              <a:defRPr/>
            </a:lvl4pPr>
            <a:lvl5pPr marL="1828754" indent="0">
              <a:buFontTx/>
              <a:buNone/>
              <a:defRPr/>
            </a:lvl5pPr>
          </a:lstStyle>
          <a:p>
            <a:pPr lvl="0"/>
            <a:r>
              <a:rPr lang="en-US"/>
              <a:t>Date</a:t>
            </a:r>
          </a:p>
        </p:txBody>
      </p:sp>
    </p:spTree>
    <p:extLst>
      <p:ext uri="{BB962C8B-B14F-4D97-AF65-F5344CB8AC3E}">
        <p14:creationId xmlns:p14="http://schemas.microsoft.com/office/powerpoint/2010/main" val="7424987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re 1 ligne">
    <p:spTree>
      <p:nvGrpSpPr>
        <p:cNvPr id="1" name=""/>
        <p:cNvGrpSpPr/>
        <p:nvPr/>
      </p:nvGrpSpPr>
      <p:grpSpPr>
        <a:xfrm>
          <a:off x="0" y="0"/>
          <a:ext cx="0" cy="0"/>
          <a:chOff x="0" y="0"/>
          <a:chExt cx="0" cy="0"/>
        </a:xfrm>
      </p:grpSpPr>
      <p:cxnSp>
        <p:nvCxnSpPr>
          <p:cNvPr id="4" name="Straight Connector 3"/>
          <p:cNvCxnSpPr/>
          <p:nvPr/>
        </p:nvCxnSpPr>
        <p:spPr>
          <a:xfrm>
            <a:off x="4315968" y="690336"/>
            <a:ext cx="512064" cy="0"/>
          </a:xfrm>
          <a:prstGeom prst="line">
            <a:avLst/>
          </a:prstGeom>
          <a:ln>
            <a:solidFill>
              <a:srgbClr val="F50000"/>
            </a:solidFill>
          </a:ln>
          <a:effectLst/>
        </p:spPr>
        <p:style>
          <a:lnRef idx="2">
            <a:schemeClr val="accent1"/>
          </a:lnRef>
          <a:fillRef idx="0">
            <a:schemeClr val="accent1"/>
          </a:fillRef>
          <a:effectRef idx="1">
            <a:schemeClr val="accent1"/>
          </a:effectRef>
          <a:fontRef idx="minor">
            <a:schemeClr val="tx1"/>
          </a:fontRef>
        </p:style>
      </p:cxnSp>
      <p:sp>
        <p:nvSpPr>
          <p:cNvPr id="20" name="Espace réservé du titre 12"/>
          <p:cNvSpPr>
            <a:spLocks noGrp="1"/>
          </p:cNvSpPr>
          <p:nvPr>
            <p:ph type="title" hasCustomPrompt="1"/>
          </p:nvPr>
        </p:nvSpPr>
        <p:spPr>
          <a:xfrm>
            <a:off x="457200" y="301753"/>
            <a:ext cx="8229600" cy="304514"/>
          </a:xfrm>
          <a:prstGeom prst="rect">
            <a:avLst/>
          </a:prstGeom>
        </p:spPr>
        <p:txBody>
          <a:bodyPr vert="horz" lIns="0" tIns="0" rIns="0" bIns="0" rtlCol="0" anchor="t" anchorCtr="1">
            <a:normAutofit/>
          </a:bodyPr>
          <a:lstStyle>
            <a:lvl1pPr algn="ctr">
              <a:lnSpc>
                <a:spcPts val="1800"/>
              </a:lnSpc>
              <a:defRPr sz="1700" b="1">
                <a:solidFill>
                  <a:srgbClr val="F50000"/>
                </a:solidFill>
                <a:latin typeface="Arial" charset="0"/>
                <a:ea typeface="Arial" charset="0"/>
                <a:cs typeface="Arial" charset="0"/>
              </a:defRPr>
            </a:lvl1pPr>
          </a:lstStyle>
          <a:p>
            <a:r>
              <a:rPr lang="en-US"/>
              <a:t>CLIQUEZ ET MODIFIEZ LE TITRE</a:t>
            </a:r>
            <a:endParaRPr lang="fr-FR"/>
          </a:p>
        </p:txBody>
      </p:sp>
      <p:sp>
        <p:nvSpPr>
          <p:cNvPr id="5" name="Slide Number Placeholder 5"/>
          <p:cNvSpPr>
            <a:spLocks noGrp="1"/>
          </p:cNvSpPr>
          <p:nvPr>
            <p:ph type="sldNum" sz="quarter" idx="4"/>
          </p:nvPr>
        </p:nvSpPr>
        <p:spPr>
          <a:xfrm>
            <a:off x="7980934" y="4757058"/>
            <a:ext cx="474872" cy="155575"/>
          </a:xfrm>
          <a:prstGeom prst="rect">
            <a:avLst/>
          </a:prstGeom>
        </p:spPr>
        <p:txBody>
          <a:bodyPr lIns="0" tIns="0" rIns="0" bIns="0"/>
          <a:lstStyle>
            <a:lvl1pPr algn="r">
              <a:defRPr sz="1000">
                <a:solidFill>
                  <a:schemeClr val="tx1"/>
                </a:solidFill>
              </a:defRPr>
            </a:lvl1pPr>
          </a:lstStyle>
          <a:p>
            <a:pPr defTabSz="342900" eaLnBrk="0" fontAlgn="base" hangingPunct="0">
              <a:spcBef>
                <a:spcPct val="0"/>
              </a:spcBef>
              <a:spcAft>
                <a:spcPct val="0"/>
              </a:spcAft>
              <a:defRPr/>
            </a:pPr>
            <a:fld id="{E3AC9CA4-24D0-49B8-B18E-5D345B9E40FE}" type="slidenum">
              <a:rPr lang="en-CA" smtClean="0">
                <a:latin typeface="Arial" charset="0"/>
              </a:rPr>
              <a:pPr defTabSz="342900" eaLnBrk="0" fontAlgn="base" hangingPunct="0">
                <a:spcBef>
                  <a:spcPct val="0"/>
                </a:spcBef>
                <a:spcAft>
                  <a:spcPct val="0"/>
                </a:spcAft>
                <a:defRPr/>
              </a:pPr>
              <a:t>‹N°›</a:t>
            </a:fld>
            <a:endParaRPr lang="en-CA">
              <a:latin typeface="Arial" charset="0"/>
            </a:endParaRPr>
          </a:p>
        </p:txBody>
      </p:sp>
      <p:sp>
        <p:nvSpPr>
          <p:cNvPr id="6" name="Text Placeholder 8"/>
          <p:cNvSpPr>
            <a:spLocks noGrp="1"/>
          </p:cNvSpPr>
          <p:nvPr>
            <p:ph type="body" sz="quarter" idx="11" hasCustomPrompt="1"/>
          </p:nvPr>
        </p:nvSpPr>
        <p:spPr>
          <a:xfrm>
            <a:off x="457200" y="925082"/>
            <a:ext cx="8229600" cy="3712234"/>
          </a:xfrm>
          <a:prstGeom prst="rect">
            <a:avLst/>
          </a:prstGeom>
        </p:spPr>
        <p:txBody>
          <a:bodyPr lIns="0" tIns="0" rIns="0" bIns="0"/>
          <a:lstStyle>
            <a:lvl1pPr marL="0" indent="0">
              <a:lnSpc>
                <a:spcPts val="2000"/>
              </a:lnSpc>
              <a:buFontTx/>
              <a:buNone/>
              <a:defRPr sz="1500" b="1" i="0">
                <a:solidFill>
                  <a:srgbClr val="00324D"/>
                </a:solidFill>
                <a:latin typeface="Arial" charset="0"/>
                <a:ea typeface="Arial" charset="0"/>
                <a:cs typeface="Arial" charset="0"/>
              </a:defRPr>
            </a:lvl1pPr>
            <a:lvl2pPr marL="284393" indent="-284393">
              <a:lnSpc>
                <a:spcPts val="1700"/>
              </a:lnSpc>
              <a:spcBef>
                <a:spcPts val="1800"/>
              </a:spcBef>
              <a:buFont typeface="LucidaGrande" charset="0"/>
              <a:buChar char="&gt;"/>
              <a:defRPr sz="1300" b="0" i="0">
                <a:latin typeface="Arial" charset="0"/>
                <a:ea typeface="Arial" charset="0"/>
                <a:cs typeface="Arial" charset="0"/>
              </a:defRPr>
            </a:lvl2pPr>
            <a:lvl3pPr marL="572386" indent="-284393">
              <a:lnSpc>
                <a:spcPts val="1700"/>
              </a:lnSpc>
              <a:spcBef>
                <a:spcPts val="600"/>
              </a:spcBef>
              <a:buClr>
                <a:schemeClr val="tx1"/>
              </a:buClr>
              <a:buFont typeface="LucidaGrande" charset="0"/>
              <a:buChar char="–"/>
              <a:defRPr sz="1300" b="0" i="0">
                <a:latin typeface="Arial" charset="0"/>
                <a:ea typeface="Arial" charset="0"/>
                <a:cs typeface="Arial" charset="0"/>
              </a:defRPr>
            </a:lvl3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br>
              <a:rPr lang="en-US"/>
            </a:br>
            <a:r>
              <a:rPr lang="en-US" err="1"/>
              <a:t>Cras</a:t>
            </a:r>
            <a:r>
              <a:rPr lang="en-US"/>
              <a:t> ac libero at </a:t>
            </a:r>
            <a:r>
              <a:rPr lang="en-US" err="1"/>
              <a:t>diam</a:t>
            </a:r>
            <a:r>
              <a:rPr lang="en-US"/>
              <a:t> </a:t>
            </a:r>
            <a:r>
              <a:rPr lang="en-US" err="1"/>
              <a:t>malesuada</a:t>
            </a:r>
            <a:r>
              <a:rPr lang="en-US"/>
              <a:t> </a:t>
            </a:r>
            <a:r>
              <a:rPr lang="en-US" err="1"/>
              <a:t>fringilla</a:t>
            </a:r>
            <a:r>
              <a:rPr lang="en-US"/>
              <a:t> </a:t>
            </a:r>
            <a:r>
              <a:rPr lang="en-US" err="1"/>
              <a:t>itnanc</a:t>
            </a:r>
            <a:r>
              <a:rPr lang="en-US"/>
              <a:t>.</a:t>
            </a:r>
          </a:p>
          <a:p>
            <a:pPr lvl="1"/>
            <a:r>
              <a:rPr lang="en-US" err="1"/>
              <a:t>Vestibulum</a:t>
            </a:r>
            <a:r>
              <a:rPr lang="en-US"/>
              <a:t> </a:t>
            </a:r>
            <a:r>
              <a:rPr lang="en-US" err="1"/>
              <a:t>ultricies</a:t>
            </a:r>
            <a:r>
              <a:rPr lang="en-US"/>
              <a:t> </a:t>
            </a:r>
            <a:r>
              <a:rPr lang="en-US" err="1"/>
              <a:t>pretium</a:t>
            </a:r>
            <a:r>
              <a:rPr lang="en-US"/>
              <a:t> </a:t>
            </a:r>
            <a:r>
              <a:rPr lang="en-US" err="1"/>
              <a:t>dapibus</a:t>
            </a:r>
            <a:r>
              <a:rPr lang="en-US"/>
              <a:t>. </a:t>
            </a:r>
            <a:r>
              <a:rPr lang="en-US" err="1"/>
              <a:t>Sed</a:t>
            </a:r>
            <a:r>
              <a:rPr lang="en-US"/>
              <a:t> </a:t>
            </a:r>
            <a:r>
              <a:rPr lang="en-US" err="1"/>
              <a:t>est</a:t>
            </a:r>
            <a:r>
              <a:rPr lang="en-US"/>
              <a:t> nisi </a:t>
            </a:r>
            <a:r>
              <a:rPr lang="en-US" err="1"/>
              <a:t>elementum</a:t>
            </a:r>
            <a:r>
              <a:rPr lang="en-US"/>
              <a:t> ac porta vitae</a:t>
            </a:r>
            <a:br>
              <a:rPr lang="en-US"/>
            </a:br>
            <a:r>
              <a:rPr lang="en-US" err="1"/>
              <a:t>pellentesque</a:t>
            </a:r>
            <a:r>
              <a:rPr lang="en-US"/>
              <a:t> a quam.</a:t>
            </a:r>
          </a:p>
          <a:p>
            <a:pPr lvl="2"/>
            <a:r>
              <a:rPr lang="en-US"/>
              <a:t>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33957337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re 2 lignes">
    <p:spTree>
      <p:nvGrpSpPr>
        <p:cNvPr id="1" name=""/>
        <p:cNvGrpSpPr/>
        <p:nvPr/>
      </p:nvGrpSpPr>
      <p:grpSpPr>
        <a:xfrm>
          <a:off x="0" y="0"/>
          <a:ext cx="0" cy="0"/>
          <a:chOff x="0" y="0"/>
          <a:chExt cx="0" cy="0"/>
        </a:xfrm>
      </p:grpSpPr>
      <p:cxnSp>
        <p:nvCxnSpPr>
          <p:cNvPr id="7" name="Straight Connector 6"/>
          <p:cNvCxnSpPr/>
          <p:nvPr/>
        </p:nvCxnSpPr>
        <p:spPr>
          <a:xfrm>
            <a:off x="4315968" y="934337"/>
            <a:ext cx="512064" cy="0"/>
          </a:xfrm>
          <a:prstGeom prst="line">
            <a:avLst/>
          </a:prstGeom>
          <a:ln>
            <a:solidFill>
              <a:srgbClr val="F50000"/>
            </a:solidFill>
          </a:ln>
          <a:effectLst/>
        </p:spPr>
        <p:style>
          <a:lnRef idx="2">
            <a:schemeClr val="accent1"/>
          </a:lnRef>
          <a:fillRef idx="0">
            <a:schemeClr val="accent1"/>
          </a:fillRef>
          <a:effectRef idx="1">
            <a:schemeClr val="accent1"/>
          </a:effectRef>
          <a:fontRef idx="minor">
            <a:schemeClr val="tx1"/>
          </a:fontRef>
        </p:style>
      </p:cxnSp>
      <p:sp>
        <p:nvSpPr>
          <p:cNvPr id="8" name="Espace réservé du titre 12"/>
          <p:cNvSpPr>
            <a:spLocks noGrp="1"/>
          </p:cNvSpPr>
          <p:nvPr>
            <p:ph type="title" hasCustomPrompt="1"/>
          </p:nvPr>
        </p:nvSpPr>
        <p:spPr>
          <a:xfrm>
            <a:off x="457200" y="301758"/>
            <a:ext cx="8229600" cy="474059"/>
          </a:xfrm>
          <a:prstGeom prst="rect">
            <a:avLst/>
          </a:prstGeom>
        </p:spPr>
        <p:txBody>
          <a:bodyPr vert="horz" lIns="0" tIns="0" rIns="0" bIns="0" rtlCol="0" anchor="t" anchorCtr="1">
            <a:normAutofit/>
          </a:bodyPr>
          <a:lstStyle>
            <a:lvl1pPr algn="ctr">
              <a:lnSpc>
                <a:spcPts val="1900"/>
              </a:lnSpc>
              <a:defRPr sz="1700" b="1">
                <a:solidFill>
                  <a:srgbClr val="F50000"/>
                </a:solidFill>
                <a:latin typeface="Arial" charset="0"/>
                <a:ea typeface="Arial" charset="0"/>
                <a:cs typeface="Arial" charset="0"/>
              </a:defRPr>
            </a:lvl1pPr>
          </a:lstStyle>
          <a:p>
            <a:r>
              <a:rPr lang="en-US"/>
              <a:t>CLIQUEZ ET MODIFIEZ </a:t>
            </a:r>
            <a:br>
              <a:rPr lang="en-US"/>
            </a:br>
            <a:r>
              <a:rPr lang="en-US"/>
              <a:t>LE TITRE</a:t>
            </a:r>
            <a:endParaRPr lang="fr-FR"/>
          </a:p>
        </p:txBody>
      </p:sp>
      <p:sp>
        <p:nvSpPr>
          <p:cNvPr id="5" name="Slide Number Placeholder 5"/>
          <p:cNvSpPr>
            <a:spLocks noGrp="1"/>
          </p:cNvSpPr>
          <p:nvPr>
            <p:ph type="sldNum" sz="quarter" idx="4"/>
          </p:nvPr>
        </p:nvSpPr>
        <p:spPr>
          <a:xfrm>
            <a:off x="7980934" y="4757058"/>
            <a:ext cx="474872" cy="155575"/>
          </a:xfrm>
          <a:prstGeom prst="rect">
            <a:avLst/>
          </a:prstGeom>
        </p:spPr>
        <p:txBody>
          <a:bodyPr lIns="0" tIns="0" rIns="0" bIns="0"/>
          <a:lstStyle>
            <a:lvl1pPr algn="r">
              <a:defRPr sz="1000"/>
            </a:lvl1pPr>
          </a:lstStyle>
          <a:p>
            <a:pPr defTabSz="342900" eaLnBrk="0" fontAlgn="base" hangingPunct="0">
              <a:spcBef>
                <a:spcPct val="0"/>
              </a:spcBef>
              <a:spcAft>
                <a:spcPct val="0"/>
              </a:spcAft>
              <a:defRPr/>
            </a:pPr>
            <a:fld id="{E3AC9CA4-24D0-49B8-B18E-5D345B9E40FE}" type="slidenum">
              <a:rPr lang="en-CA" smtClean="0">
                <a:solidFill>
                  <a:srgbClr val="000000"/>
                </a:solidFill>
                <a:latin typeface="Arial" charset="0"/>
              </a:rPr>
              <a:pPr defTabSz="342900" eaLnBrk="0" fontAlgn="base" hangingPunct="0">
                <a:spcBef>
                  <a:spcPct val="0"/>
                </a:spcBef>
                <a:spcAft>
                  <a:spcPct val="0"/>
                </a:spcAft>
                <a:defRPr/>
              </a:pPr>
              <a:t>‹N°›</a:t>
            </a:fld>
            <a:endParaRPr lang="en-CA">
              <a:solidFill>
                <a:srgbClr val="000000"/>
              </a:solidFill>
              <a:latin typeface="Arial" charset="0"/>
            </a:endParaRPr>
          </a:p>
        </p:txBody>
      </p:sp>
      <p:sp>
        <p:nvSpPr>
          <p:cNvPr id="6" name="Text Placeholder 8"/>
          <p:cNvSpPr>
            <a:spLocks noGrp="1"/>
          </p:cNvSpPr>
          <p:nvPr>
            <p:ph type="body" sz="quarter" idx="11" hasCustomPrompt="1"/>
          </p:nvPr>
        </p:nvSpPr>
        <p:spPr>
          <a:xfrm>
            <a:off x="457200" y="1142547"/>
            <a:ext cx="8229600" cy="3445782"/>
          </a:xfrm>
          <a:prstGeom prst="rect">
            <a:avLst/>
          </a:prstGeom>
        </p:spPr>
        <p:txBody>
          <a:bodyPr lIns="0" tIns="0" rIns="0" bIns="0"/>
          <a:lstStyle>
            <a:lvl1pPr marL="0" indent="0">
              <a:lnSpc>
                <a:spcPts val="2000"/>
              </a:lnSpc>
              <a:buFontTx/>
              <a:buNone/>
              <a:defRPr sz="1500" b="1" i="0">
                <a:solidFill>
                  <a:srgbClr val="00324D"/>
                </a:solidFill>
                <a:latin typeface="Arial" charset="0"/>
                <a:ea typeface="Arial" charset="0"/>
                <a:cs typeface="Arial" charset="0"/>
              </a:defRPr>
            </a:lvl1pPr>
            <a:lvl2pPr marL="284393" indent="-284393">
              <a:lnSpc>
                <a:spcPts val="1700"/>
              </a:lnSpc>
              <a:spcBef>
                <a:spcPts val="1800"/>
              </a:spcBef>
              <a:buFont typeface="LucidaGrande" charset="0"/>
              <a:buChar char="&gt;"/>
              <a:defRPr sz="1300" b="0" i="0">
                <a:latin typeface="Arial" charset="0"/>
                <a:ea typeface="Arial" charset="0"/>
                <a:cs typeface="Arial" charset="0"/>
              </a:defRPr>
            </a:lvl2pPr>
            <a:lvl3pPr marL="572386" indent="-284393">
              <a:lnSpc>
                <a:spcPts val="1700"/>
              </a:lnSpc>
              <a:spcBef>
                <a:spcPts val="600"/>
              </a:spcBef>
              <a:buClr>
                <a:schemeClr val="tx1"/>
              </a:buClr>
              <a:buFont typeface="LucidaGrande" charset="0"/>
              <a:buChar char="–"/>
              <a:defRPr sz="1300" b="0" i="0">
                <a:latin typeface="Arial" charset="0"/>
                <a:ea typeface="Arial" charset="0"/>
                <a:cs typeface="Arial" charset="0"/>
              </a:defRPr>
            </a:lvl3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br>
              <a:rPr lang="en-US"/>
            </a:br>
            <a:r>
              <a:rPr lang="en-US" err="1"/>
              <a:t>Cras</a:t>
            </a:r>
            <a:r>
              <a:rPr lang="en-US"/>
              <a:t> ac libero at </a:t>
            </a:r>
            <a:r>
              <a:rPr lang="en-US" err="1"/>
              <a:t>diam</a:t>
            </a:r>
            <a:r>
              <a:rPr lang="en-US"/>
              <a:t> </a:t>
            </a:r>
            <a:r>
              <a:rPr lang="en-US" err="1"/>
              <a:t>malesuada</a:t>
            </a:r>
            <a:r>
              <a:rPr lang="en-US"/>
              <a:t> </a:t>
            </a:r>
            <a:r>
              <a:rPr lang="en-US" err="1"/>
              <a:t>fringilla</a:t>
            </a:r>
            <a:r>
              <a:rPr lang="en-US"/>
              <a:t> </a:t>
            </a:r>
            <a:r>
              <a:rPr lang="en-US" err="1"/>
              <a:t>itnanc</a:t>
            </a:r>
            <a:r>
              <a:rPr lang="en-US"/>
              <a:t>.</a:t>
            </a:r>
          </a:p>
          <a:p>
            <a:pPr lvl="1"/>
            <a:r>
              <a:rPr lang="en-US" err="1"/>
              <a:t>Vestibulum</a:t>
            </a:r>
            <a:r>
              <a:rPr lang="en-US"/>
              <a:t> </a:t>
            </a:r>
            <a:r>
              <a:rPr lang="en-US" err="1"/>
              <a:t>ultricies</a:t>
            </a:r>
            <a:r>
              <a:rPr lang="en-US"/>
              <a:t> </a:t>
            </a:r>
            <a:r>
              <a:rPr lang="en-US" err="1"/>
              <a:t>pretium</a:t>
            </a:r>
            <a:r>
              <a:rPr lang="en-US"/>
              <a:t> </a:t>
            </a:r>
            <a:r>
              <a:rPr lang="en-US" err="1"/>
              <a:t>dapibus</a:t>
            </a:r>
            <a:r>
              <a:rPr lang="en-US"/>
              <a:t>. </a:t>
            </a:r>
            <a:r>
              <a:rPr lang="en-US" err="1"/>
              <a:t>Sed</a:t>
            </a:r>
            <a:r>
              <a:rPr lang="en-US"/>
              <a:t> </a:t>
            </a:r>
            <a:r>
              <a:rPr lang="en-US" err="1"/>
              <a:t>est</a:t>
            </a:r>
            <a:r>
              <a:rPr lang="en-US"/>
              <a:t> nisi </a:t>
            </a:r>
            <a:r>
              <a:rPr lang="en-US" err="1"/>
              <a:t>elementum</a:t>
            </a:r>
            <a:r>
              <a:rPr lang="en-US"/>
              <a:t> ac porta vitae</a:t>
            </a:r>
            <a:br>
              <a:rPr lang="en-US"/>
            </a:br>
            <a:r>
              <a:rPr lang="en-US" err="1"/>
              <a:t>pellentesque</a:t>
            </a:r>
            <a:r>
              <a:rPr lang="en-US"/>
              <a:t> a quam.</a:t>
            </a:r>
          </a:p>
          <a:p>
            <a:pPr lvl="2"/>
            <a:r>
              <a:rPr lang="en-US"/>
              <a:t>Lorem ipsum dolor sit </a:t>
            </a:r>
            <a:r>
              <a:rPr lang="en-US" err="1"/>
              <a:t>amet</a:t>
            </a:r>
            <a:r>
              <a:rPr lang="en-US"/>
              <a:t>, </a:t>
            </a:r>
            <a:r>
              <a:rPr lang="en-US" err="1"/>
              <a:t>consectetur</a:t>
            </a:r>
            <a:endParaRPr lang="en-US"/>
          </a:p>
        </p:txBody>
      </p:sp>
    </p:spTree>
    <p:extLst>
      <p:ext uri="{BB962C8B-B14F-4D97-AF65-F5344CB8AC3E}">
        <p14:creationId xmlns:p14="http://schemas.microsoft.com/office/powerpoint/2010/main" val="11003763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r="474" b="470"/>
          <a:stretch/>
        </p:blipFill>
        <p:spPr>
          <a:xfrm>
            <a:off x="0" y="0"/>
            <a:ext cx="9144000" cy="5143500"/>
          </a:xfrm>
          <a:prstGeom prst="rect">
            <a:avLst/>
          </a:prstGeom>
        </p:spPr>
      </p:pic>
      <p:cxnSp>
        <p:nvCxnSpPr>
          <p:cNvPr id="10" name="Straight Connector 9"/>
          <p:cNvCxnSpPr/>
          <p:nvPr/>
        </p:nvCxnSpPr>
        <p:spPr>
          <a:xfrm>
            <a:off x="672663" y="2728943"/>
            <a:ext cx="3545111" cy="0"/>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xt Placeholder 14"/>
          <p:cNvSpPr>
            <a:spLocks noGrp="1"/>
          </p:cNvSpPr>
          <p:nvPr>
            <p:ph type="body" sz="quarter" idx="11" hasCustomPrompt="1"/>
          </p:nvPr>
        </p:nvSpPr>
        <p:spPr>
          <a:xfrm>
            <a:off x="673100" y="1851056"/>
            <a:ext cx="4943475" cy="877887"/>
          </a:xfrm>
          <a:prstGeom prst="rect">
            <a:avLst/>
          </a:prstGeom>
        </p:spPr>
        <p:txBody>
          <a:bodyPr lIns="0" tIns="0" rIns="0" bIns="0"/>
          <a:lstStyle>
            <a:lvl1pPr marL="0" indent="0">
              <a:lnSpc>
                <a:spcPts val="2700"/>
              </a:lnSpc>
              <a:spcBef>
                <a:spcPts val="0"/>
              </a:spcBef>
              <a:buFontTx/>
              <a:buNone/>
              <a:defRPr sz="2300" b="1" i="0">
                <a:solidFill>
                  <a:schemeClr val="bg1"/>
                </a:solidFill>
                <a:latin typeface="Arial" charset="0"/>
                <a:ea typeface="Arial" charset="0"/>
                <a:cs typeface="Arial" charset="0"/>
              </a:defRPr>
            </a:lvl1pPr>
            <a:lvl2pPr marL="457189" indent="0">
              <a:buFontTx/>
              <a:buNone/>
              <a:defRPr sz="3000" b="1" i="0">
                <a:solidFill>
                  <a:srgbClr val="FF0000"/>
                </a:solidFill>
                <a:latin typeface="Arial" charset="0"/>
                <a:ea typeface="Arial" charset="0"/>
                <a:cs typeface="Arial" charset="0"/>
              </a:defRPr>
            </a:lvl2pPr>
            <a:lvl3pPr marL="914378" indent="0">
              <a:buFontTx/>
              <a:buNone/>
              <a:defRPr sz="3000" b="1" i="0">
                <a:solidFill>
                  <a:srgbClr val="FF0000"/>
                </a:solidFill>
                <a:latin typeface="Arial" charset="0"/>
                <a:ea typeface="Arial" charset="0"/>
                <a:cs typeface="Arial" charset="0"/>
              </a:defRPr>
            </a:lvl3pPr>
            <a:lvl4pPr marL="1371566" indent="0">
              <a:buFontTx/>
              <a:buNone/>
              <a:defRPr sz="3000" b="1" i="0">
                <a:solidFill>
                  <a:srgbClr val="FF0000"/>
                </a:solidFill>
                <a:latin typeface="Arial" charset="0"/>
                <a:ea typeface="Arial" charset="0"/>
                <a:cs typeface="Arial" charset="0"/>
              </a:defRPr>
            </a:lvl4pPr>
            <a:lvl5pPr marL="1828754" indent="0">
              <a:buFontTx/>
              <a:buNone/>
              <a:defRPr sz="3000" b="1" i="0">
                <a:solidFill>
                  <a:srgbClr val="FF0000"/>
                </a:solidFill>
                <a:latin typeface="Arial" charset="0"/>
                <a:ea typeface="Arial" charset="0"/>
                <a:cs typeface="Arial" charset="0"/>
              </a:defRPr>
            </a:lvl5pPr>
          </a:lstStyle>
          <a:p>
            <a:pPr lvl="0"/>
            <a:r>
              <a:rPr lang="en-US" err="1"/>
              <a:t>Titre</a:t>
            </a:r>
            <a:r>
              <a:rPr lang="en-US"/>
              <a:t> de la section</a:t>
            </a:r>
            <a:br>
              <a:rPr lang="en-US"/>
            </a:br>
            <a:r>
              <a:rPr lang="en-US"/>
              <a:t>lorem ipsum </a:t>
            </a:r>
            <a:r>
              <a:rPr lang="en-US" err="1"/>
              <a:t>dolore</a:t>
            </a:r>
            <a:endParaRPr lang="en-US"/>
          </a:p>
        </p:txBody>
      </p:sp>
      <p:cxnSp>
        <p:nvCxnSpPr>
          <p:cNvPr id="12" name="Straight Connector 11"/>
          <p:cNvCxnSpPr/>
          <p:nvPr/>
        </p:nvCxnSpPr>
        <p:spPr>
          <a:xfrm>
            <a:off x="672663" y="1650166"/>
            <a:ext cx="3545111" cy="0"/>
          </a:xfrm>
          <a:prstGeom prst="line">
            <a:avLst/>
          </a:prstGeom>
          <a:ln w="381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752652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ages">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r="474" b="470"/>
          <a:stretch/>
        </p:blipFill>
        <p:spPr>
          <a:xfrm>
            <a:off x="0" y="0"/>
            <a:ext cx="9144000" cy="5143500"/>
          </a:xfrm>
          <a:prstGeom prst="rect">
            <a:avLst/>
          </a:prstGeom>
        </p:spPr>
      </p:pic>
    </p:spTree>
    <p:extLst>
      <p:ext uri="{BB962C8B-B14F-4D97-AF65-F5344CB8AC3E}">
        <p14:creationId xmlns:p14="http://schemas.microsoft.com/office/powerpoint/2010/main" val="11838454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clusion">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90"/>
            <a:ext cx="9144000" cy="5143310"/>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6266" y="416378"/>
            <a:ext cx="2049283" cy="804795"/>
          </a:xfrm>
          <a:prstGeom prst="rect">
            <a:avLst/>
          </a:prstGeom>
        </p:spPr>
      </p:pic>
      <p:cxnSp>
        <p:nvCxnSpPr>
          <p:cNvPr id="9" name="Straight Connector 8"/>
          <p:cNvCxnSpPr/>
          <p:nvPr/>
        </p:nvCxnSpPr>
        <p:spPr>
          <a:xfrm>
            <a:off x="672663" y="2140022"/>
            <a:ext cx="2047960" cy="0"/>
          </a:xfrm>
          <a:prstGeom prst="line">
            <a:avLst/>
          </a:prstGeom>
          <a:ln w="38100">
            <a:solidFill>
              <a:srgbClr val="F50000"/>
            </a:solidFill>
          </a:ln>
          <a:effectLst/>
        </p:spPr>
        <p:style>
          <a:lnRef idx="2">
            <a:schemeClr val="accent1"/>
          </a:lnRef>
          <a:fillRef idx="0">
            <a:schemeClr val="accent1"/>
          </a:fillRef>
          <a:effectRef idx="1">
            <a:schemeClr val="accent1"/>
          </a:effectRef>
          <a:fontRef idx="minor">
            <a:schemeClr val="tx1"/>
          </a:fontRef>
        </p:style>
      </p:cxnSp>
      <p:sp>
        <p:nvSpPr>
          <p:cNvPr id="10" name="Text Placeholder 14"/>
          <p:cNvSpPr>
            <a:spLocks noGrp="1"/>
          </p:cNvSpPr>
          <p:nvPr>
            <p:ph type="body" sz="quarter" idx="11" hasCustomPrompt="1"/>
          </p:nvPr>
        </p:nvSpPr>
        <p:spPr>
          <a:xfrm>
            <a:off x="673100" y="1538996"/>
            <a:ext cx="4943475" cy="417691"/>
          </a:xfrm>
          <a:prstGeom prst="rect">
            <a:avLst/>
          </a:prstGeom>
        </p:spPr>
        <p:txBody>
          <a:bodyPr lIns="0" tIns="0" rIns="0" bIns="0"/>
          <a:lstStyle>
            <a:lvl1pPr marL="0" indent="0">
              <a:lnSpc>
                <a:spcPts val="3500"/>
              </a:lnSpc>
              <a:spcBef>
                <a:spcPts val="0"/>
              </a:spcBef>
              <a:buFontTx/>
              <a:buNone/>
              <a:defRPr sz="3000" b="1" i="0">
                <a:solidFill>
                  <a:srgbClr val="FF0000"/>
                </a:solidFill>
                <a:latin typeface="Arial" charset="0"/>
                <a:ea typeface="Arial" charset="0"/>
                <a:cs typeface="Arial" charset="0"/>
              </a:defRPr>
            </a:lvl1pPr>
            <a:lvl2pPr marL="457189" indent="0">
              <a:buFontTx/>
              <a:buNone/>
              <a:defRPr sz="3000" b="1" i="0">
                <a:solidFill>
                  <a:srgbClr val="FF0000"/>
                </a:solidFill>
                <a:latin typeface="Arial" charset="0"/>
                <a:ea typeface="Arial" charset="0"/>
                <a:cs typeface="Arial" charset="0"/>
              </a:defRPr>
            </a:lvl2pPr>
            <a:lvl3pPr marL="914378" indent="0">
              <a:buFontTx/>
              <a:buNone/>
              <a:defRPr sz="3000" b="1" i="0">
                <a:solidFill>
                  <a:srgbClr val="FF0000"/>
                </a:solidFill>
                <a:latin typeface="Arial" charset="0"/>
                <a:ea typeface="Arial" charset="0"/>
                <a:cs typeface="Arial" charset="0"/>
              </a:defRPr>
            </a:lvl3pPr>
            <a:lvl4pPr marL="1371566" indent="0">
              <a:buFontTx/>
              <a:buNone/>
              <a:defRPr sz="3000" b="1" i="0">
                <a:solidFill>
                  <a:srgbClr val="FF0000"/>
                </a:solidFill>
                <a:latin typeface="Arial" charset="0"/>
                <a:ea typeface="Arial" charset="0"/>
                <a:cs typeface="Arial" charset="0"/>
              </a:defRPr>
            </a:lvl4pPr>
            <a:lvl5pPr marL="1828754" indent="0">
              <a:buFontTx/>
              <a:buNone/>
              <a:defRPr sz="3000" b="1" i="0">
                <a:solidFill>
                  <a:srgbClr val="FF0000"/>
                </a:solidFill>
                <a:latin typeface="Arial" charset="0"/>
                <a:ea typeface="Arial" charset="0"/>
                <a:cs typeface="Arial" charset="0"/>
              </a:defRPr>
            </a:lvl5pPr>
          </a:lstStyle>
          <a:p>
            <a:pPr lvl="0"/>
            <a:r>
              <a:rPr lang="en-US"/>
              <a:t>Conclusion</a:t>
            </a:r>
          </a:p>
        </p:txBody>
      </p:sp>
      <p:sp>
        <p:nvSpPr>
          <p:cNvPr id="11" name="Text Placeholder 16"/>
          <p:cNvSpPr>
            <a:spLocks noGrp="1"/>
          </p:cNvSpPr>
          <p:nvPr>
            <p:ph type="body" sz="quarter" idx="12" hasCustomPrompt="1"/>
          </p:nvPr>
        </p:nvSpPr>
        <p:spPr>
          <a:xfrm>
            <a:off x="673100" y="2394539"/>
            <a:ext cx="4943475" cy="936490"/>
          </a:xfrm>
          <a:prstGeom prst="rect">
            <a:avLst/>
          </a:prstGeom>
        </p:spPr>
        <p:txBody>
          <a:bodyPr lIns="0" tIns="0" rIns="0" bIns="0"/>
          <a:lstStyle>
            <a:lvl1pPr marL="0" indent="0">
              <a:lnSpc>
                <a:spcPts val="2000"/>
              </a:lnSpc>
              <a:spcBef>
                <a:spcPts val="0"/>
              </a:spcBef>
              <a:buFontTx/>
              <a:buNone/>
              <a:defRPr sz="1800" b="0" i="1" baseline="0">
                <a:solidFill>
                  <a:srgbClr val="737472"/>
                </a:solidFill>
                <a:latin typeface="Arial" charset="0"/>
                <a:ea typeface="Arial" charset="0"/>
                <a:cs typeface="Arial" charset="0"/>
              </a:defRPr>
            </a:lvl1pPr>
            <a:lvl2pPr marL="0" indent="0">
              <a:lnSpc>
                <a:spcPts val="2000"/>
              </a:lnSpc>
              <a:spcBef>
                <a:spcPts val="0"/>
              </a:spcBef>
              <a:buFontTx/>
              <a:buNone/>
              <a:defRPr sz="1800" b="1" i="0">
                <a:solidFill>
                  <a:srgbClr val="004260"/>
                </a:solidFill>
                <a:latin typeface="Arial" charset="0"/>
                <a:ea typeface="Arial" charset="0"/>
                <a:cs typeface="Arial" charset="0"/>
              </a:defRPr>
            </a:lvl2pPr>
            <a:lvl3pPr marL="0" indent="0">
              <a:lnSpc>
                <a:spcPts val="2000"/>
              </a:lnSpc>
              <a:spcBef>
                <a:spcPts val="0"/>
              </a:spcBef>
              <a:buFontTx/>
              <a:buNone/>
              <a:defRPr sz="1800" b="1" i="0">
                <a:solidFill>
                  <a:srgbClr val="004260"/>
                </a:solidFill>
                <a:latin typeface="Arial" charset="0"/>
                <a:ea typeface="Arial" charset="0"/>
                <a:cs typeface="Arial" charset="0"/>
              </a:defRPr>
            </a:lvl3pPr>
            <a:lvl4pPr marL="0" indent="0">
              <a:lnSpc>
                <a:spcPts val="2000"/>
              </a:lnSpc>
              <a:spcBef>
                <a:spcPts val="0"/>
              </a:spcBef>
              <a:buFontTx/>
              <a:buNone/>
              <a:defRPr sz="1800" b="1" i="0">
                <a:solidFill>
                  <a:srgbClr val="004260"/>
                </a:solidFill>
                <a:latin typeface="Arial" charset="0"/>
                <a:ea typeface="Arial" charset="0"/>
                <a:cs typeface="Arial" charset="0"/>
              </a:defRPr>
            </a:lvl4pPr>
            <a:lvl5pPr marL="0" indent="0">
              <a:lnSpc>
                <a:spcPts val="2000"/>
              </a:lnSpc>
              <a:spcBef>
                <a:spcPts val="0"/>
              </a:spcBef>
              <a:buFontTx/>
              <a:buNone/>
              <a:defRPr sz="1800" b="1" i="0">
                <a:solidFill>
                  <a:srgbClr val="004260"/>
                </a:solidFill>
                <a:latin typeface="Arial" charset="0"/>
                <a:ea typeface="Arial" charset="0"/>
                <a:cs typeface="Arial" charset="0"/>
              </a:defRPr>
            </a:lvl5pPr>
          </a:lstStyle>
          <a:p>
            <a:pPr lvl="0"/>
            <a:r>
              <a:rPr lang="en-US"/>
              <a:t>« </a:t>
            </a:r>
            <a:r>
              <a:rPr lang="en-US" err="1"/>
              <a:t>Ceux</a:t>
            </a:r>
            <a:r>
              <a:rPr lang="en-US"/>
              <a:t> qui </a:t>
            </a:r>
            <a:r>
              <a:rPr lang="en-US" err="1"/>
              <a:t>sont</a:t>
            </a:r>
            <a:r>
              <a:rPr lang="en-US"/>
              <a:t> </a:t>
            </a:r>
            <a:r>
              <a:rPr lang="en-US" err="1"/>
              <a:t>assez</a:t>
            </a:r>
            <a:r>
              <a:rPr lang="en-US"/>
              <a:t> </a:t>
            </a:r>
            <a:r>
              <a:rPr lang="en-US" err="1"/>
              <a:t>fous</a:t>
            </a:r>
            <a:r>
              <a:rPr lang="en-US"/>
              <a:t> pour</a:t>
            </a:r>
            <a:br>
              <a:rPr lang="en-US"/>
            </a:br>
            <a:r>
              <a:rPr lang="en-US" err="1"/>
              <a:t>penser</a:t>
            </a:r>
            <a:r>
              <a:rPr lang="en-US"/>
              <a:t> </a:t>
            </a:r>
            <a:r>
              <a:rPr lang="en-US" err="1"/>
              <a:t>qu’ils</a:t>
            </a:r>
            <a:r>
              <a:rPr lang="en-US"/>
              <a:t> </a:t>
            </a:r>
            <a:r>
              <a:rPr lang="en-US" err="1"/>
              <a:t>peuvent</a:t>
            </a:r>
            <a:r>
              <a:rPr lang="en-US"/>
              <a:t> changer le monde,</a:t>
            </a:r>
            <a:br>
              <a:rPr lang="en-US"/>
            </a:br>
            <a:r>
              <a:rPr lang="en-US" err="1"/>
              <a:t>sont</a:t>
            </a:r>
            <a:r>
              <a:rPr lang="en-US"/>
              <a:t> </a:t>
            </a:r>
            <a:r>
              <a:rPr lang="en-US" err="1"/>
              <a:t>ceux</a:t>
            </a:r>
            <a:r>
              <a:rPr lang="en-US"/>
              <a:t> qui le font. »</a:t>
            </a:r>
          </a:p>
        </p:txBody>
      </p:sp>
      <p:sp>
        <p:nvSpPr>
          <p:cNvPr id="12" name="Text Placeholder 18"/>
          <p:cNvSpPr>
            <a:spLocks noGrp="1"/>
          </p:cNvSpPr>
          <p:nvPr>
            <p:ph type="body" sz="quarter" idx="13" hasCustomPrompt="1"/>
          </p:nvPr>
        </p:nvSpPr>
        <p:spPr>
          <a:xfrm>
            <a:off x="673100" y="3467792"/>
            <a:ext cx="4943475" cy="277762"/>
          </a:xfrm>
          <a:prstGeom prst="rect">
            <a:avLst/>
          </a:prstGeom>
        </p:spPr>
        <p:txBody>
          <a:bodyPr lIns="0" tIns="0" rIns="0" bIns="0"/>
          <a:lstStyle>
            <a:lvl1pPr marL="0" indent="0">
              <a:lnSpc>
                <a:spcPts val="1700"/>
              </a:lnSpc>
              <a:spcBef>
                <a:spcPts val="0"/>
              </a:spcBef>
              <a:buFontTx/>
              <a:buNone/>
              <a:defRPr sz="1500" b="1" i="0">
                <a:solidFill>
                  <a:srgbClr val="004260"/>
                </a:solidFill>
                <a:latin typeface="Arial" charset="0"/>
                <a:ea typeface="Arial" charset="0"/>
                <a:cs typeface="Arial" charset="0"/>
              </a:defRPr>
            </a:lvl1pPr>
            <a:lvl2pPr marL="457189" indent="0">
              <a:buFontTx/>
              <a:buNone/>
              <a:defRPr/>
            </a:lvl2pPr>
            <a:lvl3pPr marL="914378" indent="0">
              <a:buFontTx/>
              <a:buNone/>
              <a:defRPr/>
            </a:lvl3pPr>
            <a:lvl4pPr marL="1371566" indent="0">
              <a:buFontTx/>
              <a:buNone/>
              <a:defRPr/>
            </a:lvl4pPr>
            <a:lvl5pPr marL="1828754" indent="0">
              <a:buFontTx/>
              <a:buNone/>
              <a:defRPr/>
            </a:lvl5pPr>
          </a:lstStyle>
          <a:p>
            <a:pPr lvl="0"/>
            <a:r>
              <a:rPr lang="en-US"/>
              <a:t>Steve Jobs</a:t>
            </a:r>
          </a:p>
        </p:txBody>
      </p:sp>
    </p:spTree>
    <p:extLst>
      <p:ext uri="{BB962C8B-B14F-4D97-AF65-F5344CB8AC3E}">
        <p14:creationId xmlns:p14="http://schemas.microsoft.com/office/powerpoint/2010/main" val="37485279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68AB413-D975-40F3-9C70-51C8718867DA}"/>
              </a:ext>
            </a:extLst>
          </p:cNvPr>
          <p:cNvSpPr>
            <a:spLocks noGrp="1"/>
          </p:cNvSpPr>
          <p:nvPr>
            <p:ph type="ctrTitle"/>
          </p:nvPr>
        </p:nvSpPr>
        <p:spPr>
          <a:xfrm>
            <a:off x="1143000" y="841772"/>
            <a:ext cx="6858000" cy="1790700"/>
          </a:xfrm>
        </p:spPr>
        <p:txBody>
          <a:bodyPr anchor="b"/>
          <a:lstStyle>
            <a:lvl1pPr algn="ctr">
              <a:defRPr sz="4500"/>
            </a:lvl1pPr>
          </a:lstStyle>
          <a:p>
            <a:r>
              <a:rPr lang="fr-FR"/>
              <a:t>Modifiez le style du titre</a:t>
            </a:r>
            <a:endParaRPr lang="en-CA"/>
          </a:p>
        </p:txBody>
      </p:sp>
      <p:sp>
        <p:nvSpPr>
          <p:cNvPr id="3" name="Sous-titre 2">
            <a:extLst>
              <a:ext uri="{FF2B5EF4-FFF2-40B4-BE49-F238E27FC236}">
                <a16:creationId xmlns:a16="http://schemas.microsoft.com/office/drawing/2014/main" id="{C011F29C-D118-45A0-A9C5-EA11A712E0DE}"/>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endParaRPr lang="en-CA"/>
          </a:p>
        </p:txBody>
      </p:sp>
      <p:sp>
        <p:nvSpPr>
          <p:cNvPr id="4" name="Espace réservé de la date 3">
            <a:extLst>
              <a:ext uri="{FF2B5EF4-FFF2-40B4-BE49-F238E27FC236}">
                <a16:creationId xmlns:a16="http://schemas.microsoft.com/office/drawing/2014/main" id="{19DD1C94-56D1-4A31-A98C-47B9C17835E2}"/>
              </a:ext>
            </a:extLst>
          </p:cNvPr>
          <p:cNvSpPr>
            <a:spLocks noGrp="1"/>
          </p:cNvSpPr>
          <p:nvPr>
            <p:ph type="dt" sz="half" idx="10"/>
          </p:nvPr>
        </p:nvSpPr>
        <p:spPr/>
        <p:txBody>
          <a:bodyPr/>
          <a:lstStyle/>
          <a:p>
            <a:pPr defTabSz="342900" eaLnBrk="0" fontAlgn="base" hangingPunct="0">
              <a:spcBef>
                <a:spcPct val="0"/>
              </a:spcBef>
              <a:spcAft>
                <a:spcPct val="0"/>
              </a:spcAft>
              <a:defRPr/>
            </a:pPr>
            <a:endParaRPr lang="en-CA">
              <a:solidFill>
                <a:srgbClr val="000000"/>
              </a:solidFill>
              <a:latin typeface="Arial" charset="0"/>
            </a:endParaRPr>
          </a:p>
        </p:txBody>
      </p:sp>
      <p:sp>
        <p:nvSpPr>
          <p:cNvPr id="5" name="Espace réservé du pied de page 4">
            <a:extLst>
              <a:ext uri="{FF2B5EF4-FFF2-40B4-BE49-F238E27FC236}">
                <a16:creationId xmlns:a16="http://schemas.microsoft.com/office/drawing/2014/main" id="{75862C62-BE82-45EC-9B6F-190CBDFA49FA}"/>
              </a:ext>
            </a:extLst>
          </p:cNvPr>
          <p:cNvSpPr>
            <a:spLocks noGrp="1"/>
          </p:cNvSpPr>
          <p:nvPr>
            <p:ph type="ftr" sz="quarter" idx="11"/>
          </p:nvPr>
        </p:nvSpPr>
        <p:spPr/>
        <p:txBody>
          <a:bodyPr/>
          <a:lstStyle/>
          <a:p>
            <a:pPr defTabSz="342900" eaLnBrk="0" fontAlgn="base" hangingPunct="0">
              <a:spcBef>
                <a:spcPct val="0"/>
              </a:spcBef>
              <a:spcAft>
                <a:spcPct val="0"/>
              </a:spcAft>
              <a:defRPr/>
            </a:pPr>
            <a:endParaRPr lang="en-CA">
              <a:solidFill>
                <a:srgbClr val="000000"/>
              </a:solidFill>
              <a:latin typeface="Arial" charset="0"/>
            </a:endParaRPr>
          </a:p>
        </p:txBody>
      </p:sp>
      <p:sp>
        <p:nvSpPr>
          <p:cNvPr id="6" name="Espace réservé du numéro de diapositive 5">
            <a:extLst>
              <a:ext uri="{FF2B5EF4-FFF2-40B4-BE49-F238E27FC236}">
                <a16:creationId xmlns:a16="http://schemas.microsoft.com/office/drawing/2014/main" id="{1DD1B8A8-0EAB-4951-AE91-828F64D695A8}"/>
              </a:ext>
            </a:extLst>
          </p:cNvPr>
          <p:cNvSpPr>
            <a:spLocks noGrp="1"/>
          </p:cNvSpPr>
          <p:nvPr>
            <p:ph type="sldNum" sz="quarter" idx="12"/>
          </p:nvPr>
        </p:nvSpPr>
        <p:spPr/>
        <p:txBody>
          <a:bodyPr/>
          <a:lstStyle/>
          <a:p>
            <a:pPr defTabSz="342900" eaLnBrk="0" fontAlgn="base" hangingPunct="0">
              <a:spcBef>
                <a:spcPct val="0"/>
              </a:spcBef>
              <a:spcAft>
                <a:spcPct val="0"/>
              </a:spcAft>
              <a:defRPr/>
            </a:pPr>
            <a:fld id="{E3AC9CA4-24D0-49B8-B18E-5D345B9E40FE}" type="slidenum">
              <a:rPr lang="en-CA" smtClean="0">
                <a:solidFill>
                  <a:srgbClr val="000000"/>
                </a:solidFill>
                <a:latin typeface="Arial" charset="0"/>
              </a:rPr>
              <a:pPr defTabSz="342900" eaLnBrk="0" fontAlgn="base" hangingPunct="0">
                <a:spcBef>
                  <a:spcPct val="0"/>
                </a:spcBef>
                <a:spcAft>
                  <a:spcPct val="0"/>
                </a:spcAft>
                <a:defRPr/>
              </a:pPr>
              <a:t>‹N°›</a:t>
            </a:fld>
            <a:endParaRPr lang="en-CA">
              <a:solidFill>
                <a:srgbClr val="000000"/>
              </a:solidFill>
              <a:latin typeface="Arial" charset="0"/>
            </a:endParaRPr>
          </a:p>
        </p:txBody>
      </p:sp>
    </p:spTree>
    <p:extLst>
      <p:ext uri="{BB962C8B-B14F-4D97-AF65-F5344CB8AC3E}">
        <p14:creationId xmlns:p14="http://schemas.microsoft.com/office/powerpoint/2010/main" val="41590686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AS - 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chemeClr val="bg1"/>
                </a:solidFill>
              </a:defRPr>
            </a:lvl1pPr>
          </a:lstStyle>
          <a:p>
            <a:r>
              <a:rPr lang="fr-FR"/>
              <a:t>Modifiez le style du titre</a:t>
            </a:r>
            <a:endParaRPr lang="en-US"/>
          </a:p>
        </p:txBody>
      </p:sp>
    </p:spTree>
    <p:custDataLst>
      <p:tags r:id="rId1"/>
    </p:custDataLst>
    <p:extLst>
      <p:ext uri="{BB962C8B-B14F-4D97-AF65-F5344CB8AC3E}">
        <p14:creationId xmlns:p14="http://schemas.microsoft.com/office/powerpoint/2010/main" val="685891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640CBF3-EFAA-4C95-ACBF-B0637E030EBB}"/>
              </a:ext>
            </a:extLst>
          </p:cNvPr>
          <p:cNvSpPr>
            <a:spLocks noGrp="1"/>
          </p:cNvSpPr>
          <p:nvPr>
            <p:ph type="sldNum" sz="quarter" idx="10"/>
          </p:nvPr>
        </p:nvSpPr>
        <p:spPr/>
        <p:txBody>
          <a:bodyPr/>
          <a:lstStyle/>
          <a:p>
            <a:pPr defTabSz="342900" eaLnBrk="0" fontAlgn="base" hangingPunct="0">
              <a:spcBef>
                <a:spcPct val="0"/>
              </a:spcBef>
              <a:spcAft>
                <a:spcPct val="0"/>
              </a:spcAft>
              <a:defRPr/>
            </a:pPr>
            <a:fld id="{E3AC9CA4-24D0-49B8-B18E-5D345B9E40FE}" type="slidenum">
              <a:rPr lang="en-CA" smtClean="0">
                <a:solidFill>
                  <a:srgbClr val="000000"/>
                </a:solidFill>
                <a:latin typeface="Arial" charset="0"/>
              </a:rPr>
              <a:pPr defTabSz="342900" eaLnBrk="0" fontAlgn="base" hangingPunct="0">
                <a:spcBef>
                  <a:spcPct val="0"/>
                </a:spcBef>
                <a:spcAft>
                  <a:spcPct val="0"/>
                </a:spcAft>
                <a:defRPr/>
              </a:pPr>
              <a:t>‹N°›</a:t>
            </a:fld>
            <a:endParaRPr lang="en-CA">
              <a:solidFill>
                <a:srgbClr val="000000"/>
              </a:solidFill>
              <a:latin typeface="Arial" charset="0"/>
            </a:endParaRPr>
          </a:p>
        </p:txBody>
      </p:sp>
    </p:spTree>
    <p:extLst>
      <p:ext uri="{BB962C8B-B14F-4D97-AF65-F5344CB8AC3E}">
        <p14:creationId xmlns:p14="http://schemas.microsoft.com/office/powerpoint/2010/main" val="31997682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Vide">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640CBF3-EFAA-4C95-ACBF-B0637E030EBB}"/>
              </a:ext>
            </a:extLst>
          </p:cNvPr>
          <p:cNvSpPr>
            <a:spLocks noGrp="1"/>
          </p:cNvSpPr>
          <p:nvPr>
            <p:ph type="sldNum" sz="quarter" idx="10"/>
          </p:nvPr>
        </p:nvSpPr>
        <p:spPr/>
        <p:txBody>
          <a:bodyPr/>
          <a:lstStyle/>
          <a:p>
            <a:pPr defTabSz="342900" eaLnBrk="0" fontAlgn="base" hangingPunct="0">
              <a:spcBef>
                <a:spcPct val="0"/>
              </a:spcBef>
              <a:spcAft>
                <a:spcPct val="0"/>
              </a:spcAft>
              <a:defRPr/>
            </a:pPr>
            <a:fld id="{E3AC9CA4-24D0-49B8-B18E-5D345B9E40FE}" type="slidenum">
              <a:rPr lang="en-CA" smtClean="0">
                <a:solidFill>
                  <a:srgbClr val="000000"/>
                </a:solidFill>
                <a:latin typeface="Arial" charset="0"/>
              </a:rPr>
              <a:pPr defTabSz="342900" eaLnBrk="0" fontAlgn="base" hangingPunct="0">
                <a:spcBef>
                  <a:spcPct val="0"/>
                </a:spcBef>
                <a:spcAft>
                  <a:spcPct val="0"/>
                </a:spcAft>
                <a:defRPr/>
              </a:pPr>
              <a:t>‹N°›</a:t>
            </a:fld>
            <a:endParaRPr lang="en-CA">
              <a:solidFill>
                <a:srgbClr val="000000"/>
              </a:solidFill>
              <a:latin typeface="Arial" charset="0"/>
            </a:endParaRPr>
          </a:p>
        </p:txBody>
      </p:sp>
      <p:sp>
        <p:nvSpPr>
          <p:cNvPr id="3" name="Rectangle 2">
            <a:extLst>
              <a:ext uri="{FF2B5EF4-FFF2-40B4-BE49-F238E27FC236}">
                <a16:creationId xmlns:a16="http://schemas.microsoft.com/office/drawing/2014/main" id="{0903C851-EEFB-48B9-972A-585F46D8FF6F}"/>
              </a:ext>
            </a:extLst>
          </p:cNvPr>
          <p:cNvSpPr/>
          <p:nvPr userDrawn="1"/>
        </p:nvSpPr>
        <p:spPr>
          <a:xfrm>
            <a:off x="1" y="0"/>
            <a:ext cx="9144000" cy="1018095"/>
          </a:xfrm>
          <a:prstGeom prst="rect">
            <a:avLst/>
          </a:prstGeom>
          <a:gradFill>
            <a:gsLst>
              <a:gs pos="0">
                <a:schemeClr val="bg1"/>
              </a:gs>
              <a:gs pos="100000">
                <a:schemeClr val="tx2">
                  <a:lumMod val="10000"/>
                  <a:lumOff val="90000"/>
                </a:schemeClr>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1350"/>
          </a:p>
        </p:txBody>
      </p:sp>
    </p:spTree>
    <p:extLst>
      <p:ext uri="{BB962C8B-B14F-4D97-AF65-F5344CB8AC3E}">
        <p14:creationId xmlns:p14="http://schemas.microsoft.com/office/powerpoint/2010/main" val="35597190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3_V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6A348BF-C7C3-4C13-9EFA-75161ED4550A}"/>
              </a:ext>
            </a:extLst>
          </p:cNvPr>
          <p:cNvSpPr/>
          <p:nvPr userDrawn="1"/>
        </p:nvSpPr>
        <p:spPr>
          <a:xfrm>
            <a:off x="1" y="0"/>
            <a:ext cx="9144000" cy="1018095"/>
          </a:xfrm>
          <a:prstGeom prst="rect">
            <a:avLst/>
          </a:prstGeom>
          <a:gradFill>
            <a:gsLst>
              <a:gs pos="0">
                <a:schemeClr val="bg1"/>
              </a:gs>
              <a:gs pos="100000">
                <a:schemeClr val="tx2">
                  <a:lumMod val="10000"/>
                  <a:lumOff val="90000"/>
                </a:schemeClr>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1350"/>
          </a:p>
        </p:txBody>
      </p:sp>
      <p:sp>
        <p:nvSpPr>
          <p:cNvPr id="2" name="Espace réservé du numéro de diapositive 1">
            <a:extLst>
              <a:ext uri="{FF2B5EF4-FFF2-40B4-BE49-F238E27FC236}">
                <a16:creationId xmlns:a16="http://schemas.microsoft.com/office/drawing/2014/main" id="{4640CBF3-EFAA-4C95-ACBF-B0637E030EBB}"/>
              </a:ext>
            </a:extLst>
          </p:cNvPr>
          <p:cNvSpPr>
            <a:spLocks noGrp="1"/>
          </p:cNvSpPr>
          <p:nvPr>
            <p:ph type="sldNum" sz="quarter" idx="10"/>
          </p:nvPr>
        </p:nvSpPr>
        <p:spPr/>
        <p:txBody>
          <a:bodyPr/>
          <a:lstStyle/>
          <a:p>
            <a:pPr defTabSz="342900" eaLnBrk="0" fontAlgn="base" hangingPunct="0">
              <a:spcBef>
                <a:spcPct val="0"/>
              </a:spcBef>
              <a:spcAft>
                <a:spcPct val="0"/>
              </a:spcAft>
              <a:defRPr/>
            </a:pPr>
            <a:fld id="{E3AC9CA4-24D0-49B8-B18E-5D345B9E40FE}" type="slidenum">
              <a:rPr lang="en-CA" smtClean="0">
                <a:solidFill>
                  <a:srgbClr val="000000"/>
                </a:solidFill>
                <a:latin typeface="Arial" charset="0"/>
              </a:rPr>
              <a:pPr defTabSz="342900" eaLnBrk="0" fontAlgn="base" hangingPunct="0">
                <a:spcBef>
                  <a:spcPct val="0"/>
                </a:spcBef>
                <a:spcAft>
                  <a:spcPct val="0"/>
                </a:spcAft>
                <a:defRPr/>
              </a:pPr>
              <a:t>‹N°›</a:t>
            </a:fld>
            <a:endParaRPr lang="en-CA">
              <a:solidFill>
                <a:srgbClr val="000000"/>
              </a:solidFill>
              <a:latin typeface="Arial" charset="0"/>
            </a:endParaRPr>
          </a:p>
        </p:txBody>
      </p:sp>
      <p:pic>
        <p:nvPicPr>
          <p:cNvPr id="4" name="Picture 3">
            <a:extLst>
              <a:ext uri="{FF2B5EF4-FFF2-40B4-BE49-F238E27FC236}">
                <a16:creationId xmlns:a16="http://schemas.microsoft.com/office/drawing/2014/main" id="{354AC038-3768-48BF-A314-C9601D7925E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32994"/>
          <a:stretch/>
        </p:blipFill>
        <p:spPr>
          <a:xfrm>
            <a:off x="0" y="0"/>
            <a:ext cx="3261360" cy="5143500"/>
          </a:xfrm>
          <a:prstGeom prst="rect">
            <a:avLst/>
          </a:prstGeom>
        </p:spPr>
      </p:pic>
    </p:spTree>
    <p:extLst>
      <p:ext uri="{BB962C8B-B14F-4D97-AF65-F5344CB8AC3E}">
        <p14:creationId xmlns:p14="http://schemas.microsoft.com/office/powerpoint/2010/main" val="15202593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5_V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6A348BF-C7C3-4C13-9EFA-75161ED4550A}"/>
              </a:ext>
            </a:extLst>
          </p:cNvPr>
          <p:cNvSpPr/>
          <p:nvPr userDrawn="1"/>
        </p:nvSpPr>
        <p:spPr>
          <a:xfrm>
            <a:off x="1" y="0"/>
            <a:ext cx="9144000" cy="1018095"/>
          </a:xfrm>
          <a:prstGeom prst="rect">
            <a:avLst/>
          </a:prstGeom>
          <a:gradFill>
            <a:gsLst>
              <a:gs pos="0">
                <a:schemeClr val="bg1"/>
              </a:gs>
              <a:gs pos="100000">
                <a:schemeClr val="tx2">
                  <a:lumMod val="10000"/>
                  <a:lumOff val="90000"/>
                </a:schemeClr>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1350"/>
          </a:p>
        </p:txBody>
      </p:sp>
      <p:sp>
        <p:nvSpPr>
          <p:cNvPr id="2" name="Espace réservé du numéro de diapositive 1">
            <a:extLst>
              <a:ext uri="{FF2B5EF4-FFF2-40B4-BE49-F238E27FC236}">
                <a16:creationId xmlns:a16="http://schemas.microsoft.com/office/drawing/2014/main" id="{4640CBF3-EFAA-4C95-ACBF-B0637E030EBB}"/>
              </a:ext>
            </a:extLst>
          </p:cNvPr>
          <p:cNvSpPr>
            <a:spLocks noGrp="1"/>
          </p:cNvSpPr>
          <p:nvPr>
            <p:ph type="sldNum" sz="quarter" idx="10"/>
          </p:nvPr>
        </p:nvSpPr>
        <p:spPr/>
        <p:txBody>
          <a:bodyPr/>
          <a:lstStyle/>
          <a:p>
            <a:pPr defTabSz="342900" eaLnBrk="0" fontAlgn="base" hangingPunct="0">
              <a:spcBef>
                <a:spcPct val="0"/>
              </a:spcBef>
              <a:spcAft>
                <a:spcPct val="0"/>
              </a:spcAft>
              <a:defRPr/>
            </a:pPr>
            <a:fld id="{E3AC9CA4-24D0-49B8-B18E-5D345B9E40FE}" type="slidenum">
              <a:rPr lang="en-CA" smtClean="0">
                <a:solidFill>
                  <a:srgbClr val="000000"/>
                </a:solidFill>
                <a:latin typeface="Arial" charset="0"/>
              </a:rPr>
              <a:pPr defTabSz="342900" eaLnBrk="0" fontAlgn="base" hangingPunct="0">
                <a:spcBef>
                  <a:spcPct val="0"/>
                </a:spcBef>
                <a:spcAft>
                  <a:spcPct val="0"/>
                </a:spcAft>
                <a:defRPr/>
              </a:pPr>
              <a:t>‹N°›</a:t>
            </a:fld>
            <a:endParaRPr lang="en-CA">
              <a:solidFill>
                <a:srgbClr val="000000"/>
              </a:solidFill>
              <a:latin typeface="Arial" charset="0"/>
            </a:endParaRPr>
          </a:p>
        </p:txBody>
      </p:sp>
      <p:pic>
        <p:nvPicPr>
          <p:cNvPr id="6" name="Picture 5">
            <a:extLst>
              <a:ext uri="{FF2B5EF4-FFF2-40B4-BE49-F238E27FC236}">
                <a16:creationId xmlns:a16="http://schemas.microsoft.com/office/drawing/2014/main" id="{6AEB27DE-3ABD-4A87-8558-606B52C49E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3600" t="13162" r="30734" b="2475"/>
          <a:stretch/>
        </p:blipFill>
        <p:spPr>
          <a:xfrm>
            <a:off x="0" y="0"/>
            <a:ext cx="3261360" cy="5143500"/>
          </a:xfrm>
          <a:prstGeom prst="rect">
            <a:avLst/>
          </a:prstGeom>
        </p:spPr>
      </p:pic>
    </p:spTree>
    <p:extLst>
      <p:ext uri="{BB962C8B-B14F-4D97-AF65-F5344CB8AC3E}">
        <p14:creationId xmlns:p14="http://schemas.microsoft.com/office/powerpoint/2010/main" val="20703998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4_V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6A348BF-C7C3-4C13-9EFA-75161ED4550A}"/>
              </a:ext>
            </a:extLst>
          </p:cNvPr>
          <p:cNvSpPr/>
          <p:nvPr userDrawn="1"/>
        </p:nvSpPr>
        <p:spPr>
          <a:xfrm>
            <a:off x="1" y="0"/>
            <a:ext cx="9144000" cy="1018095"/>
          </a:xfrm>
          <a:prstGeom prst="rect">
            <a:avLst/>
          </a:prstGeom>
          <a:gradFill>
            <a:gsLst>
              <a:gs pos="0">
                <a:schemeClr val="bg1"/>
              </a:gs>
              <a:gs pos="100000">
                <a:schemeClr val="tx2">
                  <a:lumMod val="10000"/>
                  <a:lumOff val="90000"/>
                </a:schemeClr>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1350"/>
          </a:p>
        </p:txBody>
      </p:sp>
      <p:sp>
        <p:nvSpPr>
          <p:cNvPr id="2" name="Espace réservé du numéro de diapositive 1">
            <a:extLst>
              <a:ext uri="{FF2B5EF4-FFF2-40B4-BE49-F238E27FC236}">
                <a16:creationId xmlns:a16="http://schemas.microsoft.com/office/drawing/2014/main" id="{4640CBF3-EFAA-4C95-ACBF-B0637E030EBB}"/>
              </a:ext>
            </a:extLst>
          </p:cNvPr>
          <p:cNvSpPr>
            <a:spLocks noGrp="1"/>
          </p:cNvSpPr>
          <p:nvPr>
            <p:ph type="sldNum" sz="quarter" idx="10"/>
          </p:nvPr>
        </p:nvSpPr>
        <p:spPr/>
        <p:txBody>
          <a:bodyPr/>
          <a:lstStyle/>
          <a:p>
            <a:pPr defTabSz="342900" eaLnBrk="0" fontAlgn="base" hangingPunct="0">
              <a:spcBef>
                <a:spcPct val="0"/>
              </a:spcBef>
              <a:spcAft>
                <a:spcPct val="0"/>
              </a:spcAft>
              <a:defRPr/>
            </a:pPr>
            <a:fld id="{E3AC9CA4-24D0-49B8-B18E-5D345B9E40FE}" type="slidenum">
              <a:rPr lang="en-CA" smtClean="0">
                <a:solidFill>
                  <a:srgbClr val="000000"/>
                </a:solidFill>
                <a:latin typeface="Arial" charset="0"/>
              </a:rPr>
              <a:pPr defTabSz="342900" eaLnBrk="0" fontAlgn="base" hangingPunct="0">
                <a:spcBef>
                  <a:spcPct val="0"/>
                </a:spcBef>
                <a:spcAft>
                  <a:spcPct val="0"/>
                </a:spcAft>
                <a:defRPr/>
              </a:pPr>
              <a:t>‹N°›</a:t>
            </a:fld>
            <a:endParaRPr lang="en-CA">
              <a:solidFill>
                <a:srgbClr val="000000"/>
              </a:solidFill>
              <a:latin typeface="Arial" charset="0"/>
            </a:endParaRPr>
          </a:p>
        </p:txBody>
      </p:sp>
      <p:pic>
        <p:nvPicPr>
          <p:cNvPr id="6" name="Picture 5">
            <a:extLst>
              <a:ext uri="{FF2B5EF4-FFF2-40B4-BE49-F238E27FC236}">
                <a16:creationId xmlns:a16="http://schemas.microsoft.com/office/drawing/2014/main" id="{FED72035-32C3-4A2F-A8A7-9A8B5A91595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8273" b="1288"/>
          <a:stretch/>
        </p:blipFill>
        <p:spPr>
          <a:xfrm>
            <a:off x="0" y="0"/>
            <a:ext cx="3261360" cy="5143493"/>
          </a:xfrm>
          <a:prstGeom prst="rect">
            <a:avLst/>
          </a:prstGeom>
        </p:spPr>
      </p:pic>
    </p:spTree>
    <p:extLst>
      <p:ext uri="{BB962C8B-B14F-4D97-AF65-F5344CB8AC3E}">
        <p14:creationId xmlns:p14="http://schemas.microsoft.com/office/powerpoint/2010/main" val="42268620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2_Vide">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640CBF3-EFAA-4C95-ACBF-B0637E030EBB}"/>
              </a:ext>
            </a:extLst>
          </p:cNvPr>
          <p:cNvSpPr>
            <a:spLocks noGrp="1"/>
          </p:cNvSpPr>
          <p:nvPr>
            <p:ph type="sldNum" sz="quarter" idx="10"/>
          </p:nvPr>
        </p:nvSpPr>
        <p:spPr/>
        <p:txBody>
          <a:bodyPr/>
          <a:lstStyle/>
          <a:p>
            <a:pPr defTabSz="342900" eaLnBrk="0" fontAlgn="base" hangingPunct="0">
              <a:spcBef>
                <a:spcPct val="0"/>
              </a:spcBef>
              <a:spcAft>
                <a:spcPct val="0"/>
              </a:spcAft>
              <a:defRPr/>
            </a:pPr>
            <a:fld id="{E3AC9CA4-24D0-49B8-B18E-5D345B9E40FE}" type="slidenum">
              <a:rPr lang="en-CA" smtClean="0">
                <a:solidFill>
                  <a:srgbClr val="000000"/>
                </a:solidFill>
                <a:latin typeface="Arial" charset="0"/>
              </a:rPr>
              <a:pPr defTabSz="342900" eaLnBrk="0" fontAlgn="base" hangingPunct="0">
                <a:spcBef>
                  <a:spcPct val="0"/>
                </a:spcBef>
                <a:spcAft>
                  <a:spcPct val="0"/>
                </a:spcAft>
                <a:defRPr/>
              </a:pPr>
              <a:t>‹N°›</a:t>
            </a:fld>
            <a:endParaRPr lang="en-CA">
              <a:solidFill>
                <a:srgbClr val="000000"/>
              </a:solidFill>
              <a:latin typeface="Arial" charset="0"/>
            </a:endParaRPr>
          </a:p>
        </p:txBody>
      </p:sp>
      <p:sp>
        <p:nvSpPr>
          <p:cNvPr id="3" name="Rectangle 2">
            <a:extLst>
              <a:ext uri="{FF2B5EF4-FFF2-40B4-BE49-F238E27FC236}">
                <a16:creationId xmlns:a16="http://schemas.microsoft.com/office/drawing/2014/main" id="{55570D42-2238-41EA-8133-BA3AF61212D0}"/>
              </a:ext>
            </a:extLst>
          </p:cNvPr>
          <p:cNvSpPr/>
          <p:nvPr userDrawn="1"/>
        </p:nvSpPr>
        <p:spPr>
          <a:xfrm rot="18900000">
            <a:off x="-807245" y="757237"/>
            <a:ext cx="3836194" cy="792956"/>
          </a:xfrm>
          <a:prstGeom prst="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1350"/>
          </a:p>
        </p:txBody>
      </p:sp>
      <p:sp>
        <p:nvSpPr>
          <p:cNvPr id="6" name="Rectangle 5">
            <a:extLst>
              <a:ext uri="{FF2B5EF4-FFF2-40B4-BE49-F238E27FC236}">
                <a16:creationId xmlns:a16="http://schemas.microsoft.com/office/drawing/2014/main" id="{82D912C3-E98C-4B94-8E97-2DF2D07D4E9D}"/>
              </a:ext>
            </a:extLst>
          </p:cNvPr>
          <p:cNvSpPr/>
          <p:nvPr userDrawn="1"/>
        </p:nvSpPr>
        <p:spPr>
          <a:xfrm rot="18900000">
            <a:off x="-1288542" y="1204798"/>
            <a:ext cx="5418140" cy="792956"/>
          </a:xfrm>
          <a:prstGeom prst="rect">
            <a:avLst/>
          </a:prstGeom>
          <a:solidFill>
            <a:srgbClr val="DCF4F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1350"/>
          </a:p>
        </p:txBody>
      </p:sp>
    </p:spTree>
    <p:extLst>
      <p:ext uri="{BB962C8B-B14F-4D97-AF65-F5344CB8AC3E}">
        <p14:creationId xmlns:p14="http://schemas.microsoft.com/office/powerpoint/2010/main" val="38983331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re et contenu - jaune">
    <p:spTree>
      <p:nvGrpSpPr>
        <p:cNvPr id="1" name=""/>
        <p:cNvGrpSpPr/>
        <p:nvPr/>
      </p:nvGrpSpPr>
      <p:grpSpPr>
        <a:xfrm>
          <a:off x="0" y="0"/>
          <a:ext cx="0" cy="0"/>
          <a:chOff x="0" y="0"/>
          <a:chExt cx="0" cy="0"/>
        </a:xfrm>
      </p:grpSpPr>
      <p:sp>
        <p:nvSpPr>
          <p:cNvPr id="7" name="Rectangle 6"/>
          <p:cNvSpPr/>
          <p:nvPr userDrawn="1"/>
        </p:nvSpPr>
        <p:spPr>
          <a:xfrm>
            <a:off x="0" y="1"/>
            <a:ext cx="9144000" cy="968084"/>
          </a:xfrm>
          <a:prstGeom prst="rect">
            <a:avLst/>
          </a:prstGeom>
          <a:solidFill>
            <a:srgbClr val="FFFAD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re 1"/>
          <p:cNvSpPr>
            <a:spLocks noGrp="1"/>
          </p:cNvSpPr>
          <p:nvPr>
            <p:ph type="title"/>
          </p:nvPr>
        </p:nvSpPr>
        <p:spPr>
          <a:xfrm>
            <a:off x="457201" y="205980"/>
            <a:ext cx="7615541" cy="664408"/>
          </a:xfrm>
        </p:spPr>
        <p:txBody>
          <a:bodyPr lIns="0" tIns="0" rIns="0" bIns="0" anchor="b" anchorCtr="0">
            <a:noAutofit/>
          </a:bodyPr>
          <a:lstStyle>
            <a:lvl1pPr algn="l">
              <a:lnSpc>
                <a:spcPts val="2200"/>
              </a:lnSpc>
              <a:defRPr sz="2000" b="1">
                <a:solidFill>
                  <a:srgbClr val="F50000"/>
                </a:solidFill>
                <a:latin typeface="Gilroy SemiBold" panose="00000700000000000000" pitchFamily="50" charset="0"/>
                <a:cs typeface="Calibri"/>
              </a:defRPr>
            </a:lvl1pPr>
          </a:lstStyle>
          <a:p>
            <a:r>
              <a:rPr lang="en-US" err="1"/>
              <a:t>Cliquez</a:t>
            </a:r>
            <a:r>
              <a:rPr lang="en-US"/>
              <a:t> et </a:t>
            </a:r>
            <a:r>
              <a:rPr lang="en-US" err="1"/>
              <a:t>modifiez</a:t>
            </a:r>
            <a:r>
              <a:rPr lang="en-US"/>
              <a:t> le </a:t>
            </a:r>
            <a:r>
              <a:rPr lang="en-US" err="1"/>
              <a:t>titre</a:t>
            </a:r>
            <a:endParaRPr lang="fr-FR"/>
          </a:p>
        </p:txBody>
      </p:sp>
      <p:sp>
        <p:nvSpPr>
          <p:cNvPr id="3" name="Espace réservé du contenu 2"/>
          <p:cNvSpPr>
            <a:spLocks noGrp="1"/>
          </p:cNvSpPr>
          <p:nvPr>
            <p:ph idx="1"/>
          </p:nvPr>
        </p:nvSpPr>
        <p:spPr>
          <a:xfrm>
            <a:off x="457200" y="1305581"/>
            <a:ext cx="8229600" cy="3289041"/>
          </a:xfrm>
        </p:spPr>
        <p:txBody>
          <a:bodyPr lIns="0" tIns="0" rIns="0" bIns="0">
            <a:noAutofit/>
          </a:bodyPr>
          <a:lstStyle>
            <a:lvl1pPr marL="0" indent="0">
              <a:lnSpc>
                <a:spcPts val="1800"/>
              </a:lnSpc>
              <a:spcBef>
                <a:spcPts val="1800"/>
              </a:spcBef>
              <a:buFontTx/>
              <a:buNone/>
              <a:defRPr sz="1600" b="1" i="0">
                <a:solidFill>
                  <a:srgbClr val="02253C"/>
                </a:solidFill>
                <a:latin typeface="Gilroy SemiBold" panose="00000700000000000000" pitchFamily="50" charset="0"/>
                <a:cs typeface="Calibri"/>
              </a:defRPr>
            </a:lvl1pPr>
            <a:lvl2pPr marL="285743" indent="-285743">
              <a:lnSpc>
                <a:spcPts val="1800"/>
              </a:lnSpc>
              <a:spcBef>
                <a:spcPts val="1800"/>
              </a:spcBef>
              <a:buClr>
                <a:srgbClr val="F50000"/>
              </a:buClr>
              <a:buFont typeface="Arial" panose="020B0604020202020204" pitchFamily="34" charset="0"/>
              <a:buChar char="•"/>
              <a:defRPr sz="1500">
                <a:latin typeface="Gilroy Light" panose="00000400000000000000" pitchFamily="50" charset="0"/>
                <a:cs typeface="Calibri"/>
              </a:defRPr>
            </a:lvl2pPr>
            <a:lvl3pPr marL="514337" indent="-285743">
              <a:lnSpc>
                <a:spcPts val="1600"/>
              </a:lnSpc>
              <a:spcBef>
                <a:spcPts val="400"/>
              </a:spcBef>
              <a:buFont typeface="Arial" panose="020B0604020202020204" pitchFamily="34" charset="0"/>
              <a:buChar char="•"/>
              <a:defRPr sz="1300">
                <a:latin typeface="Gilroy Light" panose="00000400000000000000" pitchFamily="50" charset="0"/>
                <a:cs typeface="Calibri"/>
              </a:defRPr>
            </a:lvl3pPr>
          </a:lstStyle>
          <a:p>
            <a:pPr lvl="0"/>
            <a:r>
              <a:rPr lang="en-US" err="1"/>
              <a:t>Cliquez</a:t>
            </a:r>
            <a:r>
              <a:rPr lang="en-US"/>
              <a:t> pour modifier les styles du </a:t>
            </a:r>
            <a:r>
              <a:rPr lang="en-US" err="1"/>
              <a:t>texte</a:t>
            </a:r>
            <a:r>
              <a:rPr lang="en-US"/>
              <a:t> du masque</a:t>
            </a:r>
          </a:p>
          <a:p>
            <a:pPr lvl="1"/>
            <a:r>
              <a:rPr lang="en-US" err="1"/>
              <a:t>Deuxième</a:t>
            </a:r>
            <a:r>
              <a:rPr lang="en-US"/>
              <a:t> </a:t>
            </a:r>
            <a:r>
              <a:rPr lang="en-US" err="1"/>
              <a:t>niveau</a:t>
            </a:r>
            <a:endParaRPr lang="en-US"/>
          </a:p>
          <a:p>
            <a:pPr lvl="2"/>
            <a:r>
              <a:rPr lang="en-US" err="1"/>
              <a:t>Troisième</a:t>
            </a:r>
            <a:r>
              <a:rPr lang="en-US"/>
              <a:t> </a:t>
            </a:r>
            <a:r>
              <a:rPr lang="en-US" err="1"/>
              <a:t>niveau</a:t>
            </a:r>
            <a:endParaRPr lang="en-US"/>
          </a:p>
        </p:txBody>
      </p:sp>
      <p:sp>
        <p:nvSpPr>
          <p:cNvPr id="5" name="Espace réservé du pied de page 4"/>
          <p:cNvSpPr>
            <a:spLocks noGrp="1"/>
          </p:cNvSpPr>
          <p:nvPr>
            <p:ph type="ftr" sz="quarter" idx="11"/>
          </p:nvPr>
        </p:nvSpPr>
        <p:spPr/>
        <p:txBody>
          <a:bodyPr/>
          <a:lstStyle>
            <a:lvl1pPr>
              <a:defRPr>
                <a:latin typeface="Gilroy Light" panose="00000400000000000000" pitchFamily="50" charset="0"/>
              </a:defRPr>
            </a:lvl1pPr>
          </a:lstStyle>
          <a:p>
            <a:pPr defTabSz="342900" eaLnBrk="0" fontAlgn="base" hangingPunct="0">
              <a:spcBef>
                <a:spcPct val="0"/>
              </a:spcBef>
              <a:spcAft>
                <a:spcPct val="0"/>
              </a:spcAft>
              <a:defRPr/>
            </a:pPr>
            <a:endParaRPr 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atin typeface="Gilroy Light" panose="00000400000000000000" pitchFamily="50" charset="0"/>
              </a:defRPr>
            </a:lvl1pPr>
          </a:lstStyle>
          <a:p>
            <a:pPr defTabSz="342900" eaLnBrk="0" fontAlgn="base" hangingPunct="0">
              <a:spcBef>
                <a:spcPct val="0"/>
              </a:spcBef>
              <a:spcAft>
                <a:spcPct val="0"/>
              </a:spcAft>
              <a:defRPr/>
            </a:pPr>
            <a:fld id="{B99A8B02-80E3-7842-9258-53241E1D56E4}" type="slidenum">
              <a:rPr lang="fr-CA" smtClean="0">
                <a:solidFill>
                  <a:srgbClr val="000000"/>
                </a:solidFill>
              </a:rPr>
              <a:pPr defTabSz="342900" eaLnBrk="0" fontAlgn="base" hangingPunct="0">
                <a:spcBef>
                  <a:spcPct val="0"/>
                </a:spcBef>
                <a:spcAft>
                  <a:spcPct val="0"/>
                </a:spcAft>
                <a:defRPr/>
              </a:pPr>
              <a:t>‹N°›</a:t>
            </a:fld>
            <a:endParaRPr lang="fr-CA">
              <a:solidFill>
                <a:srgbClr val="000000"/>
              </a:solidFill>
            </a:endParaRPr>
          </a:p>
        </p:txBody>
      </p:sp>
      <p:pic>
        <p:nvPicPr>
          <p:cNvPr id="8" name="Image 7" descr="BN_Burs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41480" y="380664"/>
            <a:ext cx="445322" cy="445322"/>
          </a:xfrm>
          <a:prstGeom prst="rect">
            <a:avLst/>
          </a:prstGeom>
        </p:spPr>
      </p:pic>
      <p:cxnSp>
        <p:nvCxnSpPr>
          <p:cNvPr id="9" name="Connecteur droit 8"/>
          <p:cNvCxnSpPr/>
          <p:nvPr userDrawn="1"/>
        </p:nvCxnSpPr>
        <p:spPr>
          <a:xfrm>
            <a:off x="8382000" y="4821815"/>
            <a:ext cx="0" cy="108961"/>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Connecteur droit 9"/>
          <p:cNvCxnSpPr/>
          <p:nvPr userDrawn="1"/>
        </p:nvCxnSpPr>
        <p:spPr>
          <a:xfrm>
            <a:off x="8686800" y="4821815"/>
            <a:ext cx="0" cy="108961"/>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52244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re et contenu - jaune">
    <p:spTree>
      <p:nvGrpSpPr>
        <p:cNvPr id="1" name=""/>
        <p:cNvGrpSpPr/>
        <p:nvPr/>
      </p:nvGrpSpPr>
      <p:grpSpPr>
        <a:xfrm>
          <a:off x="0" y="0"/>
          <a:ext cx="0" cy="0"/>
          <a:chOff x="0" y="0"/>
          <a:chExt cx="0" cy="0"/>
        </a:xfrm>
      </p:grpSpPr>
      <p:sp>
        <p:nvSpPr>
          <p:cNvPr id="7" name="Rectangle 6"/>
          <p:cNvSpPr/>
          <p:nvPr userDrawn="1"/>
        </p:nvSpPr>
        <p:spPr>
          <a:xfrm>
            <a:off x="0" y="1"/>
            <a:ext cx="9144000" cy="968084"/>
          </a:xfrm>
          <a:prstGeom prst="rect">
            <a:avLst/>
          </a:prstGeom>
          <a:solidFill>
            <a:srgbClr val="FFFAD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0" fontAlgn="base" latinLnBrk="0" hangingPunct="0">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FFFFFF"/>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lvl1pPr>
              <a:defRPr>
                <a:latin typeface="Gilroy Light" panose="00000400000000000000" pitchFamily="50" charset="0"/>
              </a:defRPr>
            </a:lvl1pPr>
          </a:lstStyle>
          <a:p>
            <a:pPr defTabSz="342900" eaLnBrk="0" fontAlgn="base" hangingPunct="0">
              <a:spcBef>
                <a:spcPct val="0"/>
              </a:spcBef>
              <a:spcAft>
                <a:spcPct val="0"/>
              </a:spcAft>
              <a:defRPr/>
            </a:pPr>
            <a:endParaRPr 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atin typeface="Gilroy Light" panose="00000400000000000000" pitchFamily="50" charset="0"/>
              </a:defRPr>
            </a:lvl1pPr>
          </a:lstStyle>
          <a:p>
            <a:pPr defTabSz="342900" eaLnBrk="0" fontAlgn="base" hangingPunct="0">
              <a:spcBef>
                <a:spcPct val="0"/>
              </a:spcBef>
              <a:spcAft>
                <a:spcPct val="0"/>
              </a:spcAft>
              <a:defRPr/>
            </a:pPr>
            <a:fld id="{B99A8B02-80E3-7842-9258-53241E1D56E4}" type="slidenum">
              <a:rPr lang="fr-CA" smtClean="0">
                <a:solidFill>
                  <a:srgbClr val="000000"/>
                </a:solidFill>
              </a:rPr>
              <a:pPr defTabSz="342900" eaLnBrk="0" fontAlgn="base" hangingPunct="0">
                <a:spcBef>
                  <a:spcPct val="0"/>
                </a:spcBef>
                <a:spcAft>
                  <a:spcPct val="0"/>
                </a:spcAft>
                <a:defRPr/>
              </a:pPr>
              <a:t>‹N°›</a:t>
            </a:fld>
            <a:endParaRPr lang="fr-CA">
              <a:solidFill>
                <a:srgbClr val="000000"/>
              </a:solidFill>
            </a:endParaRPr>
          </a:p>
        </p:txBody>
      </p:sp>
      <p:cxnSp>
        <p:nvCxnSpPr>
          <p:cNvPr id="9" name="Connecteur droit 8"/>
          <p:cNvCxnSpPr/>
          <p:nvPr userDrawn="1"/>
        </p:nvCxnSpPr>
        <p:spPr>
          <a:xfrm>
            <a:off x="8382000" y="4821815"/>
            <a:ext cx="0" cy="108961"/>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Connecteur droit 9"/>
          <p:cNvCxnSpPr/>
          <p:nvPr userDrawn="1"/>
        </p:nvCxnSpPr>
        <p:spPr>
          <a:xfrm>
            <a:off x="8686800" y="4821815"/>
            <a:ext cx="0" cy="108961"/>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066540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SAS - Content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274320"/>
            <a:ext cx="7891272" cy="342900"/>
          </a:xfrm>
        </p:spPr>
        <p:txBody>
          <a:bodyPr anchor="ctr" anchorCtr="0">
            <a:noAutofit/>
          </a:bodyPr>
          <a:lstStyle>
            <a:lvl1pPr algn="ctr">
              <a:defRPr>
                <a:solidFill>
                  <a:schemeClr val="tx2"/>
                </a:solidFill>
              </a:defRPr>
            </a:lvl1pPr>
          </a:lstStyle>
          <a:p>
            <a:r>
              <a:rPr lang="en-US"/>
              <a:t>Click to Edit Title</a:t>
            </a:r>
          </a:p>
        </p:txBody>
      </p:sp>
      <p:sp>
        <p:nvSpPr>
          <p:cNvPr id="6" name="Text Placeholder 2"/>
          <p:cNvSpPr>
            <a:spLocks noGrp="1"/>
          </p:cNvSpPr>
          <p:nvPr>
            <p:ph type="body" sz="quarter" idx="12" hasCustomPrompt="1"/>
          </p:nvPr>
        </p:nvSpPr>
        <p:spPr>
          <a:xfrm flipH="1">
            <a:off x="626364" y="617220"/>
            <a:ext cx="7891272" cy="240030"/>
          </a:xfrm>
        </p:spPr>
        <p:txBody>
          <a:bodyPr wrap="square" anchor="ctr">
            <a:noAutofit/>
          </a:bodyPr>
          <a:lstStyle>
            <a:lvl1pPr marL="0" indent="0" algn="ctr">
              <a:lnSpc>
                <a:spcPct val="100000"/>
              </a:lnSpc>
              <a:spcBef>
                <a:spcPts val="0"/>
              </a:spcBef>
              <a:buFont typeface="Arial" pitchFamily="34" charset="0"/>
              <a:buNone/>
              <a:defRPr sz="1650" b="0" cap="none" baseline="0">
                <a:solidFill>
                  <a:schemeClr val="accent1"/>
                </a:solidFill>
                <a:latin typeface="+mj-lt"/>
              </a:defRPr>
            </a:lvl1pPr>
          </a:lstStyle>
          <a:p>
            <a:pPr lvl="0"/>
            <a:r>
              <a:rPr lang="en-US"/>
              <a:t>Click to edit subtitle</a:t>
            </a:r>
          </a:p>
        </p:txBody>
      </p:sp>
      <p:sp>
        <p:nvSpPr>
          <p:cNvPr id="4" name="Content Placeholder 3"/>
          <p:cNvSpPr>
            <a:spLocks noGrp="1"/>
          </p:cNvSpPr>
          <p:nvPr>
            <p:ph sz="quarter" idx="11" hasCustomPrompt="1"/>
          </p:nvPr>
        </p:nvSpPr>
        <p:spPr>
          <a:xfrm>
            <a:off x="626364" y="905256"/>
            <a:ext cx="7891272" cy="3825098"/>
          </a:xfrm>
        </p:spPr>
        <p:txBody>
          <a:bodyPr wrap="square" anchor="t" anchorCtr="0">
            <a:normAutofit/>
          </a:bodyPr>
          <a:lstStyle>
            <a:lvl1pPr>
              <a:defRPr baseline="0">
                <a:solidFill>
                  <a:schemeClr val="tx2"/>
                </a:solidFill>
              </a:defRPr>
            </a:lvl1pPr>
            <a:lvl2pPr>
              <a:buClr>
                <a:schemeClr val="tx1">
                  <a:lumMod val="65000"/>
                  <a:lumOff val="35000"/>
                </a:schemeClr>
              </a:buClr>
              <a:defRPr baseline="0">
                <a:solidFill>
                  <a:schemeClr val="tx1">
                    <a:lumMod val="65000"/>
                    <a:lumOff val="35000"/>
                  </a:schemeClr>
                </a:solidFill>
              </a:defRPr>
            </a:lvl2pPr>
            <a:lvl3pPr>
              <a:buClr>
                <a:schemeClr val="tx1">
                  <a:lumMod val="65000"/>
                  <a:lumOff val="35000"/>
                </a:schemeClr>
              </a:buClr>
              <a:defRPr baseline="0">
                <a:solidFill>
                  <a:schemeClr val="tx1">
                    <a:lumMod val="65000"/>
                    <a:lumOff val="35000"/>
                  </a:schemeClr>
                </a:solidFill>
              </a:defRPr>
            </a:lvl3pPr>
            <a:lvl4pPr>
              <a:buClr>
                <a:schemeClr val="tx1">
                  <a:lumMod val="65000"/>
                  <a:lumOff val="35000"/>
                </a:schemeClr>
              </a:buClr>
              <a:defRPr baseline="0">
                <a:solidFill>
                  <a:schemeClr val="tx1">
                    <a:lumMod val="65000"/>
                    <a:lumOff val="35000"/>
                  </a:schemeClr>
                </a:solidFill>
              </a:defRPr>
            </a:lvl4pPr>
            <a:lvl5pPr>
              <a:buClr>
                <a:schemeClr val="tx1">
                  <a:lumMod val="65000"/>
                  <a:lumOff val="35000"/>
                </a:schemeClr>
              </a:buClr>
              <a:defRPr baseline="0">
                <a:solidFill>
                  <a:schemeClr val="tx1">
                    <a:lumMod val="65000"/>
                    <a:lumOff val="35000"/>
                  </a:schemeClr>
                </a:solidFill>
              </a:defRPr>
            </a:lvl5pPr>
          </a:lstStyle>
          <a:p>
            <a:pPr lvl="0"/>
            <a:r>
              <a:rPr lang="en-US"/>
              <a:t>Click to add text or click an icon to add other content types.</a:t>
            </a:r>
          </a:p>
          <a:p>
            <a:pPr lvl="1"/>
            <a:r>
              <a:rPr lang="en-US"/>
              <a:t>Second level</a:t>
            </a:r>
          </a:p>
          <a:p>
            <a:pPr lvl="2"/>
            <a:r>
              <a:rPr lang="en-US"/>
              <a:t>Third level</a:t>
            </a:r>
          </a:p>
        </p:txBody>
      </p:sp>
      <p:sp>
        <p:nvSpPr>
          <p:cNvPr id="3" name="Slide Number Placeholder 4"/>
          <p:cNvSpPr>
            <a:spLocks noGrp="1"/>
          </p:cNvSpPr>
          <p:nvPr>
            <p:ph type="sldNum" sz="quarter" idx="13"/>
          </p:nvPr>
        </p:nvSpPr>
        <p:spPr/>
        <p:txBody>
          <a:bodyPr/>
          <a:lstStyle/>
          <a:p>
            <a:fld id="{4976208B-6111-490B-8CEC-FFB249DB2100}" type="slidenum">
              <a:rPr lang="en-US" smtClean="0"/>
              <a:pPr/>
              <a:t>‹N°›</a:t>
            </a:fld>
            <a:endParaRPr lang="en-US"/>
          </a:p>
        </p:txBody>
      </p:sp>
    </p:spTree>
    <p:extLst>
      <p:ext uri="{BB962C8B-B14F-4D97-AF65-F5344CB8AC3E}">
        <p14:creationId xmlns:p14="http://schemas.microsoft.com/office/powerpoint/2010/main" val="1214341931"/>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Closing SAS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1"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2228850" cy="51435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1376654" y="1793688"/>
            <a:ext cx="6390694" cy="1556124"/>
          </a:xfrm>
        </p:spPr>
        <p:txBody>
          <a:bodyPr anchor="ctr">
            <a:normAutofit/>
          </a:bodyPr>
          <a:lstStyle>
            <a:lvl1pPr marL="0" indent="0" algn="ctr">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11" name="Rectangle 10">
            <a:extLst>
              <a:ext uri="{FF2B5EF4-FFF2-40B4-BE49-F238E27FC236}">
                <a16:creationId xmlns:a16="http://schemas.microsoft.com/office/drawing/2014/main" id="{60F2F4D0-EB0E-3842-9785-6EF69081820E}"/>
              </a:ext>
            </a:extLst>
          </p:cNvPr>
          <p:cNvSpPr/>
          <p:nvPr/>
        </p:nvSpPr>
        <p:spPr>
          <a:xfrm>
            <a:off x="1" y="0"/>
            <a:ext cx="2405925" cy="5148072"/>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636" y="4475284"/>
            <a:ext cx="1112368" cy="618852"/>
          </a:xfrm>
          <a:prstGeom prst="rect">
            <a:avLst/>
          </a:prstGeom>
        </p:spPr>
      </p:pic>
      <p:sp>
        <p:nvSpPr>
          <p:cNvPr id="2" name="TextBox 1">
            <a:extLst>
              <a:ext uri="{FF2B5EF4-FFF2-40B4-BE49-F238E27FC236}">
                <a16:creationId xmlns:a16="http://schemas.microsoft.com/office/drawing/2014/main" id="{503DB4AB-A9DE-4660-939A-CBDF75AC178E}"/>
              </a:ext>
            </a:extLst>
          </p:cNvPr>
          <p:cNvSpPr txBox="1"/>
          <p:nvPr/>
        </p:nvSpPr>
        <p:spPr>
          <a:xfrm>
            <a:off x="4078011" y="4138459"/>
            <a:ext cx="1009315" cy="400110"/>
          </a:xfrm>
          <a:prstGeom prst="rect">
            <a:avLst/>
          </a:prstGeom>
          <a:noFill/>
        </p:spPr>
        <p:txBody>
          <a:bodyPr wrap="none" rtlCol="0">
            <a:spAutoFit/>
          </a:bodyPr>
          <a:lstStyle/>
          <a:p>
            <a:pPr algn="ctr"/>
            <a:r>
              <a:rPr lang="en-US" sz="2000">
                <a:solidFill>
                  <a:schemeClr val="bg1"/>
                </a:solidFill>
                <a:latin typeface="+mj-lt"/>
              </a:rPr>
              <a:t>sas.com</a:t>
            </a:r>
          </a:p>
        </p:txBody>
      </p:sp>
      <p:sp>
        <p:nvSpPr>
          <p:cNvPr id="10" name="TextBox 3">
            <a:extLst>
              <a:ext uri="{FF2B5EF4-FFF2-40B4-BE49-F238E27FC236}">
                <a16:creationId xmlns:a16="http://schemas.microsoft.com/office/drawing/2014/main" id="{EBDB97C4-A9A5-5240-872E-02735FE065C9}"/>
              </a:ext>
            </a:extLst>
          </p:cNvPr>
          <p:cNvSpPr txBox="1">
            <a:spLocks noChangeAspect="1"/>
          </p:cNvSpPr>
          <p:nvPr userDrawn="1"/>
        </p:nvSpPr>
        <p:spPr>
          <a:xfrm>
            <a:off x="3310128" y="4864609"/>
            <a:ext cx="2514600" cy="246221"/>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mpany Confidential – For Internal Use Only</a:t>
            </a:r>
          </a:p>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370892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AS - Comparison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8650" y="1369219"/>
            <a:ext cx="3886200" cy="3263504"/>
          </a:xfrm>
        </p:spPr>
        <p:txBody>
          <a:bodyPr/>
          <a:lstStyle>
            <a:lvl1pPr>
              <a:buClr>
                <a:schemeClr val="bg2"/>
              </a:buClr>
              <a:defRPr/>
            </a:lvl1pPr>
            <a:lvl2pPr>
              <a:buClr>
                <a:schemeClr val="bg2"/>
              </a:buClr>
              <a:defRPr/>
            </a:lvl2pPr>
            <a:lvl3pPr>
              <a:buClr>
                <a:schemeClr val="bg2"/>
              </a:buClr>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p:txBody>
      </p:sp>
      <p:sp>
        <p:nvSpPr>
          <p:cNvPr id="4" name="Content Placeholder 3"/>
          <p:cNvSpPr>
            <a:spLocks noGrp="1"/>
          </p:cNvSpPr>
          <p:nvPr>
            <p:ph sz="half" idx="2"/>
          </p:nvPr>
        </p:nvSpPr>
        <p:spPr>
          <a:xfrm>
            <a:off x="4629150" y="1369219"/>
            <a:ext cx="3886200" cy="3263504"/>
          </a:xfrm>
        </p:spPr>
        <p:txBody>
          <a:bodyPr/>
          <a:lstStyle>
            <a:lvl1pPr>
              <a:buClr>
                <a:schemeClr val="bg2"/>
              </a:buClr>
              <a:defRPr/>
            </a:lvl1pPr>
            <a:lvl2pPr>
              <a:buClr>
                <a:schemeClr val="bg2"/>
              </a:buClr>
              <a:defRPr/>
            </a:lvl2pPr>
            <a:lvl3pPr>
              <a:buClr>
                <a:schemeClr val="bg2"/>
              </a:buClr>
              <a:defRPr/>
            </a:lvl3pPr>
            <a:lvl4pPr>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p:txBody>
      </p:sp>
      <p:sp>
        <p:nvSpPr>
          <p:cNvPr id="5" name="Text Placeholder 4">
            <a:extLst>
              <a:ext uri="{FF2B5EF4-FFF2-40B4-BE49-F238E27FC236}">
                <a16:creationId xmlns:a16="http://schemas.microsoft.com/office/drawing/2014/main" id="{EFE90ADF-F9C8-471B-A694-7C0B48436B41}"/>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fr-FR"/>
              <a:t>Cliquez pour modifier les styles du texte du masque</a:t>
            </a:r>
          </a:p>
        </p:txBody>
      </p:sp>
    </p:spTree>
    <p:custDataLst>
      <p:tags r:id="rId1"/>
    </p:custDataLst>
    <p:extLst>
      <p:ext uri="{BB962C8B-B14F-4D97-AF65-F5344CB8AC3E}">
        <p14:creationId xmlns:p14="http://schemas.microsoft.com/office/powerpoint/2010/main" val="2216730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baseline="0">
                <a:solidFill>
                  <a:schemeClr val="tx2"/>
                </a:solidFill>
              </a:defRPr>
            </a:lvl1pPr>
          </a:lstStyle>
          <a:p>
            <a:r>
              <a:rPr lang="en-US"/>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a:t>Click to edit subtitle</a:t>
            </a:r>
          </a:p>
        </p:txBody>
      </p:sp>
      <p:sp>
        <p:nvSpPr>
          <p:cNvPr id="4" name="Slide Number Placeholder 3"/>
          <p:cNvSpPr>
            <a:spLocks noGrp="1"/>
          </p:cNvSpPr>
          <p:nvPr>
            <p:ph type="sldNum" sz="quarter" idx="13"/>
          </p:nvPr>
        </p:nvSpPr>
        <p:spPr/>
        <p:txBody>
          <a:bodyPr/>
          <a:lstStyle/>
          <a:p>
            <a:pPr defTabSz="457189">
              <a:defRPr/>
            </a:pPr>
            <a:fld id="{4976208B-6111-490B-8CEC-FFB249DB2100}" type="slidenum">
              <a:rPr lang="en-US" smtClean="0">
                <a:solidFill>
                  <a:srgbClr val="012036"/>
                </a:solidFill>
              </a:rPr>
              <a:pPr defTabSz="457189">
                <a:defRPr/>
              </a:pPr>
              <a:t>‹N°›</a:t>
            </a:fld>
            <a:endParaRPr lang="en-US">
              <a:solidFill>
                <a:srgbClr val="012036"/>
              </a:solidFill>
            </a:endParaRPr>
          </a:p>
        </p:txBody>
      </p:sp>
    </p:spTree>
    <p:extLst>
      <p:ext uri="{BB962C8B-B14F-4D97-AF65-F5344CB8AC3E}">
        <p14:creationId xmlns:p14="http://schemas.microsoft.com/office/powerpoint/2010/main" val="136845933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SAS - Content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Clr>
                <a:schemeClr val="bg2"/>
              </a:buClr>
              <a:defRPr>
                <a:solidFill>
                  <a:schemeClr val="bg1"/>
                </a:solidFill>
                <a:latin typeface="+mj-lt"/>
              </a:defRPr>
            </a:lvl1pPr>
            <a:lvl2pPr>
              <a:buClr>
                <a:schemeClr val="bg2"/>
              </a:buClr>
              <a:defRPr>
                <a:solidFill>
                  <a:schemeClr val="bg1"/>
                </a:solidFill>
                <a:latin typeface="+mj-lt"/>
              </a:defRPr>
            </a:lvl2pPr>
            <a:lvl3pPr>
              <a:buClr>
                <a:schemeClr val="bg2"/>
              </a:buClr>
              <a:defRPr>
                <a:solidFill>
                  <a:schemeClr val="bg1"/>
                </a:solidFill>
                <a:latin typeface="+mj-lt"/>
              </a:defRPr>
            </a:lvl3pPr>
            <a:lvl4pPr>
              <a:buClr>
                <a:schemeClr val="bg2"/>
              </a:buClr>
              <a:defRPr>
                <a:solidFill>
                  <a:schemeClr val="bg1"/>
                </a:solidFill>
                <a:latin typeface="+mj-lt"/>
              </a:defRPr>
            </a:lvl4pPr>
            <a:lvl5pPr>
              <a:buClr>
                <a:schemeClr val="bg2"/>
              </a:buClr>
              <a:defRPr>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376354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6038263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16052" y="355602"/>
            <a:ext cx="8311896" cy="28854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8484394" y="4874065"/>
            <a:ext cx="244126" cy="103875"/>
          </a:xfrm>
          <a:prstGeom prst="rect">
            <a:avLst/>
          </a:prstGeom>
          <a:noFill/>
          <a:ln w="9525" algn="ctr">
            <a:noFill/>
            <a:miter lim="800000"/>
            <a:headEnd/>
            <a:tailEnd/>
          </a:ln>
          <a:effectLst/>
        </p:spPr>
        <p:txBody>
          <a:bodyPr wrap="square" lIns="0" tIns="0" rIns="0" bIns="0" anchor="b" anchorCtr="0">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N°›</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416052" y="4874066"/>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
        <p:nvSpPr>
          <p:cNvPr id="10" name="Sticker" hidden="1">
            <a:extLst>
              <a:ext uri="{FF2B5EF4-FFF2-40B4-BE49-F238E27FC236}">
                <a16:creationId xmlns:a16="http://schemas.microsoft.com/office/drawing/2014/main" id="{3CDB112E-4DC7-4703-8944-3E86F7422F35}"/>
              </a:ext>
            </a:extLst>
          </p:cNvPr>
          <p:cNvSpPr txBox="1"/>
          <p:nvPr userDrawn="1"/>
        </p:nvSpPr>
        <p:spPr>
          <a:xfrm>
            <a:off x="416052" y="688349"/>
            <a:ext cx="338234" cy="9233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600"/>
              <a:t>STICKER</a:t>
            </a:r>
          </a:p>
        </p:txBody>
      </p:sp>
    </p:spTree>
    <p:extLst>
      <p:ext uri="{BB962C8B-B14F-4D97-AF65-F5344CB8AC3E}">
        <p14:creationId xmlns:p14="http://schemas.microsoft.com/office/powerpoint/2010/main" val="35560973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Title and 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baseline="0">
                <a:solidFill>
                  <a:schemeClr val="tx2"/>
                </a:solidFill>
              </a:defRPr>
            </a:lvl1pPr>
          </a:lstStyle>
          <a:p>
            <a:r>
              <a:rPr lang="en-US"/>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a:t>Click to edit subtitle</a:t>
            </a:r>
          </a:p>
        </p:txBody>
      </p:sp>
    </p:spTree>
    <p:extLst>
      <p:ext uri="{BB962C8B-B14F-4D97-AF65-F5344CB8AC3E}">
        <p14:creationId xmlns:p14="http://schemas.microsoft.com/office/powerpoint/2010/main" val="151306042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AS - 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0"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2228850" cy="51435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1653872"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10" name="Text Placeholder 34">
            <a:extLst>
              <a:ext uri="{FF2B5EF4-FFF2-40B4-BE49-F238E27FC236}">
                <a16:creationId xmlns:a16="http://schemas.microsoft.com/office/drawing/2014/main" id="{9B949CCB-8408-0B41-9681-4ECA35605A82}"/>
              </a:ext>
            </a:extLst>
          </p:cNvPr>
          <p:cNvSpPr>
            <a:spLocks noGrp="1"/>
          </p:cNvSpPr>
          <p:nvPr>
            <p:ph type="body" sz="quarter" idx="11"/>
          </p:nvPr>
        </p:nvSpPr>
        <p:spPr>
          <a:xfrm>
            <a:off x="1653872" y="2484438"/>
            <a:ext cx="6390694" cy="1458912"/>
          </a:xfrm>
        </p:spPr>
        <p:txBody>
          <a:bodyPr>
            <a:normAutofit/>
          </a:bodyPr>
          <a:lstStyle>
            <a:lvl1pPr marL="0" indent="0" algn="l">
              <a:buNone/>
              <a:defRPr sz="2000">
                <a:solidFill>
                  <a:schemeClr val="accent1">
                    <a:lumMod val="60000"/>
                    <a:lumOff val="40000"/>
                  </a:schemeClr>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11" name="Rectangle 10">
            <a:extLst>
              <a:ext uri="{FF2B5EF4-FFF2-40B4-BE49-F238E27FC236}">
                <a16:creationId xmlns:a16="http://schemas.microsoft.com/office/drawing/2014/main" id="{60F2F4D0-EB0E-3842-9785-6EF69081820E}"/>
              </a:ext>
            </a:extLst>
          </p:cNvPr>
          <p:cNvSpPr/>
          <p:nvPr/>
        </p:nvSpPr>
        <p:spPr>
          <a:xfrm>
            <a:off x="0" y="0"/>
            <a:ext cx="2405925" cy="5148072"/>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4">
            <a:extLst>
              <a:ext uri="{FF2B5EF4-FFF2-40B4-BE49-F238E27FC236}">
                <a16:creationId xmlns:a16="http://schemas.microsoft.com/office/drawing/2014/main" id="{64A8B58C-CD7F-6F4B-B6E8-178EEF4B15DC}"/>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635" y="4475284"/>
            <a:ext cx="1112368" cy="618852"/>
          </a:xfrm>
          <a:prstGeom prst="rect">
            <a:avLst/>
          </a:prstGeom>
        </p:spPr>
      </p:pic>
    </p:spTree>
    <p:custDataLst>
      <p:tags r:id="rId1"/>
    </p:custDataLst>
    <p:extLst>
      <p:ext uri="{BB962C8B-B14F-4D97-AF65-F5344CB8AC3E}">
        <p14:creationId xmlns:p14="http://schemas.microsoft.com/office/powerpoint/2010/main" val="742606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AS - Section Header - Dark Blu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900AF95-1FC8-274C-A784-F831F6B8647F}"/>
              </a:ext>
            </a:extLst>
          </p:cNvPr>
          <p:cNvSpPr/>
          <p:nvPr/>
        </p:nvSpPr>
        <p:spPr>
          <a:xfrm>
            <a:off x="0"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4">
            <a:extLst>
              <a:ext uri="{FF2B5EF4-FFF2-40B4-BE49-F238E27FC236}">
                <a16:creationId xmlns:a16="http://schemas.microsoft.com/office/drawing/2014/main" id="{B0C6AF5C-E29A-9E49-801E-0A1C09DFDE5F}"/>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4" name="Picture 6">
            <a:extLst>
              <a:ext uri="{FF2B5EF4-FFF2-40B4-BE49-F238E27FC236}">
                <a16:creationId xmlns:a16="http://schemas.microsoft.com/office/drawing/2014/main" id="{6BFF7639-E4DF-3741-90C7-2DFCD9D26A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11892" y="4746756"/>
            <a:ext cx="558779" cy="253991"/>
          </a:xfrm>
          <a:prstGeom prst="rect">
            <a:avLst/>
          </a:prstGeom>
        </p:spPr>
      </p:pic>
      <p:pic>
        <p:nvPicPr>
          <p:cNvPr id="6" name="Picture 5" descr="A picture containing clock, light, drawing&#10;&#10;Description automatically generated">
            <a:extLst>
              <a:ext uri="{FF2B5EF4-FFF2-40B4-BE49-F238E27FC236}">
                <a16:creationId xmlns:a16="http://schemas.microsoft.com/office/drawing/2014/main" id="{43AE3E76-C4CC-8245-858F-A891F08C3E58}"/>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23061" r="33611" b="20040"/>
          <a:stretch/>
        </p:blipFill>
        <p:spPr>
          <a:xfrm>
            <a:off x="4561295" y="-6045"/>
            <a:ext cx="4582705" cy="5149545"/>
          </a:xfrm>
          <a:prstGeom prst="rect">
            <a:avLst/>
          </a:prstGeom>
        </p:spPr>
      </p:pic>
      <p:sp>
        <p:nvSpPr>
          <p:cNvPr id="11" name="Text Placeholder 34">
            <a:extLst>
              <a:ext uri="{FF2B5EF4-FFF2-40B4-BE49-F238E27FC236}">
                <a16:creationId xmlns:a16="http://schemas.microsoft.com/office/drawing/2014/main" id="{C8C0CE08-E9A8-3940-A81E-001DC88592F4}"/>
              </a:ext>
            </a:extLst>
          </p:cNvPr>
          <p:cNvSpPr>
            <a:spLocks noGrp="1"/>
          </p:cNvSpPr>
          <p:nvPr>
            <p:ph type="body" sz="quarter" idx="11"/>
          </p:nvPr>
        </p:nvSpPr>
        <p:spPr>
          <a:xfrm>
            <a:off x="620203" y="2484438"/>
            <a:ext cx="6390694" cy="1458912"/>
          </a:xfrm>
        </p:spPr>
        <p:txBody>
          <a:bodyPr>
            <a:normAutofit/>
          </a:bodyPr>
          <a:lstStyle>
            <a:lvl1pPr marL="0" indent="0" algn="l">
              <a:buNone/>
              <a:defRPr sz="2000">
                <a:solidFill>
                  <a:schemeClr val="accent1">
                    <a:lumMod val="60000"/>
                    <a:lumOff val="40000"/>
                  </a:schemeClr>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10" name="Text Placeholder 32">
            <a:extLst>
              <a:ext uri="{FF2B5EF4-FFF2-40B4-BE49-F238E27FC236}">
                <a16:creationId xmlns:a16="http://schemas.microsoft.com/office/drawing/2014/main" id="{D5BF76BC-A168-D846-A33A-DDC741AB2C49}"/>
              </a:ext>
            </a:extLst>
          </p:cNvPr>
          <p:cNvSpPr>
            <a:spLocks noGrp="1"/>
          </p:cNvSpPr>
          <p:nvPr>
            <p:ph type="body" sz="quarter" idx="10"/>
          </p:nvPr>
        </p:nvSpPr>
        <p:spPr>
          <a:xfrm>
            <a:off x="620203"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70049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SAS - Content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Clr>
                <a:schemeClr val="bg2"/>
              </a:buClr>
              <a:defRPr>
                <a:solidFill>
                  <a:schemeClr val="bg1"/>
                </a:solidFill>
                <a:latin typeface="+mj-lt"/>
              </a:defRPr>
            </a:lvl1pPr>
            <a:lvl2pPr>
              <a:buClr>
                <a:schemeClr val="bg2"/>
              </a:buClr>
              <a:defRPr>
                <a:solidFill>
                  <a:schemeClr val="bg1"/>
                </a:solidFill>
                <a:latin typeface="+mj-lt"/>
              </a:defRPr>
            </a:lvl2pPr>
            <a:lvl3pPr>
              <a:buClr>
                <a:schemeClr val="bg2"/>
              </a:buClr>
              <a:defRPr>
                <a:solidFill>
                  <a:schemeClr val="bg1"/>
                </a:solidFill>
                <a:latin typeface="+mj-lt"/>
              </a:defRPr>
            </a:lvl3pPr>
            <a:lvl4pPr>
              <a:buClr>
                <a:schemeClr val="bg2"/>
              </a:buClr>
              <a:defRPr>
                <a:solidFill>
                  <a:schemeClr val="bg1"/>
                </a:solidFill>
                <a:latin typeface="+mj-lt"/>
              </a:defRPr>
            </a:lvl4pPr>
            <a:lvl5pPr>
              <a:buClr>
                <a:schemeClr val="bg2"/>
              </a:buClr>
              <a:defRPr>
                <a:solidFill>
                  <a:schemeClr val="bg1"/>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169342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AS - Title &amp; Subtitle -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901788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AS - Title Only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solidFill>
                  <a:schemeClr val="bg1"/>
                </a:solidFill>
              </a:defRPr>
            </a:lvl1pPr>
          </a:lstStyle>
          <a:p>
            <a:r>
              <a:rPr lang="en-US"/>
              <a:t>Click to edit Master title style</a:t>
            </a:r>
          </a:p>
        </p:txBody>
      </p:sp>
    </p:spTree>
    <p:custDataLst>
      <p:tags r:id="rId1"/>
    </p:custDataLst>
    <p:extLst>
      <p:ext uri="{BB962C8B-B14F-4D97-AF65-F5344CB8AC3E}">
        <p14:creationId xmlns:p14="http://schemas.microsoft.com/office/powerpoint/2010/main" val="218747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AS - Comparison -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lvl1pPr>
              <a:buClr>
                <a:schemeClr val="bg2"/>
              </a:buClr>
              <a:defRPr/>
            </a:lvl1pPr>
            <a:lvl2pPr>
              <a:buClr>
                <a:schemeClr val="bg2"/>
              </a:buClr>
              <a:defRPr/>
            </a:lvl2pPr>
            <a:lvl3pPr>
              <a:buClr>
                <a:schemeClr val="bg2"/>
              </a:buClr>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29150" y="1369219"/>
            <a:ext cx="3886200" cy="3263504"/>
          </a:xfrm>
        </p:spPr>
        <p:txBody>
          <a:bodyPr/>
          <a:lstStyle>
            <a:lvl1pPr>
              <a:buClr>
                <a:schemeClr val="bg2"/>
              </a:buClr>
              <a:defRPr/>
            </a:lvl1pPr>
            <a:lvl2pPr>
              <a:buClr>
                <a:schemeClr val="bg2"/>
              </a:buClr>
              <a:defRPr/>
            </a:lvl2pPr>
            <a:lvl3pPr>
              <a:buClr>
                <a:schemeClr val="bg2"/>
              </a:buClr>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5" name="Text Placeholder 4">
            <a:extLst>
              <a:ext uri="{FF2B5EF4-FFF2-40B4-BE49-F238E27FC236}">
                <a16:creationId xmlns:a16="http://schemas.microsoft.com/office/drawing/2014/main" id="{EFE90ADF-F9C8-471B-A694-7C0B48436B41}"/>
              </a:ext>
            </a:extLst>
          </p:cNvPr>
          <p:cNvSpPr>
            <a:spLocks noGrp="1"/>
          </p:cNvSpPr>
          <p:nvPr>
            <p:ph type="body" sz="quarter" idx="10"/>
          </p:nvPr>
        </p:nvSpPr>
        <p:spPr>
          <a:xfrm>
            <a:off x="628650" y="731838"/>
            <a:ext cx="7886700" cy="457200"/>
          </a:xfrm>
        </p:spPr>
        <p:txBody>
          <a:bodyPr anchor="t"/>
          <a:lstStyle>
            <a:lvl1pPr marL="0" indent="0" algn="ctr">
              <a:buNone/>
              <a:defRPr>
                <a:solidFill>
                  <a:schemeClr val="accent1">
                    <a:lumMod val="60000"/>
                    <a:lumOff val="40000"/>
                  </a:schemeClr>
                </a:solidFill>
              </a:defRPr>
            </a:lvl1pPr>
            <a:lvl2pPr marL="182880" indent="0">
              <a:buNone/>
              <a:defRPr/>
            </a:lvl2pPr>
            <a:lvl3pPr marL="365760" indent="0">
              <a:buNone/>
              <a:defRPr/>
            </a:lvl3pPr>
            <a:lvl4pPr marL="1028700" indent="0">
              <a:buNone/>
              <a:defRPr/>
            </a:lvl4pPr>
            <a:lvl5pPr marL="13716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2984535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AS - Content with Caption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7E60C6F-E980-EE42-AE99-4BF9E126C012}"/>
              </a:ext>
            </a:extLst>
          </p:cNvPr>
          <p:cNvSpPr/>
          <p:nvPr/>
        </p:nvSpPr>
        <p:spPr>
          <a:xfrm>
            <a:off x="0" y="0"/>
            <a:ext cx="3127248" cy="5143500"/>
          </a:xfrm>
          <a:prstGeom prst="rect">
            <a:avLst/>
          </a:prstGeom>
          <a:gradFill flip="none" rotWithShape="1">
            <a:gsLst>
              <a:gs pos="0">
                <a:schemeClr val="tx2">
                  <a:lumMod val="90000"/>
                  <a:lumOff val="10000"/>
                </a:schemeClr>
              </a:gs>
              <a:gs pos="100000">
                <a:schemeClr val="tx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32F2FC9C-401F-5C4C-88BC-0A45460C4F9C}"/>
              </a:ext>
            </a:extLst>
          </p:cNvPr>
          <p:cNvSpPr>
            <a:spLocks noGrp="1"/>
          </p:cNvSpPr>
          <p:nvPr>
            <p:ph type="title" hasCustomPrompt="1"/>
          </p:nvPr>
        </p:nvSpPr>
        <p:spPr>
          <a:xfrm>
            <a:off x="0" y="228887"/>
            <a:ext cx="3127248" cy="341632"/>
          </a:xfrm>
        </p:spPr>
        <p:txBody>
          <a:bodyPr lIns="91440" rIns="91440" anchor="t" anchorCtr="0">
            <a:spAutoFit/>
          </a:bodyPr>
          <a:lstStyle>
            <a:lvl1pPr algn="ctr" defTabSz="182880">
              <a:spcBef>
                <a:spcPts val="0"/>
              </a:spcBef>
              <a:defRPr sz="1800" baseline="0">
                <a:solidFill>
                  <a:schemeClr val="accent1">
                    <a:lumMod val="60000"/>
                    <a:lumOff val="40000"/>
                  </a:schemeClr>
                </a:solidFill>
                <a:effectLst/>
                <a:latin typeface="+mj-lt"/>
              </a:defRPr>
            </a:lvl1pPr>
          </a:lstStyle>
          <a:p>
            <a:r>
              <a:rPr lang="en-US" dirty="0"/>
              <a:t>Click to add title</a:t>
            </a:r>
          </a:p>
        </p:txBody>
      </p:sp>
      <p:sp>
        <p:nvSpPr>
          <p:cNvPr id="4" name="Text Placeholder 4">
            <a:extLst>
              <a:ext uri="{FF2B5EF4-FFF2-40B4-BE49-F238E27FC236}">
                <a16:creationId xmlns:a16="http://schemas.microsoft.com/office/drawing/2014/main" id="{0ADB52DD-F50B-834D-99B3-5D1C55A9E47D}"/>
              </a:ext>
            </a:extLst>
          </p:cNvPr>
          <p:cNvSpPr>
            <a:spLocks noGrp="1"/>
          </p:cNvSpPr>
          <p:nvPr>
            <p:ph type="body" sz="quarter" idx="13" hasCustomPrompt="1"/>
          </p:nvPr>
        </p:nvSpPr>
        <p:spPr>
          <a:xfrm>
            <a:off x="411480" y="996694"/>
            <a:ext cx="2304288" cy="615553"/>
          </a:xfrm>
        </p:spPr>
        <p:txBody>
          <a:bodyPr wrap="square" anchor="t" anchorCtr="0">
            <a:spAutoFit/>
          </a:bodyPr>
          <a:lstStyle>
            <a:lvl1pPr marL="0" indent="-182880" algn="l">
              <a:buFont typeface="Arial" pitchFamily="34" charset="0"/>
              <a:buNone/>
              <a:defRPr sz="2000" b="0" cap="none" baseline="0">
                <a:solidFill>
                  <a:schemeClr val="bg1">
                    <a:lumMod val="85000"/>
                  </a:schemeClr>
                </a:solidFill>
                <a:effectLst/>
                <a:latin typeface="+mn-lt"/>
              </a:defRPr>
            </a:lvl1pPr>
          </a:lstStyle>
          <a:p>
            <a:pPr lvl="0"/>
            <a:r>
              <a:rPr lang="en-US"/>
              <a:t>Click to edit caption text</a:t>
            </a:r>
          </a:p>
        </p:txBody>
      </p:sp>
      <p:sp>
        <p:nvSpPr>
          <p:cNvPr id="6" name="Text Placeholder 2">
            <a:extLst>
              <a:ext uri="{FF2B5EF4-FFF2-40B4-BE49-F238E27FC236}">
                <a16:creationId xmlns:a16="http://schemas.microsoft.com/office/drawing/2014/main" id="{AC4D2804-3DAD-EE40-936A-43F13F80C8DF}"/>
              </a:ext>
            </a:extLst>
          </p:cNvPr>
          <p:cNvSpPr>
            <a:spLocks noGrp="1"/>
          </p:cNvSpPr>
          <p:nvPr>
            <p:ph type="body" sz="quarter" idx="11" hasCustomPrompt="1"/>
          </p:nvPr>
        </p:nvSpPr>
        <p:spPr>
          <a:xfrm>
            <a:off x="3127248" y="637660"/>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lumMod val="60000"/>
                    <a:lumOff val="40000"/>
                  </a:schemeClr>
                </a:solidFill>
                <a:effectLst/>
                <a:latin typeface="+mj-lt"/>
              </a:defRPr>
            </a:lvl1pPr>
          </a:lstStyle>
          <a:p>
            <a:pPr lvl="0"/>
            <a:r>
              <a:rPr lang="en-US"/>
              <a:t>Click to add subtitle</a:t>
            </a:r>
          </a:p>
        </p:txBody>
      </p:sp>
      <p:sp>
        <p:nvSpPr>
          <p:cNvPr id="7" name="Content Placeholder 3">
            <a:extLst>
              <a:ext uri="{FF2B5EF4-FFF2-40B4-BE49-F238E27FC236}">
                <a16:creationId xmlns:a16="http://schemas.microsoft.com/office/drawing/2014/main" id="{6A0DAF33-5110-D340-8044-FA8F4990F845}"/>
              </a:ext>
            </a:extLst>
          </p:cNvPr>
          <p:cNvSpPr>
            <a:spLocks noGrp="1"/>
          </p:cNvSpPr>
          <p:nvPr>
            <p:ph sz="quarter" idx="15" hasCustomPrompt="1"/>
          </p:nvPr>
        </p:nvSpPr>
        <p:spPr>
          <a:xfrm>
            <a:off x="3127248" y="920337"/>
            <a:ext cx="6016752" cy="4215653"/>
          </a:xfrm>
        </p:spPr>
        <p:txBody>
          <a:bodyPr wrap="square" lIns="365760" rIns="274320" bIns="91440" anchor="t" anchorCtr="0">
            <a:normAutofit/>
          </a:bodyPr>
          <a:lstStyle>
            <a:lvl1pPr>
              <a:buClr>
                <a:schemeClr val="bg2"/>
              </a:buClr>
              <a:defRPr sz="2000" baseline="0">
                <a:solidFill>
                  <a:schemeClr val="bg1"/>
                </a:solidFill>
              </a:defRPr>
            </a:lvl1pPr>
            <a:lvl2pPr>
              <a:buClr>
                <a:schemeClr val="bg2"/>
              </a:buClr>
              <a:defRPr baseline="0">
                <a:solidFill>
                  <a:schemeClr val="bg1">
                    <a:lumMod val="75000"/>
                  </a:schemeClr>
                </a:solidFill>
              </a:defRPr>
            </a:lvl2pPr>
            <a:lvl3pPr>
              <a:buClr>
                <a:schemeClr val="bg2"/>
              </a:buClr>
              <a:defRPr baseline="0">
                <a:solidFill>
                  <a:schemeClr val="bg1">
                    <a:lumMod val="75000"/>
                  </a:schemeClr>
                </a:solidFill>
              </a:defRPr>
            </a:lvl3pPr>
            <a:lvl4pPr>
              <a:defRPr baseline="0"/>
            </a:lvl4pPr>
            <a:lvl5pPr>
              <a:defRPr baseline="0"/>
            </a:lvl5pPr>
          </a:lstStyle>
          <a:p>
            <a:pPr lvl="0"/>
            <a:r>
              <a:rPr lang="en-US"/>
              <a:t>Click to add text or click an icon to add other content types.</a:t>
            </a:r>
          </a:p>
          <a:p>
            <a:pPr lvl="1"/>
            <a:r>
              <a:rPr lang="en-US"/>
              <a:t>Second level</a:t>
            </a:r>
          </a:p>
          <a:p>
            <a:pPr lvl="2"/>
            <a:r>
              <a:rPr lang="en-US"/>
              <a:t>Third level</a:t>
            </a:r>
          </a:p>
        </p:txBody>
      </p:sp>
      <p:sp>
        <p:nvSpPr>
          <p:cNvPr id="15" name="Text Placeholder 14">
            <a:extLst>
              <a:ext uri="{FF2B5EF4-FFF2-40B4-BE49-F238E27FC236}">
                <a16:creationId xmlns:a16="http://schemas.microsoft.com/office/drawing/2014/main" id="{6841ED34-FEB5-C146-83AC-389AC6CD9768}"/>
              </a:ext>
            </a:extLst>
          </p:cNvPr>
          <p:cNvSpPr>
            <a:spLocks noGrp="1"/>
          </p:cNvSpPr>
          <p:nvPr>
            <p:ph type="body" sz="quarter" idx="16" hasCustomPrompt="1"/>
          </p:nvPr>
        </p:nvSpPr>
        <p:spPr>
          <a:xfrm>
            <a:off x="3127375" y="228887"/>
            <a:ext cx="6016625" cy="409575"/>
          </a:xfrm>
        </p:spPr>
        <p:txBody>
          <a:bodyPr>
            <a:noAutofit/>
          </a:bodyPr>
          <a:lstStyle>
            <a:lvl1pPr marL="0" indent="0" algn="ctr">
              <a:buNone/>
              <a:defRPr sz="2800" b="1">
                <a:latin typeface="+mn-lt"/>
              </a:defRPr>
            </a:lvl1pPr>
          </a:lstStyle>
          <a:p>
            <a:pPr lvl="0"/>
            <a:r>
              <a:rPr lang="en-US"/>
              <a:t>Click to add title</a:t>
            </a:r>
          </a:p>
        </p:txBody>
      </p:sp>
      <p:grpSp>
        <p:nvGrpSpPr>
          <p:cNvPr id="16" name="Group 15">
            <a:extLst>
              <a:ext uri="{FF2B5EF4-FFF2-40B4-BE49-F238E27FC236}">
                <a16:creationId xmlns:a16="http://schemas.microsoft.com/office/drawing/2014/main" id="{9E23137D-5031-B540-810B-5B5014DDB875}"/>
              </a:ext>
            </a:extLst>
          </p:cNvPr>
          <p:cNvGrpSpPr/>
          <p:nvPr/>
        </p:nvGrpSpPr>
        <p:grpSpPr>
          <a:xfrm>
            <a:off x="100130" y="3903136"/>
            <a:ext cx="1843588" cy="1108928"/>
            <a:chOff x="92670" y="3892522"/>
            <a:chExt cx="1843588" cy="1108928"/>
          </a:xfrm>
        </p:grpSpPr>
        <p:sp>
          <p:nvSpPr>
            <p:cNvPr id="17" name="Freeform 16">
              <a:extLst>
                <a:ext uri="{FF2B5EF4-FFF2-40B4-BE49-F238E27FC236}">
                  <a16:creationId xmlns:a16="http://schemas.microsoft.com/office/drawing/2014/main" id="{84F2A5B7-99AC-BD49-8594-6DAE464CF372}"/>
                </a:ext>
              </a:extLst>
            </p:cNvPr>
            <p:cNvSpPr/>
            <p:nvPr/>
          </p:nvSpPr>
          <p:spPr>
            <a:xfrm>
              <a:off x="1836799"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E995F31-A398-C943-8027-FFECF81903AA}"/>
                </a:ext>
              </a:extLst>
            </p:cNvPr>
            <p:cNvSpPr/>
            <p:nvPr/>
          </p:nvSpPr>
          <p:spPr>
            <a:xfrm>
              <a:off x="1587637"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60762E83-CF17-2247-AB0C-CDF3C02BC0D7}"/>
                </a:ext>
              </a:extLst>
            </p:cNvPr>
            <p:cNvSpPr/>
            <p:nvPr/>
          </p:nvSpPr>
          <p:spPr>
            <a:xfrm>
              <a:off x="1338476"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067A16E5-88F6-E34C-ADB8-42534BE72FC5}"/>
                </a:ext>
              </a:extLst>
            </p:cNvPr>
            <p:cNvSpPr/>
            <p:nvPr/>
          </p:nvSpPr>
          <p:spPr>
            <a:xfrm>
              <a:off x="1089315"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7822DD3-7A44-584E-8FDE-044968D0AF24}"/>
                </a:ext>
              </a:extLst>
            </p:cNvPr>
            <p:cNvSpPr/>
            <p:nvPr/>
          </p:nvSpPr>
          <p:spPr>
            <a:xfrm>
              <a:off x="1089315"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CC0BCCA-D6DE-DD4E-8026-E1C841BE8CA7}"/>
                </a:ext>
              </a:extLst>
            </p:cNvPr>
            <p:cNvSpPr/>
            <p:nvPr/>
          </p:nvSpPr>
          <p:spPr>
            <a:xfrm>
              <a:off x="840154"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8AED6F9-E6A3-EB4A-A55C-0740537659D6}"/>
                </a:ext>
              </a:extLst>
            </p:cNvPr>
            <p:cNvSpPr/>
            <p:nvPr/>
          </p:nvSpPr>
          <p:spPr>
            <a:xfrm>
              <a:off x="1089315"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3000"/>
              </a:srgbClr>
            </a:solidFill>
            <a:ln w="205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D44A5219-46D3-9D49-A8CC-36711F2BF6DB}"/>
                </a:ext>
              </a:extLst>
            </p:cNvPr>
            <p:cNvSpPr/>
            <p:nvPr/>
          </p:nvSpPr>
          <p:spPr>
            <a:xfrm>
              <a:off x="840154"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4628D6A-430F-AD46-B90A-8331A948822D}"/>
                </a:ext>
              </a:extLst>
            </p:cNvPr>
            <p:cNvSpPr/>
            <p:nvPr/>
          </p:nvSpPr>
          <p:spPr>
            <a:xfrm>
              <a:off x="590992"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B47CCF-EFB3-B44B-9884-4494451C2D72}"/>
                </a:ext>
              </a:extLst>
            </p:cNvPr>
            <p:cNvSpPr/>
            <p:nvPr/>
          </p:nvSpPr>
          <p:spPr>
            <a:xfrm>
              <a:off x="341831"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2A0D0CC0-B494-924D-8C7F-13E6CFA6A115}"/>
                </a:ext>
              </a:extLst>
            </p:cNvPr>
            <p:cNvSpPr/>
            <p:nvPr/>
          </p:nvSpPr>
          <p:spPr>
            <a:xfrm>
              <a:off x="92670"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1A103DE1-86D1-CC40-BC8E-F37870113828}"/>
                </a:ext>
              </a:extLst>
            </p:cNvPr>
            <p:cNvSpPr/>
            <p:nvPr/>
          </p:nvSpPr>
          <p:spPr>
            <a:xfrm>
              <a:off x="341831"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F85B7FDA-2A3D-5148-882C-7F5FD28C86D6}"/>
                </a:ext>
              </a:extLst>
            </p:cNvPr>
            <p:cNvSpPr/>
            <p:nvPr/>
          </p:nvSpPr>
          <p:spPr>
            <a:xfrm>
              <a:off x="341831"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319DB66-4056-974A-B568-9BE51C46D6DB}"/>
                </a:ext>
              </a:extLst>
            </p:cNvPr>
            <p:cNvSpPr/>
            <p:nvPr/>
          </p:nvSpPr>
          <p:spPr>
            <a:xfrm>
              <a:off x="92670"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7D9D4266-26E2-A649-B58A-BBD393D3909A}"/>
                </a:ext>
              </a:extLst>
            </p:cNvPr>
            <p:cNvSpPr/>
            <p:nvPr/>
          </p:nvSpPr>
          <p:spPr>
            <a:xfrm>
              <a:off x="341831" y="414168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25792925-8473-D74D-AD5F-C84AAB25EA9D}"/>
                </a:ext>
              </a:extLst>
            </p:cNvPr>
            <p:cNvSpPr/>
            <p:nvPr/>
          </p:nvSpPr>
          <p:spPr>
            <a:xfrm>
              <a:off x="341831" y="389252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0FFE52ED-3497-1048-86AD-9D9A6F52BF03}"/>
                </a:ext>
              </a:extLst>
            </p:cNvPr>
            <p:cNvSpPr/>
            <p:nvPr/>
          </p:nvSpPr>
          <p:spPr>
            <a:xfrm>
              <a:off x="590992" y="4141684"/>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9AE3BE6B-1DF9-664B-8C6A-831ED119861F}"/>
                </a:ext>
              </a:extLst>
            </p:cNvPr>
            <p:cNvSpPr/>
            <p:nvPr/>
          </p:nvSpPr>
          <p:spPr>
            <a:xfrm>
              <a:off x="827337" y="4876356"/>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25000"/>
              </a:srgbClr>
            </a:solidFill>
            <a:ln w="2052" cap="flat">
              <a:noFill/>
              <a:prstDash val="solid"/>
              <a:miter/>
            </a:ln>
          </p:spPr>
          <p:txBody>
            <a:bodyPr rtlCol="0" anchor="ctr"/>
            <a:lstStyle/>
            <a:p>
              <a:endParaRPr lang="en-US"/>
            </a:p>
          </p:txBody>
        </p:sp>
      </p:grpSp>
    </p:spTree>
    <p:custDataLst>
      <p:tags r:id="rId1"/>
    </p:custDataLst>
    <p:extLst>
      <p:ext uri="{BB962C8B-B14F-4D97-AF65-F5344CB8AC3E}">
        <p14:creationId xmlns:p14="http://schemas.microsoft.com/office/powerpoint/2010/main" val="331322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AS - Content with Caption -">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7E60C6F-E980-EE42-AE99-4BF9E126C012}"/>
              </a:ext>
            </a:extLst>
          </p:cNvPr>
          <p:cNvSpPr/>
          <p:nvPr/>
        </p:nvSpPr>
        <p:spPr>
          <a:xfrm>
            <a:off x="0" y="0"/>
            <a:ext cx="3127248" cy="5143500"/>
          </a:xfrm>
          <a:prstGeom prst="rect">
            <a:avLst/>
          </a:prstGeom>
          <a:gradFill flip="none" rotWithShape="1">
            <a:gsLst>
              <a:gs pos="0">
                <a:schemeClr val="tx2">
                  <a:lumMod val="90000"/>
                  <a:lumOff val="10000"/>
                </a:schemeClr>
              </a:gs>
              <a:gs pos="100000">
                <a:schemeClr val="tx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1">
            <a:extLst>
              <a:ext uri="{FF2B5EF4-FFF2-40B4-BE49-F238E27FC236}">
                <a16:creationId xmlns:a16="http://schemas.microsoft.com/office/drawing/2014/main" id="{32F2FC9C-401F-5C4C-88BC-0A45460C4F9C}"/>
              </a:ext>
            </a:extLst>
          </p:cNvPr>
          <p:cNvSpPr>
            <a:spLocks noGrp="1"/>
          </p:cNvSpPr>
          <p:nvPr>
            <p:ph type="title" hasCustomPrompt="1"/>
          </p:nvPr>
        </p:nvSpPr>
        <p:spPr>
          <a:xfrm>
            <a:off x="0" y="228887"/>
            <a:ext cx="3127248" cy="341632"/>
          </a:xfrm>
        </p:spPr>
        <p:txBody>
          <a:bodyPr lIns="91440" rIns="91440" anchor="t" anchorCtr="0">
            <a:spAutoFit/>
          </a:bodyPr>
          <a:lstStyle>
            <a:lvl1pPr algn="ctr" defTabSz="182880">
              <a:spcBef>
                <a:spcPts val="0"/>
              </a:spcBef>
              <a:defRPr sz="1800" baseline="0">
                <a:solidFill>
                  <a:schemeClr val="accent1">
                    <a:lumMod val="60000"/>
                    <a:lumOff val="40000"/>
                  </a:schemeClr>
                </a:solidFill>
                <a:effectLst/>
                <a:latin typeface="+mj-lt"/>
              </a:defRPr>
            </a:lvl1pPr>
          </a:lstStyle>
          <a:p>
            <a:r>
              <a:rPr lang="en-US"/>
              <a:t>Click to add title</a:t>
            </a:r>
          </a:p>
        </p:txBody>
      </p:sp>
      <p:sp>
        <p:nvSpPr>
          <p:cNvPr id="4" name="Text Placeholder 4">
            <a:extLst>
              <a:ext uri="{FF2B5EF4-FFF2-40B4-BE49-F238E27FC236}">
                <a16:creationId xmlns:a16="http://schemas.microsoft.com/office/drawing/2014/main" id="{0ADB52DD-F50B-834D-99B3-5D1C55A9E47D}"/>
              </a:ext>
            </a:extLst>
          </p:cNvPr>
          <p:cNvSpPr>
            <a:spLocks noGrp="1"/>
          </p:cNvSpPr>
          <p:nvPr>
            <p:ph type="body" sz="quarter" idx="13" hasCustomPrompt="1"/>
          </p:nvPr>
        </p:nvSpPr>
        <p:spPr>
          <a:xfrm>
            <a:off x="411480" y="996694"/>
            <a:ext cx="2304288" cy="615553"/>
          </a:xfrm>
        </p:spPr>
        <p:txBody>
          <a:bodyPr wrap="square" anchor="t" anchorCtr="0">
            <a:spAutoFit/>
          </a:bodyPr>
          <a:lstStyle>
            <a:lvl1pPr marL="0" indent="-182880" algn="l">
              <a:buFont typeface="Arial" pitchFamily="34" charset="0"/>
              <a:buNone/>
              <a:defRPr sz="2000" b="0" cap="none" baseline="0">
                <a:solidFill>
                  <a:schemeClr val="bg1">
                    <a:lumMod val="85000"/>
                  </a:schemeClr>
                </a:solidFill>
                <a:effectLst/>
                <a:latin typeface="+mn-lt"/>
              </a:defRPr>
            </a:lvl1pPr>
          </a:lstStyle>
          <a:p>
            <a:pPr lvl="0"/>
            <a:r>
              <a:rPr lang="en-US"/>
              <a:t>Click to edit caption text</a:t>
            </a:r>
          </a:p>
        </p:txBody>
      </p:sp>
      <p:sp>
        <p:nvSpPr>
          <p:cNvPr id="6" name="Text Placeholder 2">
            <a:extLst>
              <a:ext uri="{FF2B5EF4-FFF2-40B4-BE49-F238E27FC236}">
                <a16:creationId xmlns:a16="http://schemas.microsoft.com/office/drawing/2014/main" id="{AC4D2804-3DAD-EE40-936A-43F13F80C8DF}"/>
              </a:ext>
            </a:extLst>
          </p:cNvPr>
          <p:cNvSpPr>
            <a:spLocks noGrp="1"/>
          </p:cNvSpPr>
          <p:nvPr>
            <p:ph type="body" sz="quarter" idx="11" hasCustomPrompt="1"/>
          </p:nvPr>
        </p:nvSpPr>
        <p:spPr>
          <a:xfrm>
            <a:off x="3127248" y="637660"/>
            <a:ext cx="6016752" cy="274320"/>
          </a:xfrm>
        </p:spPr>
        <p:txBody>
          <a:bodyPr wrap="square" lIns="182880" rIns="182880" anchor="ctr" anchorCtr="0">
            <a:noAutofit/>
          </a:bodyPr>
          <a:lstStyle>
            <a:lvl1pPr marL="0" indent="0" algn="ctr">
              <a:lnSpc>
                <a:spcPct val="100000"/>
              </a:lnSpc>
              <a:spcBef>
                <a:spcPts val="0"/>
              </a:spcBef>
              <a:buFont typeface="Arial" pitchFamily="34" charset="0"/>
              <a:buNone/>
              <a:defRPr sz="1800" b="0" cap="none" baseline="0">
                <a:solidFill>
                  <a:schemeClr val="accent1">
                    <a:lumMod val="60000"/>
                    <a:lumOff val="40000"/>
                  </a:schemeClr>
                </a:solidFill>
                <a:effectLst/>
                <a:latin typeface="+mj-lt"/>
              </a:defRPr>
            </a:lvl1pPr>
          </a:lstStyle>
          <a:p>
            <a:pPr lvl="0"/>
            <a:r>
              <a:rPr lang="en-US"/>
              <a:t>Click to add subtitle</a:t>
            </a:r>
          </a:p>
        </p:txBody>
      </p:sp>
      <p:sp>
        <p:nvSpPr>
          <p:cNvPr id="7" name="Content Placeholder 3">
            <a:extLst>
              <a:ext uri="{FF2B5EF4-FFF2-40B4-BE49-F238E27FC236}">
                <a16:creationId xmlns:a16="http://schemas.microsoft.com/office/drawing/2014/main" id="{6A0DAF33-5110-D340-8044-FA8F4990F845}"/>
              </a:ext>
            </a:extLst>
          </p:cNvPr>
          <p:cNvSpPr>
            <a:spLocks noGrp="1"/>
          </p:cNvSpPr>
          <p:nvPr>
            <p:ph sz="quarter" idx="15" hasCustomPrompt="1"/>
          </p:nvPr>
        </p:nvSpPr>
        <p:spPr>
          <a:xfrm>
            <a:off x="3127248" y="920337"/>
            <a:ext cx="6016752" cy="4215653"/>
          </a:xfrm>
        </p:spPr>
        <p:txBody>
          <a:bodyPr wrap="square" lIns="365760" rIns="274320" bIns="91440" anchor="t" anchorCtr="0">
            <a:normAutofit/>
          </a:bodyPr>
          <a:lstStyle>
            <a:lvl1pPr>
              <a:buClr>
                <a:schemeClr val="bg2"/>
              </a:buClr>
              <a:defRPr sz="2000" baseline="0">
                <a:solidFill>
                  <a:schemeClr val="bg1"/>
                </a:solidFill>
              </a:defRPr>
            </a:lvl1pPr>
            <a:lvl2pPr>
              <a:buClr>
                <a:schemeClr val="bg2"/>
              </a:buClr>
              <a:defRPr baseline="0">
                <a:solidFill>
                  <a:schemeClr val="bg1">
                    <a:lumMod val="75000"/>
                  </a:schemeClr>
                </a:solidFill>
              </a:defRPr>
            </a:lvl2pPr>
            <a:lvl3pPr>
              <a:buClr>
                <a:schemeClr val="bg2"/>
              </a:buClr>
              <a:defRPr baseline="0">
                <a:solidFill>
                  <a:schemeClr val="bg1">
                    <a:lumMod val="75000"/>
                  </a:schemeClr>
                </a:solidFill>
              </a:defRPr>
            </a:lvl3pPr>
            <a:lvl4pPr>
              <a:defRPr baseline="0"/>
            </a:lvl4pPr>
            <a:lvl5pPr>
              <a:defRPr baseline="0"/>
            </a:lvl5pPr>
          </a:lstStyle>
          <a:p>
            <a:pPr lvl="0"/>
            <a:r>
              <a:rPr lang="en-US"/>
              <a:t>Click to add text or click an icon to add other content types.</a:t>
            </a:r>
          </a:p>
          <a:p>
            <a:pPr lvl="1"/>
            <a:r>
              <a:rPr lang="en-US"/>
              <a:t>Second level</a:t>
            </a:r>
          </a:p>
          <a:p>
            <a:pPr lvl="2"/>
            <a:r>
              <a:rPr lang="en-US"/>
              <a:t>Third level</a:t>
            </a:r>
          </a:p>
        </p:txBody>
      </p:sp>
      <p:sp>
        <p:nvSpPr>
          <p:cNvPr id="15" name="Text Placeholder 14">
            <a:extLst>
              <a:ext uri="{FF2B5EF4-FFF2-40B4-BE49-F238E27FC236}">
                <a16:creationId xmlns:a16="http://schemas.microsoft.com/office/drawing/2014/main" id="{6841ED34-FEB5-C146-83AC-389AC6CD9768}"/>
              </a:ext>
            </a:extLst>
          </p:cNvPr>
          <p:cNvSpPr>
            <a:spLocks noGrp="1"/>
          </p:cNvSpPr>
          <p:nvPr>
            <p:ph type="body" sz="quarter" idx="16" hasCustomPrompt="1"/>
          </p:nvPr>
        </p:nvSpPr>
        <p:spPr>
          <a:xfrm>
            <a:off x="3127375" y="228887"/>
            <a:ext cx="6016625" cy="409575"/>
          </a:xfrm>
        </p:spPr>
        <p:txBody>
          <a:bodyPr>
            <a:noAutofit/>
          </a:bodyPr>
          <a:lstStyle>
            <a:lvl1pPr marL="0" indent="0" algn="ctr">
              <a:buNone/>
              <a:defRPr sz="2800" b="1">
                <a:latin typeface="+mn-lt"/>
              </a:defRPr>
            </a:lvl1pPr>
          </a:lstStyle>
          <a:p>
            <a:pPr lvl="0"/>
            <a:r>
              <a:rPr lang="en-US"/>
              <a:t>Click to add title</a:t>
            </a:r>
          </a:p>
        </p:txBody>
      </p:sp>
      <p:grpSp>
        <p:nvGrpSpPr>
          <p:cNvPr id="16" name="Group 15">
            <a:extLst>
              <a:ext uri="{FF2B5EF4-FFF2-40B4-BE49-F238E27FC236}">
                <a16:creationId xmlns:a16="http://schemas.microsoft.com/office/drawing/2014/main" id="{9E23137D-5031-B540-810B-5B5014DDB875}"/>
              </a:ext>
            </a:extLst>
          </p:cNvPr>
          <p:cNvGrpSpPr/>
          <p:nvPr/>
        </p:nvGrpSpPr>
        <p:grpSpPr>
          <a:xfrm>
            <a:off x="100130" y="3903136"/>
            <a:ext cx="1843588" cy="1108928"/>
            <a:chOff x="92670" y="3892522"/>
            <a:chExt cx="1843588" cy="1108928"/>
          </a:xfrm>
        </p:grpSpPr>
        <p:sp>
          <p:nvSpPr>
            <p:cNvPr id="17" name="Freeform 16">
              <a:extLst>
                <a:ext uri="{FF2B5EF4-FFF2-40B4-BE49-F238E27FC236}">
                  <a16:creationId xmlns:a16="http://schemas.microsoft.com/office/drawing/2014/main" id="{84F2A5B7-99AC-BD49-8594-6DAE464CF372}"/>
                </a:ext>
              </a:extLst>
            </p:cNvPr>
            <p:cNvSpPr/>
            <p:nvPr/>
          </p:nvSpPr>
          <p:spPr>
            <a:xfrm>
              <a:off x="1836799"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E995F31-A398-C943-8027-FFECF81903AA}"/>
                </a:ext>
              </a:extLst>
            </p:cNvPr>
            <p:cNvSpPr/>
            <p:nvPr/>
          </p:nvSpPr>
          <p:spPr>
            <a:xfrm>
              <a:off x="1587637"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60762E83-CF17-2247-AB0C-CDF3C02BC0D7}"/>
                </a:ext>
              </a:extLst>
            </p:cNvPr>
            <p:cNvSpPr/>
            <p:nvPr/>
          </p:nvSpPr>
          <p:spPr>
            <a:xfrm>
              <a:off x="1338476"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067A16E5-88F6-E34C-ADB8-42534BE72FC5}"/>
                </a:ext>
              </a:extLst>
            </p:cNvPr>
            <p:cNvSpPr/>
            <p:nvPr/>
          </p:nvSpPr>
          <p:spPr>
            <a:xfrm>
              <a:off x="1089315"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7822DD3-7A44-584E-8FDE-044968D0AF24}"/>
                </a:ext>
              </a:extLst>
            </p:cNvPr>
            <p:cNvSpPr/>
            <p:nvPr/>
          </p:nvSpPr>
          <p:spPr>
            <a:xfrm>
              <a:off x="1089315"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CC0BCCA-D6DE-DD4E-8026-E1C841BE8CA7}"/>
                </a:ext>
              </a:extLst>
            </p:cNvPr>
            <p:cNvSpPr/>
            <p:nvPr/>
          </p:nvSpPr>
          <p:spPr>
            <a:xfrm>
              <a:off x="840154"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E8AED6F9-E6A3-EB4A-A55C-0740537659D6}"/>
                </a:ext>
              </a:extLst>
            </p:cNvPr>
            <p:cNvSpPr/>
            <p:nvPr/>
          </p:nvSpPr>
          <p:spPr>
            <a:xfrm>
              <a:off x="1089315"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3000"/>
              </a:srgbClr>
            </a:solidFill>
            <a:ln w="2052"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D44A5219-46D3-9D49-A8CC-36711F2BF6DB}"/>
                </a:ext>
              </a:extLst>
            </p:cNvPr>
            <p:cNvSpPr/>
            <p:nvPr/>
          </p:nvSpPr>
          <p:spPr>
            <a:xfrm>
              <a:off x="840154"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24628D6A-430F-AD46-B90A-8331A948822D}"/>
                </a:ext>
              </a:extLst>
            </p:cNvPr>
            <p:cNvSpPr/>
            <p:nvPr/>
          </p:nvSpPr>
          <p:spPr>
            <a:xfrm>
              <a:off x="590992"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F0B47CCF-EFB3-B44B-9884-4494451C2D72}"/>
                </a:ext>
              </a:extLst>
            </p:cNvPr>
            <p:cNvSpPr/>
            <p:nvPr/>
          </p:nvSpPr>
          <p:spPr>
            <a:xfrm>
              <a:off x="341831"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2A0D0CC0-B494-924D-8C7F-13E6CFA6A115}"/>
                </a:ext>
              </a:extLst>
            </p:cNvPr>
            <p:cNvSpPr/>
            <p:nvPr/>
          </p:nvSpPr>
          <p:spPr>
            <a:xfrm>
              <a:off x="92670"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1A103DE1-86D1-CC40-BC8E-F37870113828}"/>
                </a:ext>
              </a:extLst>
            </p:cNvPr>
            <p:cNvSpPr/>
            <p:nvPr/>
          </p:nvSpPr>
          <p:spPr>
            <a:xfrm>
              <a:off x="341831"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F85B7FDA-2A3D-5148-882C-7F5FD28C86D6}"/>
                </a:ext>
              </a:extLst>
            </p:cNvPr>
            <p:cNvSpPr/>
            <p:nvPr/>
          </p:nvSpPr>
          <p:spPr>
            <a:xfrm>
              <a:off x="341831"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D319DB66-4056-974A-B568-9BE51C46D6DB}"/>
                </a:ext>
              </a:extLst>
            </p:cNvPr>
            <p:cNvSpPr/>
            <p:nvPr/>
          </p:nvSpPr>
          <p:spPr>
            <a:xfrm>
              <a:off x="92670"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7D9D4266-26E2-A649-B58A-BBD393D3909A}"/>
                </a:ext>
              </a:extLst>
            </p:cNvPr>
            <p:cNvSpPr/>
            <p:nvPr/>
          </p:nvSpPr>
          <p:spPr>
            <a:xfrm>
              <a:off x="341831" y="414168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25792925-8473-D74D-AD5F-C84AAB25EA9D}"/>
                </a:ext>
              </a:extLst>
            </p:cNvPr>
            <p:cNvSpPr/>
            <p:nvPr/>
          </p:nvSpPr>
          <p:spPr>
            <a:xfrm>
              <a:off x="341831" y="389252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0FFE52ED-3497-1048-86AD-9D9A6F52BF03}"/>
                </a:ext>
              </a:extLst>
            </p:cNvPr>
            <p:cNvSpPr/>
            <p:nvPr/>
          </p:nvSpPr>
          <p:spPr>
            <a:xfrm>
              <a:off x="590992" y="4141684"/>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9AE3BE6B-1DF9-664B-8C6A-831ED119861F}"/>
                </a:ext>
              </a:extLst>
            </p:cNvPr>
            <p:cNvSpPr/>
            <p:nvPr/>
          </p:nvSpPr>
          <p:spPr>
            <a:xfrm>
              <a:off x="827337" y="4876356"/>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25000"/>
              </a:srgbClr>
            </a:solidFill>
            <a:ln w="2052" cap="flat">
              <a:noFill/>
              <a:prstDash val="solid"/>
              <a:miter/>
            </a:ln>
          </p:spPr>
          <p:txBody>
            <a:bodyPr rtlCol="0" anchor="ctr"/>
            <a:lstStyle/>
            <a:p>
              <a:endParaRPr lang="en-US"/>
            </a:p>
          </p:txBody>
        </p:sp>
      </p:grpSp>
    </p:spTree>
    <p:custDataLst>
      <p:tags r:id="rId1"/>
    </p:custDataLst>
    <p:extLst>
      <p:ext uri="{BB962C8B-B14F-4D97-AF65-F5344CB8AC3E}">
        <p14:creationId xmlns:p14="http://schemas.microsoft.com/office/powerpoint/2010/main" val="322495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AS - Content with Ima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D6492C8-F2B6-994C-93E7-13EF75C493AC}"/>
              </a:ext>
            </a:extLst>
          </p:cNvPr>
          <p:cNvSpPr>
            <a:spLocks noGrp="1"/>
          </p:cNvSpPr>
          <p:nvPr>
            <p:ph type="body" sz="quarter" idx="11"/>
          </p:nvPr>
        </p:nvSpPr>
        <p:spPr>
          <a:xfrm>
            <a:off x="5394152" y="1751961"/>
            <a:ext cx="3357562" cy="1022310"/>
          </a:xfrm>
        </p:spPr>
        <p:txBody>
          <a:bodyPr/>
          <a:lstStyle>
            <a:lvl1pPr marL="0" indent="0">
              <a:buNone/>
              <a:defRPr/>
            </a:lvl1pPr>
            <a:lvl2pPr marL="182880" indent="0">
              <a:buNone/>
              <a:defRPr/>
            </a:lvl2pPr>
            <a:lvl3pPr marL="365760" indent="0">
              <a:buNone/>
              <a:defRPr/>
            </a:lvl3pPr>
            <a:lvl4pPr marL="1028700" indent="0">
              <a:buNone/>
              <a:defRPr/>
            </a:lvl4pPr>
            <a:lvl5pPr marL="1371600" indent="0">
              <a:buNone/>
              <a:defRPr/>
            </a:lvl5pPr>
          </a:lstStyle>
          <a:p>
            <a:pPr lvl="0"/>
            <a:r>
              <a:rPr lang="en-US"/>
              <a:t>Click to edit Master text styles</a:t>
            </a:r>
          </a:p>
        </p:txBody>
      </p:sp>
      <p:sp>
        <p:nvSpPr>
          <p:cNvPr id="17" name="Freeform 16">
            <a:extLst>
              <a:ext uri="{FF2B5EF4-FFF2-40B4-BE49-F238E27FC236}">
                <a16:creationId xmlns:a16="http://schemas.microsoft.com/office/drawing/2014/main" id="{B28BF588-A539-E84D-BAE7-8D1EE1761D7B}"/>
              </a:ext>
            </a:extLst>
          </p:cNvPr>
          <p:cNvSpPr/>
          <p:nvPr/>
        </p:nvSpPr>
        <p:spPr>
          <a:xfrm>
            <a:off x="3125188" y="-1"/>
            <a:ext cx="3004957" cy="5143500"/>
          </a:xfrm>
          <a:custGeom>
            <a:avLst/>
            <a:gdLst>
              <a:gd name="connsiteX0" fmla="*/ 2952243 w 3004957"/>
              <a:gd name="connsiteY0" fmla="*/ 0 h 5143500"/>
              <a:gd name="connsiteX1" fmla="*/ 3004957 w 3004957"/>
              <a:gd name="connsiteY1" fmla="*/ 0 h 5143500"/>
              <a:gd name="connsiteX2" fmla="*/ 52714 w 3004957"/>
              <a:gd name="connsiteY2" fmla="*/ 5143500 h 5143500"/>
              <a:gd name="connsiteX3" fmla="*/ 0 w 3004957"/>
              <a:gd name="connsiteY3" fmla="*/ 5143500 h 5143500"/>
              <a:gd name="connsiteX4" fmla="*/ 2952243 w 3004957"/>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4957" h="5143500">
                <a:moveTo>
                  <a:pt x="2952243" y="0"/>
                </a:moveTo>
                <a:lnTo>
                  <a:pt x="3004957" y="0"/>
                </a:lnTo>
                <a:lnTo>
                  <a:pt x="52714" y="5143500"/>
                </a:lnTo>
                <a:lnTo>
                  <a:pt x="0" y="5143500"/>
                </a:lnTo>
                <a:lnTo>
                  <a:pt x="2952243" y="0"/>
                </a:lnTo>
                <a:close/>
              </a:path>
            </a:pathLst>
          </a:custGeom>
          <a:gradFill flip="none" rotWithShape="1">
            <a:gsLst>
              <a:gs pos="30000">
                <a:srgbClr val="3D5AAE"/>
              </a:gs>
              <a:gs pos="100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6">
            <a:extLst>
              <a:ext uri="{FF2B5EF4-FFF2-40B4-BE49-F238E27FC236}">
                <a16:creationId xmlns:a16="http://schemas.microsoft.com/office/drawing/2014/main" id="{2E8F94DC-1ACF-544C-BF1F-4C5126BC465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11892" y="4746756"/>
            <a:ext cx="558779" cy="253991"/>
          </a:xfrm>
          <a:prstGeom prst="rect">
            <a:avLst/>
          </a:prstGeom>
        </p:spPr>
      </p:pic>
      <p:sp>
        <p:nvSpPr>
          <p:cNvPr id="6" name="TextBox 4">
            <a:extLst>
              <a:ext uri="{FF2B5EF4-FFF2-40B4-BE49-F238E27FC236}">
                <a16:creationId xmlns:a16="http://schemas.microsoft.com/office/drawing/2014/main" id="{310B4187-0EBC-5A45-8561-21E3AF78A755}"/>
              </a:ext>
            </a:extLst>
          </p:cNvPr>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sp>
        <p:nvSpPr>
          <p:cNvPr id="3" name="Picture Placeholder 2">
            <a:extLst>
              <a:ext uri="{FF2B5EF4-FFF2-40B4-BE49-F238E27FC236}">
                <a16:creationId xmlns:a16="http://schemas.microsoft.com/office/drawing/2014/main" id="{9290C0E4-ECBA-5946-9BAC-DC37C672894D}"/>
              </a:ext>
            </a:extLst>
          </p:cNvPr>
          <p:cNvSpPr>
            <a:spLocks noGrp="1"/>
          </p:cNvSpPr>
          <p:nvPr>
            <p:ph type="pic" sz="quarter" idx="12"/>
          </p:nvPr>
        </p:nvSpPr>
        <p:spPr>
          <a:xfrm>
            <a:off x="-7058" y="0"/>
            <a:ext cx="6081885" cy="5143500"/>
          </a:xfrm>
          <a:custGeom>
            <a:avLst/>
            <a:gdLst>
              <a:gd name="connsiteX0" fmla="*/ 0 w 3125788"/>
              <a:gd name="connsiteY0" fmla="*/ 5143500 h 5143500"/>
              <a:gd name="connsiteX1" fmla="*/ 781447 w 3125788"/>
              <a:gd name="connsiteY1" fmla="*/ 0 h 5143500"/>
              <a:gd name="connsiteX2" fmla="*/ 2344341 w 3125788"/>
              <a:gd name="connsiteY2" fmla="*/ 0 h 5143500"/>
              <a:gd name="connsiteX3" fmla="*/ 3125788 w 3125788"/>
              <a:gd name="connsiteY3" fmla="*/ 5143500 h 5143500"/>
              <a:gd name="connsiteX4" fmla="*/ 0 w 3125788"/>
              <a:gd name="connsiteY4" fmla="*/ 5143500 h 5143500"/>
              <a:gd name="connsiteX0" fmla="*/ 0 w 6074828"/>
              <a:gd name="connsiteY0" fmla="*/ 5143500 h 5143500"/>
              <a:gd name="connsiteX1" fmla="*/ 781447 w 6074828"/>
              <a:gd name="connsiteY1" fmla="*/ 0 h 5143500"/>
              <a:gd name="connsiteX2" fmla="*/ 6074828 w 6074828"/>
              <a:gd name="connsiteY2" fmla="*/ 0 h 5143500"/>
              <a:gd name="connsiteX3" fmla="*/ 3125788 w 6074828"/>
              <a:gd name="connsiteY3" fmla="*/ 5143500 h 5143500"/>
              <a:gd name="connsiteX4" fmla="*/ 0 w 6074828"/>
              <a:gd name="connsiteY4" fmla="*/ 5143500 h 5143500"/>
              <a:gd name="connsiteX0" fmla="*/ 7057 w 6081885"/>
              <a:gd name="connsiteY0" fmla="*/ 5143500 h 5143500"/>
              <a:gd name="connsiteX1" fmla="*/ 0 w 6081885"/>
              <a:gd name="connsiteY1" fmla="*/ 0 h 5143500"/>
              <a:gd name="connsiteX2" fmla="*/ 6081885 w 6081885"/>
              <a:gd name="connsiteY2" fmla="*/ 0 h 5143500"/>
              <a:gd name="connsiteX3" fmla="*/ 3132845 w 6081885"/>
              <a:gd name="connsiteY3" fmla="*/ 5143500 h 5143500"/>
              <a:gd name="connsiteX4" fmla="*/ 7057 w 6081885"/>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885" h="5143500">
                <a:moveTo>
                  <a:pt x="7057" y="5143500"/>
                </a:moveTo>
                <a:cubicBezTo>
                  <a:pt x="4705" y="3429000"/>
                  <a:pt x="2352" y="1714500"/>
                  <a:pt x="0" y="0"/>
                </a:cubicBezTo>
                <a:lnTo>
                  <a:pt x="6081885" y="0"/>
                </a:lnTo>
                <a:lnTo>
                  <a:pt x="3132845" y="5143500"/>
                </a:lnTo>
                <a:lnTo>
                  <a:pt x="7057" y="5143500"/>
                </a:lnTo>
                <a:close/>
              </a:path>
            </a:pathLst>
          </a:custGeom>
        </p:spPr>
        <p:txBody>
          <a:bodyPr/>
          <a:lstStyle/>
          <a:p>
            <a:r>
              <a:rPr lang="en-US"/>
              <a:t>Click icon to add picture</a:t>
            </a:r>
          </a:p>
        </p:txBody>
      </p:sp>
    </p:spTree>
    <p:custDataLst>
      <p:tags r:id="rId1"/>
    </p:custDataLst>
    <p:extLst>
      <p:ext uri="{BB962C8B-B14F-4D97-AF65-F5344CB8AC3E}">
        <p14:creationId xmlns:p14="http://schemas.microsoft.com/office/powerpoint/2010/main" val="224243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SAS - Blue Backgroun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227769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SAS - Image Only - White">
    <p:bg>
      <p:bgPr>
        <a:solidFill>
          <a:schemeClr val="bg1"/>
        </a:solidFill>
        <a:effectLst/>
      </p:bgPr>
    </p:bg>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827EE352-7D2C-A441-A898-DDF88FC2D8F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411892" y="4758271"/>
            <a:ext cx="558779" cy="230961"/>
          </a:xfrm>
          <a:prstGeom prst="rect">
            <a:avLst/>
          </a:prstGeom>
        </p:spPr>
      </p:pic>
      <p:sp>
        <p:nvSpPr>
          <p:cNvPr id="4" name="TextBox 4">
            <a:extLst>
              <a:ext uri="{FF2B5EF4-FFF2-40B4-BE49-F238E27FC236}">
                <a16:creationId xmlns:a16="http://schemas.microsoft.com/office/drawing/2014/main" id="{FC61EEC8-0C67-4E4B-96F0-B7FBDEF4618C}"/>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solidFill>
                <a:effectLst/>
                <a:uLnTx/>
                <a:uFillTx/>
                <a:latin typeface="+mn-lt"/>
                <a:ea typeface="Calibri" charset="0"/>
                <a:cs typeface="Arial" panose="020B0604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112784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AS - Black Background">
    <p:bg>
      <p:bgPr>
        <a:solidFill>
          <a:srgbClr val="000000"/>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351AFB0-E8BA-6E40-9F47-B58679E16989}"/>
              </a:ext>
            </a:extLst>
          </p:cNvPr>
          <p:cNvSpPr/>
          <p:nvPr/>
        </p:nvSpPr>
        <p:spPr>
          <a:xfrm>
            <a:off x="0" y="0"/>
            <a:ext cx="9144000"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9CC8A4CC-C6DD-674E-9755-C2307DA101AD}"/>
              </a:ext>
            </a:extLst>
          </p:cNvPr>
          <p:cNvGrpSpPr/>
          <p:nvPr/>
        </p:nvGrpSpPr>
        <p:grpSpPr>
          <a:xfrm>
            <a:off x="8427835" y="4765184"/>
            <a:ext cx="526892" cy="220528"/>
            <a:chOff x="6145213" y="4384676"/>
            <a:chExt cx="1582738" cy="649287"/>
          </a:xfrm>
          <a:solidFill>
            <a:schemeClr val="bg2">
              <a:lumMod val="50000"/>
            </a:schemeClr>
          </a:solidFill>
        </p:grpSpPr>
        <p:sp>
          <p:nvSpPr>
            <p:cNvPr id="5" name="Freeform 6">
              <a:extLst>
                <a:ext uri="{FF2B5EF4-FFF2-40B4-BE49-F238E27FC236}">
                  <a16:creationId xmlns:a16="http://schemas.microsoft.com/office/drawing/2014/main" id="{FC0936E0-05D4-D944-94E4-FBA36E861837}"/>
                </a:ext>
              </a:extLst>
            </p:cNvPr>
            <p:cNvSpPr>
              <a:spLocks/>
            </p:cNvSpPr>
            <p:nvPr/>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E5ACFC61-8225-8F4F-A539-DCE60FEB039A}"/>
                </a:ext>
              </a:extLst>
            </p:cNvPr>
            <p:cNvSpPr>
              <a:spLocks noEditPoints="1"/>
            </p:cNvSpPr>
            <p:nvPr/>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AB029620-52DD-C540-9F66-FD8586A661D7}"/>
                </a:ext>
              </a:extLst>
            </p:cNvPr>
            <p:cNvSpPr>
              <a:spLocks/>
            </p:cNvSpPr>
            <p:nvPr/>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7">
              <a:extLst>
                <a:ext uri="{FF2B5EF4-FFF2-40B4-BE49-F238E27FC236}">
                  <a16:creationId xmlns:a16="http://schemas.microsoft.com/office/drawing/2014/main" id="{5F2C8F16-8DA0-6A49-A6A6-F8C208B72416}"/>
                </a:ext>
              </a:extLst>
            </p:cNvPr>
            <p:cNvSpPr>
              <a:spLocks/>
            </p:cNvSpPr>
            <p:nvPr/>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8">
              <a:extLst>
                <a:ext uri="{FF2B5EF4-FFF2-40B4-BE49-F238E27FC236}">
                  <a16:creationId xmlns:a16="http://schemas.microsoft.com/office/drawing/2014/main" id="{3F51FBB3-DAAD-0546-AF4C-840293C90D95}"/>
                </a:ext>
              </a:extLst>
            </p:cNvPr>
            <p:cNvSpPr>
              <a:spLocks/>
            </p:cNvSpPr>
            <p:nvPr/>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
              <a:extLst>
                <a:ext uri="{FF2B5EF4-FFF2-40B4-BE49-F238E27FC236}">
                  <a16:creationId xmlns:a16="http://schemas.microsoft.com/office/drawing/2014/main" id="{ED4644BB-791F-6241-8C89-AFA3C1325C38}"/>
                </a:ext>
              </a:extLst>
            </p:cNvPr>
            <p:cNvSpPr>
              <a:spLocks noEditPoints="1"/>
            </p:cNvSpPr>
            <p:nvPr/>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0">
              <a:extLst>
                <a:ext uri="{FF2B5EF4-FFF2-40B4-BE49-F238E27FC236}">
                  <a16:creationId xmlns:a16="http://schemas.microsoft.com/office/drawing/2014/main" id="{2DAE9313-7E29-324E-B411-25184A85F9E3}"/>
                </a:ext>
              </a:extLst>
            </p:cNvPr>
            <p:cNvSpPr>
              <a:spLocks noEditPoints="1"/>
            </p:cNvSpPr>
            <p:nvPr/>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2" name="TextBox 3">
            <a:extLst>
              <a:ext uri="{FF2B5EF4-FFF2-40B4-BE49-F238E27FC236}">
                <a16:creationId xmlns:a16="http://schemas.microsoft.com/office/drawing/2014/main" id="{ACAC6727-2088-4147-A38A-47850B89BAF6}"/>
              </a:ext>
            </a:extLst>
          </p:cNvPr>
          <p:cNvSpPr txBox="1">
            <a:spLocks noChangeAspect="1"/>
          </p:cNvSpPr>
          <p:nvPr/>
        </p:nvSpPr>
        <p:spPr>
          <a:xfrm>
            <a:off x="3310128" y="4864608"/>
            <a:ext cx="2514600" cy="246221"/>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lumMod val="50000"/>
                  </a:schemeClr>
                </a:solidFill>
                <a:effectLst/>
                <a:uLnTx/>
                <a:uFillTx/>
                <a:latin typeface="+mn-lt"/>
                <a:ea typeface="Calibri" charset="0"/>
                <a:cs typeface="Arial" panose="020B0604020202020204" pitchFamily="34" charset="0"/>
              </a:rPr>
              <a:t>Company Confidential – For Internal Use Only</a:t>
            </a:r>
          </a:p>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2">
                    <a:lumMod val="50000"/>
                  </a:schemeClr>
                </a:solidFill>
                <a:effectLst/>
                <a:uLnTx/>
                <a:uFillTx/>
                <a:latin typeface="+mn-lt"/>
                <a:ea typeface="Calibri" charset="0"/>
                <a:cs typeface="Arial" panose="020B0604020202020204" pitchFamily="34" charset="0"/>
              </a:rPr>
              <a:t>Copyright © SAS Institute Inc. All rights reserved.</a:t>
            </a:r>
          </a:p>
        </p:txBody>
      </p:sp>
    </p:spTree>
    <p:extLst>
      <p:ext uri="{BB962C8B-B14F-4D97-AF65-F5344CB8AC3E}">
        <p14:creationId xmlns:p14="http://schemas.microsoft.com/office/powerpoint/2010/main" val="3291590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losing SAS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640452-C0E9-BB4A-8CF5-CE4FAA54E306}"/>
              </a:ext>
            </a:extLst>
          </p:cNvPr>
          <p:cNvSpPr/>
          <p:nvPr/>
        </p:nvSpPr>
        <p:spPr>
          <a:xfrm>
            <a:off x="0" y="-6046"/>
            <a:ext cx="9122591" cy="512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 up of a logo&#10;&#10;Description automatically generated">
            <a:extLst>
              <a:ext uri="{FF2B5EF4-FFF2-40B4-BE49-F238E27FC236}">
                <a16:creationId xmlns:a16="http://schemas.microsoft.com/office/drawing/2014/main" id="{55DCED66-1892-224F-B3AD-DC1323E4C9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2228850" cy="5143500"/>
          </a:xfrm>
          <a:prstGeom prst="rect">
            <a:avLst/>
          </a:prstGeom>
        </p:spPr>
      </p:pic>
      <p:sp>
        <p:nvSpPr>
          <p:cNvPr id="9" name="Text Placeholder 32">
            <a:extLst>
              <a:ext uri="{FF2B5EF4-FFF2-40B4-BE49-F238E27FC236}">
                <a16:creationId xmlns:a16="http://schemas.microsoft.com/office/drawing/2014/main" id="{1231D9FA-7877-D144-875E-EB15705E83A1}"/>
              </a:ext>
            </a:extLst>
          </p:cNvPr>
          <p:cNvSpPr>
            <a:spLocks noGrp="1"/>
          </p:cNvSpPr>
          <p:nvPr>
            <p:ph type="body" sz="quarter" idx="10"/>
          </p:nvPr>
        </p:nvSpPr>
        <p:spPr>
          <a:xfrm>
            <a:off x="1376653" y="1793688"/>
            <a:ext cx="6390694" cy="1556124"/>
          </a:xfrm>
        </p:spPr>
        <p:txBody>
          <a:bodyPr anchor="ctr">
            <a:normAutofit/>
          </a:bodyPr>
          <a:lstStyle>
            <a:lvl1pPr marL="0" indent="0" algn="ctr">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11" name="Rectangle 10">
            <a:extLst>
              <a:ext uri="{FF2B5EF4-FFF2-40B4-BE49-F238E27FC236}">
                <a16:creationId xmlns:a16="http://schemas.microsoft.com/office/drawing/2014/main" id="{60F2F4D0-EB0E-3842-9785-6EF69081820E}"/>
              </a:ext>
            </a:extLst>
          </p:cNvPr>
          <p:cNvSpPr/>
          <p:nvPr/>
        </p:nvSpPr>
        <p:spPr>
          <a:xfrm>
            <a:off x="0" y="0"/>
            <a:ext cx="2405925" cy="5148072"/>
          </a:xfrm>
          <a:prstGeom prst="rect">
            <a:avLst/>
          </a:prstGeom>
          <a:gradFill flip="none" rotWithShape="1">
            <a:gsLst>
              <a:gs pos="2000">
                <a:schemeClr val="tx2">
                  <a:alpha val="0"/>
                </a:schemeClr>
              </a:gs>
              <a:gs pos="100000">
                <a:schemeClr val="tx2">
                  <a:alpha val="3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4">
            <a:extLst>
              <a:ext uri="{FF2B5EF4-FFF2-40B4-BE49-F238E27FC236}">
                <a16:creationId xmlns:a16="http://schemas.microsoft.com/office/drawing/2014/main" id="{64A8B58C-CD7F-6F4B-B6E8-178EEF4B15DC}"/>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5" name="Picture 14">
            <a:extLst>
              <a:ext uri="{FF2B5EF4-FFF2-40B4-BE49-F238E27FC236}">
                <a16:creationId xmlns:a16="http://schemas.microsoft.com/office/drawing/2014/main" id="{BDDF8B79-0449-724D-9AE1-DD5080E117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635" y="4475284"/>
            <a:ext cx="1112368" cy="618852"/>
          </a:xfrm>
          <a:prstGeom prst="rect">
            <a:avLst/>
          </a:prstGeom>
        </p:spPr>
      </p:pic>
      <p:sp>
        <p:nvSpPr>
          <p:cNvPr id="2" name="TextBox 1">
            <a:extLst>
              <a:ext uri="{FF2B5EF4-FFF2-40B4-BE49-F238E27FC236}">
                <a16:creationId xmlns:a16="http://schemas.microsoft.com/office/drawing/2014/main" id="{503DB4AB-A9DE-4660-939A-CBDF75AC178E}"/>
              </a:ext>
            </a:extLst>
          </p:cNvPr>
          <p:cNvSpPr txBox="1"/>
          <p:nvPr/>
        </p:nvSpPr>
        <p:spPr>
          <a:xfrm>
            <a:off x="4078010" y="4138459"/>
            <a:ext cx="1009314" cy="400110"/>
          </a:xfrm>
          <a:prstGeom prst="rect">
            <a:avLst/>
          </a:prstGeom>
          <a:noFill/>
        </p:spPr>
        <p:txBody>
          <a:bodyPr wrap="none" rtlCol="0">
            <a:spAutoFit/>
          </a:bodyPr>
          <a:lstStyle/>
          <a:p>
            <a:pPr algn="ctr"/>
            <a:r>
              <a:rPr lang="en-US" sz="2000">
                <a:solidFill>
                  <a:schemeClr val="bg1"/>
                </a:solidFill>
                <a:latin typeface="+mj-lt"/>
              </a:rPr>
              <a:t>sas.com</a:t>
            </a:r>
          </a:p>
        </p:txBody>
      </p:sp>
    </p:spTree>
    <p:custDataLst>
      <p:tags r:id="rId1"/>
    </p:custDataLst>
    <p:extLst>
      <p:ext uri="{BB962C8B-B14F-4D97-AF65-F5344CB8AC3E}">
        <p14:creationId xmlns:p14="http://schemas.microsoft.com/office/powerpoint/2010/main" val="1290993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nd Subtitle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6364" y="192024"/>
            <a:ext cx="7891272" cy="457200"/>
          </a:xfrm>
        </p:spPr>
        <p:txBody>
          <a:bodyPr anchor="ctr" anchorCtr="0">
            <a:noAutofit/>
          </a:bodyPr>
          <a:lstStyle>
            <a:lvl1pPr algn="ctr">
              <a:defRPr baseline="0">
                <a:solidFill>
                  <a:schemeClr val="tx2"/>
                </a:solidFill>
              </a:defRPr>
            </a:lvl1pPr>
          </a:lstStyle>
          <a:p>
            <a:r>
              <a:rPr lang="en-US"/>
              <a:t>Click to Edit Title</a:t>
            </a:r>
          </a:p>
        </p:txBody>
      </p:sp>
      <p:sp>
        <p:nvSpPr>
          <p:cNvPr id="5" name="Text Placeholder 2"/>
          <p:cNvSpPr>
            <a:spLocks noGrp="1"/>
          </p:cNvSpPr>
          <p:nvPr>
            <p:ph type="body" sz="quarter" idx="11" hasCustomPrompt="1"/>
          </p:nvPr>
        </p:nvSpPr>
        <p:spPr>
          <a:xfrm flipH="1">
            <a:off x="626364" y="640080"/>
            <a:ext cx="7891272" cy="274320"/>
          </a:xfrm>
        </p:spPr>
        <p:txBody>
          <a:bodyPr wrap="square" anchor="ctr" anchorCtr="0">
            <a:noAutofit/>
          </a:bodyPr>
          <a:lstStyle>
            <a:lvl1pPr marL="0" indent="0" algn="ctr">
              <a:lnSpc>
                <a:spcPct val="100000"/>
              </a:lnSpc>
              <a:spcBef>
                <a:spcPts val="0"/>
              </a:spcBef>
              <a:buFont typeface="Arial" pitchFamily="34" charset="0"/>
              <a:buNone/>
              <a:defRPr sz="2200" b="0" cap="none" baseline="0">
                <a:solidFill>
                  <a:schemeClr val="accent1"/>
                </a:solidFill>
                <a:latin typeface="+mj-lt"/>
              </a:defRPr>
            </a:lvl1pPr>
          </a:lstStyle>
          <a:p>
            <a:pPr lvl="0"/>
            <a:r>
              <a:rPr lang="en-US"/>
              <a:t>Click to edit subtitle</a:t>
            </a:r>
          </a:p>
        </p:txBody>
      </p:sp>
      <p:sp>
        <p:nvSpPr>
          <p:cNvPr id="4" name="Slide Number Placeholder 3"/>
          <p:cNvSpPr>
            <a:spLocks noGrp="1"/>
          </p:cNvSpPr>
          <p:nvPr>
            <p:ph type="sldNum" sz="quarter" idx="1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4976208B-6111-490B-8CEC-FFB249DB2100}" type="slidenum">
              <a:rPr kumimoji="0" lang="en-US" sz="1800" b="0" i="0" u="none" strike="noStrike" kern="1200" cap="none" spc="0" normalizeH="0" baseline="0" noProof="0" smtClean="0">
                <a:ln>
                  <a:noFill/>
                </a:ln>
                <a:solidFill>
                  <a:srgbClr val="012036"/>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N°›</a:t>
            </a:fld>
            <a:endParaRPr kumimoji="0" lang="en-US" sz="1800" b="0" i="0" u="none" strike="noStrike" kern="1200" cap="none" spc="0" normalizeH="0" baseline="0" noProof="0">
              <a:ln>
                <a:noFill/>
              </a:ln>
              <a:solidFill>
                <a:srgbClr val="01203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384312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Explore Section Header - Blue">
    <p:bg>
      <p:bgPr>
        <a:solidFill>
          <a:schemeClr val="bg1"/>
        </a:solidFill>
        <a:effectLst/>
      </p:bgPr>
    </p:bg>
    <p:spTree>
      <p:nvGrpSpPr>
        <p:cNvPr id="1" name=""/>
        <p:cNvGrpSpPr/>
        <p:nvPr/>
      </p:nvGrpSpPr>
      <p:grpSpPr>
        <a:xfrm>
          <a:off x="0" y="0"/>
          <a:ext cx="0" cy="0"/>
          <a:chOff x="0" y="0"/>
          <a:chExt cx="0" cy="0"/>
        </a:xfrm>
      </p:grpSpPr>
      <p:sp>
        <p:nvSpPr>
          <p:cNvPr id="13" name="TextBox 4">
            <a:extLst>
              <a:ext uri="{FF2B5EF4-FFF2-40B4-BE49-F238E27FC236}">
                <a16:creationId xmlns:a16="http://schemas.microsoft.com/office/drawing/2014/main" id="{B0C6AF5C-E29A-9E49-801E-0A1C09DFDE5F}"/>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3" name="Picture 2">
            <a:extLst>
              <a:ext uri="{FF2B5EF4-FFF2-40B4-BE49-F238E27FC236}">
                <a16:creationId xmlns:a16="http://schemas.microsoft.com/office/drawing/2014/main" id="{9765DA32-CD1D-6046-9680-01CE57CEEAEC}"/>
              </a:ext>
            </a:extLst>
          </p:cNvPr>
          <p:cNvPicPr>
            <a:picLocks noChangeAspect="1"/>
          </p:cNvPicPr>
          <p:nvPr userDrawn="1"/>
        </p:nvPicPr>
        <p:blipFill>
          <a:blip r:embed="rId3">
            <a:duotone>
              <a:prstClr val="black"/>
              <a:schemeClr val="accent5">
                <a:tint val="45000"/>
                <a:satMod val="400000"/>
              </a:schemeClr>
            </a:duotone>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11" name="Text Placeholder 34">
            <a:extLst>
              <a:ext uri="{FF2B5EF4-FFF2-40B4-BE49-F238E27FC236}">
                <a16:creationId xmlns:a16="http://schemas.microsoft.com/office/drawing/2014/main" id="{C8C0CE08-E9A8-3940-A81E-001DC88592F4}"/>
              </a:ext>
            </a:extLst>
          </p:cNvPr>
          <p:cNvSpPr>
            <a:spLocks noGrp="1"/>
          </p:cNvSpPr>
          <p:nvPr>
            <p:ph type="body" sz="quarter" idx="11"/>
          </p:nvPr>
        </p:nvSpPr>
        <p:spPr>
          <a:xfrm>
            <a:off x="620203" y="2484438"/>
            <a:ext cx="6390694" cy="1458912"/>
          </a:xfrm>
        </p:spPr>
        <p:txBody>
          <a:bodyPr>
            <a:normAutofit/>
          </a:bodyPr>
          <a:lstStyle>
            <a:lvl1pPr marL="0" indent="0" algn="l">
              <a:buNone/>
              <a:defRPr sz="2000">
                <a:solidFill>
                  <a:schemeClr val="accent2"/>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10" name="Text Placeholder 32">
            <a:extLst>
              <a:ext uri="{FF2B5EF4-FFF2-40B4-BE49-F238E27FC236}">
                <a16:creationId xmlns:a16="http://schemas.microsoft.com/office/drawing/2014/main" id="{D5BF76BC-A168-D846-A33A-DDC741AB2C49}"/>
              </a:ext>
            </a:extLst>
          </p:cNvPr>
          <p:cNvSpPr>
            <a:spLocks noGrp="1"/>
          </p:cNvSpPr>
          <p:nvPr>
            <p:ph type="body" sz="quarter" idx="10"/>
          </p:nvPr>
        </p:nvSpPr>
        <p:spPr>
          <a:xfrm>
            <a:off x="620203"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6" name="TextBox 5">
            <a:extLst>
              <a:ext uri="{FF2B5EF4-FFF2-40B4-BE49-F238E27FC236}">
                <a16:creationId xmlns:a16="http://schemas.microsoft.com/office/drawing/2014/main" id="{6C554531-5DD2-F545-A6B8-DF494B1B2A71}"/>
              </a:ext>
            </a:extLst>
          </p:cNvPr>
          <p:cNvSpPr txBox="1"/>
          <p:nvPr userDrawn="1"/>
        </p:nvSpPr>
        <p:spPr>
          <a:xfrm>
            <a:off x="3676820" y="4911339"/>
            <a:ext cx="1916482" cy="169277"/>
          </a:xfrm>
          <a:prstGeom prst="rect">
            <a:avLst/>
          </a:prstGeom>
          <a:noFill/>
        </p:spPr>
        <p:txBody>
          <a:bodyPr wrap="square">
            <a:spAutoFit/>
          </a:bodyPr>
          <a:lstStyle/>
          <a:p>
            <a:pPr algn="ctr"/>
            <a:r>
              <a:rPr lang="en-US" sz="500">
                <a:solidFill>
                  <a:schemeClr val="bg1"/>
                </a:solidFill>
                <a:effectLst/>
                <a:latin typeface="Avenir Next W1G" panose="020B0503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365374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Explore Section Header - Teal">
    <p:bg>
      <p:bgPr>
        <a:solidFill>
          <a:schemeClr val="bg1"/>
        </a:solidFill>
        <a:effectLst/>
      </p:bgPr>
    </p:bg>
    <p:spTree>
      <p:nvGrpSpPr>
        <p:cNvPr id="1" name=""/>
        <p:cNvGrpSpPr/>
        <p:nvPr/>
      </p:nvGrpSpPr>
      <p:grpSpPr>
        <a:xfrm>
          <a:off x="0" y="0"/>
          <a:ext cx="0" cy="0"/>
          <a:chOff x="0" y="0"/>
          <a:chExt cx="0" cy="0"/>
        </a:xfrm>
      </p:grpSpPr>
      <p:sp>
        <p:nvSpPr>
          <p:cNvPr id="13" name="TextBox 4">
            <a:extLst>
              <a:ext uri="{FF2B5EF4-FFF2-40B4-BE49-F238E27FC236}">
                <a16:creationId xmlns:a16="http://schemas.microsoft.com/office/drawing/2014/main" id="{B0C6AF5C-E29A-9E49-801E-0A1C09DFDE5F}"/>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pic>
        <p:nvPicPr>
          <p:cNvPr id="14" name="Picture 6">
            <a:extLst>
              <a:ext uri="{FF2B5EF4-FFF2-40B4-BE49-F238E27FC236}">
                <a16:creationId xmlns:a16="http://schemas.microsoft.com/office/drawing/2014/main" id="{6BFF7639-E4DF-3741-90C7-2DFCD9D26A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11892" y="4746756"/>
            <a:ext cx="558779" cy="253991"/>
          </a:xfrm>
          <a:prstGeom prst="rect">
            <a:avLst/>
          </a:prstGeom>
        </p:spPr>
      </p:pic>
      <p:pic>
        <p:nvPicPr>
          <p:cNvPr id="3" name="Picture 2">
            <a:extLst>
              <a:ext uri="{FF2B5EF4-FFF2-40B4-BE49-F238E27FC236}">
                <a16:creationId xmlns:a16="http://schemas.microsoft.com/office/drawing/2014/main" id="{A9B82145-2924-3946-B9B3-12FD4D9EBF96}"/>
              </a:ext>
            </a:extLst>
          </p:cNvPr>
          <p:cNvPicPr>
            <a:picLocks noChangeAspect="1"/>
          </p:cNvPicPr>
          <p:nvPr userDrawn="1"/>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p:blipFill>
        <p:spPr>
          <a:xfrm>
            <a:off x="-4572" y="0"/>
            <a:ext cx="9144000" cy="5143500"/>
          </a:xfrm>
          <a:prstGeom prst="rect">
            <a:avLst/>
          </a:prstGeom>
        </p:spPr>
      </p:pic>
      <p:sp>
        <p:nvSpPr>
          <p:cNvPr id="11" name="Text Placeholder 34">
            <a:extLst>
              <a:ext uri="{FF2B5EF4-FFF2-40B4-BE49-F238E27FC236}">
                <a16:creationId xmlns:a16="http://schemas.microsoft.com/office/drawing/2014/main" id="{C8C0CE08-E9A8-3940-A81E-001DC88592F4}"/>
              </a:ext>
            </a:extLst>
          </p:cNvPr>
          <p:cNvSpPr>
            <a:spLocks noGrp="1"/>
          </p:cNvSpPr>
          <p:nvPr>
            <p:ph type="body" sz="quarter" idx="11"/>
          </p:nvPr>
        </p:nvSpPr>
        <p:spPr>
          <a:xfrm>
            <a:off x="620203" y="2484438"/>
            <a:ext cx="6390694" cy="1458912"/>
          </a:xfrm>
        </p:spPr>
        <p:txBody>
          <a:bodyPr>
            <a:normAutofit/>
          </a:bodyPr>
          <a:lstStyle>
            <a:lvl1pPr marL="0" indent="0" algn="l">
              <a:buNone/>
              <a:defRPr sz="2000">
                <a:solidFill>
                  <a:schemeClr val="tx1"/>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10" name="Text Placeholder 32">
            <a:extLst>
              <a:ext uri="{FF2B5EF4-FFF2-40B4-BE49-F238E27FC236}">
                <a16:creationId xmlns:a16="http://schemas.microsoft.com/office/drawing/2014/main" id="{D5BF76BC-A168-D846-A33A-DDC741AB2C49}"/>
              </a:ext>
            </a:extLst>
          </p:cNvPr>
          <p:cNvSpPr>
            <a:spLocks noGrp="1"/>
          </p:cNvSpPr>
          <p:nvPr>
            <p:ph type="body" sz="quarter" idx="10"/>
          </p:nvPr>
        </p:nvSpPr>
        <p:spPr>
          <a:xfrm>
            <a:off x="620203" y="875926"/>
            <a:ext cx="6390694" cy="1556124"/>
          </a:xfrm>
        </p:spPr>
        <p:txBody>
          <a:bodyPr anchor="b">
            <a:normAutofit/>
          </a:bodyPr>
          <a:lstStyle>
            <a:lvl1pPr marL="0" indent="0" algn="l">
              <a:buNone/>
              <a:defRPr lang="en-US" sz="3000" b="1" kern="1200" dirty="0">
                <a:solidFill>
                  <a:schemeClr val="bg1"/>
                </a:solidFill>
                <a:latin typeface="Calibri" panose="020F0502020204030204" pitchFamily="34" charset="0"/>
                <a:ea typeface="+mn-ea"/>
                <a:cs typeface="Calibri" panose="020F0502020204030204" pitchFamily="34" charset="0"/>
              </a:defRPr>
            </a:lvl1pPr>
          </a:lstStyle>
          <a:p>
            <a:pPr lvl="0"/>
            <a:r>
              <a:rPr lang="en-US"/>
              <a:t>Click to edit Master text styles</a:t>
            </a:r>
          </a:p>
        </p:txBody>
      </p:sp>
      <p:sp>
        <p:nvSpPr>
          <p:cNvPr id="7" name="TextBox 6">
            <a:extLst>
              <a:ext uri="{FF2B5EF4-FFF2-40B4-BE49-F238E27FC236}">
                <a16:creationId xmlns:a16="http://schemas.microsoft.com/office/drawing/2014/main" id="{092DAC6D-ABBC-2E44-B126-0C6A6EC054E4}"/>
              </a:ext>
            </a:extLst>
          </p:cNvPr>
          <p:cNvSpPr txBox="1"/>
          <p:nvPr userDrawn="1"/>
        </p:nvSpPr>
        <p:spPr>
          <a:xfrm>
            <a:off x="3676820" y="4911339"/>
            <a:ext cx="1916482" cy="169277"/>
          </a:xfrm>
          <a:prstGeom prst="rect">
            <a:avLst/>
          </a:prstGeom>
          <a:noFill/>
        </p:spPr>
        <p:txBody>
          <a:bodyPr wrap="square">
            <a:spAutoFit/>
          </a:bodyPr>
          <a:lstStyle/>
          <a:p>
            <a:pPr algn="ctr"/>
            <a:r>
              <a:rPr lang="en-US" sz="500">
                <a:solidFill>
                  <a:schemeClr val="bg1"/>
                </a:solidFill>
                <a:effectLst/>
                <a:latin typeface="Avenir Next W1G" panose="020B0503020202020204" pitchFamily="34" charset="0"/>
              </a:rPr>
              <a:t>Copyright © SAS Institute Inc. All rights reserved.</a:t>
            </a:r>
          </a:p>
        </p:txBody>
      </p:sp>
    </p:spTree>
    <p:custDataLst>
      <p:tags r:id="rId1"/>
    </p:custDataLst>
    <p:extLst>
      <p:ext uri="{BB962C8B-B14F-4D97-AF65-F5344CB8AC3E}">
        <p14:creationId xmlns:p14="http://schemas.microsoft.com/office/powerpoint/2010/main" val="246071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er Slide">
    <p:bg>
      <p:bgPr>
        <a:gradFill flip="none" rotWithShape="1">
          <a:gsLst>
            <a:gs pos="0">
              <a:schemeClr val="accent3">
                <a:lumMod val="40000"/>
                <a:lumOff val="60000"/>
              </a:schemeClr>
            </a:gs>
            <a:gs pos="50000">
              <a:schemeClr val="accent3">
                <a:lumMod val="95000"/>
                <a:lumOff val="5000"/>
              </a:schemeClr>
            </a:gs>
            <a:gs pos="72000">
              <a:schemeClr val="accent3">
                <a:lumMod val="60000"/>
              </a:schemeClr>
            </a:gs>
          </a:gsLst>
          <a:path path="circle">
            <a:fillToRect l="100000" b="100000"/>
          </a:path>
          <a:tileRect t="-100000" r="-100000"/>
        </a:gradFill>
        <a:effectLst/>
      </p:bgPr>
    </p:bg>
    <p:spTree>
      <p:nvGrpSpPr>
        <p:cNvPr id="1" name=""/>
        <p:cNvGrpSpPr/>
        <p:nvPr/>
      </p:nvGrpSpPr>
      <p:grpSpPr>
        <a:xfrm>
          <a:off x="0" y="0"/>
          <a:ext cx="0" cy="0"/>
          <a:chOff x="0" y="0"/>
          <a:chExt cx="0" cy="0"/>
        </a:xfrm>
      </p:grpSpPr>
      <p:grpSp>
        <p:nvGrpSpPr>
          <p:cNvPr id="30" name="Group 29"/>
          <p:cNvGrpSpPr/>
          <p:nvPr userDrawn="1"/>
        </p:nvGrpSpPr>
        <p:grpSpPr>
          <a:xfrm>
            <a:off x="4771071" y="459939"/>
            <a:ext cx="4020832" cy="3396497"/>
            <a:chOff x="4771071" y="583196"/>
            <a:chExt cx="4020832" cy="3035221"/>
          </a:xfrm>
        </p:grpSpPr>
        <p:sp>
          <p:nvSpPr>
            <p:cNvPr id="31" name="Rounded Rectangle 30"/>
            <p:cNvSpPr/>
            <p:nvPr/>
          </p:nvSpPr>
          <p:spPr>
            <a:xfrm>
              <a:off x="4771071" y="583196"/>
              <a:ext cx="4020832" cy="3035221"/>
            </a:xfrm>
            <a:prstGeom prst="roundRect">
              <a:avLst>
                <a:gd name="adj" fmla="val 1775"/>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accent1"/>
                </a:solidFill>
              </a:endParaRPr>
            </a:p>
          </p:txBody>
        </p:sp>
        <p:sp>
          <p:nvSpPr>
            <p:cNvPr id="32" name="Rounded Rectangle 31"/>
            <p:cNvSpPr/>
            <p:nvPr/>
          </p:nvSpPr>
          <p:spPr>
            <a:xfrm>
              <a:off x="4771071" y="1005887"/>
              <a:ext cx="4020832" cy="2017422"/>
            </a:xfrm>
            <a:prstGeom prst="roundRect">
              <a:avLst>
                <a:gd name="adj" fmla="val 0"/>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solidFill>
                  <a:schemeClr val="tx2"/>
                </a:solidFill>
              </a:endParaRPr>
            </a:p>
          </p:txBody>
        </p:sp>
      </p:grpSp>
      <p:grpSp>
        <p:nvGrpSpPr>
          <p:cNvPr id="17" name="Group 16"/>
          <p:cNvGrpSpPr/>
          <p:nvPr userDrawn="1"/>
        </p:nvGrpSpPr>
        <p:grpSpPr>
          <a:xfrm>
            <a:off x="3310128" y="4765184"/>
            <a:ext cx="5644599" cy="345645"/>
            <a:chOff x="3310128" y="4765184"/>
            <a:chExt cx="5644599" cy="345645"/>
          </a:xfrm>
        </p:grpSpPr>
        <p:sp>
          <p:nvSpPr>
            <p:cNvPr id="18" name="TextBox 17"/>
            <p:cNvSpPr txBox="1"/>
            <p:nvPr/>
          </p:nvSpPr>
          <p:spPr>
            <a:xfrm>
              <a:off x="3310128" y="4960788"/>
              <a:ext cx="2514600" cy="150041"/>
            </a:xfrm>
            <a:prstGeom prst="rect">
              <a:avLst/>
            </a:prstGeom>
            <a:noFill/>
          </p:spPr>
          <p:txBody>
            <a:bodyPr wrap="square" anchor="b" anchorCtr="0">
              <a:spAutoFit/>
            </a:bodyPr>
            <a:lstStyle/>
            <a:p>
              <a:pPr marL="0" marR="0" lvl="0" indent="0" algn="ctr" defTabSz="205735" rtl="0" eaLnBrk="0" fontAlgn="auto" latinLnBrk="0" hangingPunct="0">
                <a:lnSpc>
                  <a:spcPct val="100000"/>
                </a:lnSpc>
                <a:spcBef>
                  <a:spcPts val="0"/>
                </a:spcBef>
                <a:spcAft>
                  <a:spcPts val="0"/>
                </a:spcAft>
                <a:buClrTx/>
                <a:buSzTx/>
                <a:buFontTx/>
                <a:buNone/>
                <a:tabLst/>
                <a:defRPr/>
              </a:pPr>
              <a:r>
                <a:rPr kumimoji="0" lang="en-US" sz="375" b="0" i="0" u="none" strike="noStrike" kern="300" cap="none" spc="38" normalizeH="0" baseline="0" noProof="0" dirty="0">
                  <a:ln>
                    <a:noFill/>
                  </a:ln>
                  <a:solidFill>
                    <a:srgbClr val="08649C"/>
                  </a:solidFill>
                  <a:effectLst/>
                  <a:uLnTx/>
                  <a:uFillTx/>
                  <a:latin typeface="+mn-lt"/>
                  <a:ea typeface="Calibri" charset="0"/>
                  <a:cs typeface="Arial" panose="020B0604020202020204" pitchFamily="34" charset="0"/>
                </a:rPr>
                <a:t>Copyright © SAS Institute Inc. All rights reserved.</a:t>
              </a:r>
            </a:p>
          </p:txBody>
        </p:sp>
        <p:grpSp>
          <p:nvGrpSpPr>
            <p:cNvPr id="19" name="Group 18"/>
            <p:cNvGrpSpPr/>
            <p:nvPr/>
          </p:nvGrpSpPr>
          <p:grpSpPr>
            <a:xfrm>
              <a:off x="8427835" y="4765184"/>
              <a:ext cx="526892" cy="220528"/>
              <a:chOff x="6145213" y="4384676"/>
              <a:chExt cx="1582738" cy="649287"/>
            </a:xfrm>
            <a:solidFill>
              <a:schemeClr val="bg1"/>
            </a:solidFill>
          </p:grpSpPr>
          <p:sp>
            <p:nvSpPr>
              <p:cNvPr id="20" name="Freeform 19"/>
              <p:cNvSpPr>
                <a:spLocks/>
              </p:cNvSpPr>
              <p:nvPr userDrawn="1"/>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21" name="Freeform 20"/>
              <p:cNvSpPr>
                <a:spLocks noEditPoints="1"/>
              </p:cNvSpPr>
              <p:nvPr userDrawn="1"/>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22" name="Freeform 21"/>
              <p:cNvSpPr>
                <a:spLocks/>
              </p:cNvSpPr>
              <p:nvPr userDrawn="1"/>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23" name="Freeform 22"/>
              <p:cNvSpPr>
                <a:spLocks/>
              </p:cNvSpPr>
              <p:nvPr userDrawn="1"/>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24" name="Freeform 23"/>
              <p:cNvSpPr>
                <a:spLocks/>
              </p:cNvSpPr>
              <p:nvPr userDrawn="1"/>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25" name="Freeform 24"/>
              <p:cNvSpPr>
                <a:spLocks noEditPoints="1"/>
              </p:cNvSpPr>
              <p:nvPr userDrawn="1"/>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sp>
            <p:nvSpPr>
              <p:cNvPr id="26" name="Freeform 25"/>
              <p:cNvSpPr>
                <a:spLocks noEditPoints="1"/>
              </p:cNvSpPr>
              <p:nvPr userDrawn="1"/>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p>
            </p:txBody>
          </p:sp>
        </p:grpSp>
      </p:grpSp>
      <p:sp>
        <p:nvSpPr>
          <p:cNvPr id="45" name="Text Placeholder 44"/>
          <p:cNvSpPr>
            <a:spLocks noGrp="1"/>
          </p:cNvSpPr>
          <p:nvPr>
            <p:ph type="body" sz="quarter" idx="13" hasCustomPrompt="1"/>
          </p:nvPr>
        </p:nvSpPr>
        <p:spPr>
          <a:xfrm>
            <a:off x="524378" y="480102"/>
            <a:ext cx="4106465" cy="481013"/>
          </a:xfrm>
        </p:spPr>
        <p:txBody>
          <a:bodyPr>
            <a:normAutofit/>
          </a:bodyPr>
          <a:lstStyle>
            <a:lvl1pPr marL="0" indent="0">
              <a:buNone/>
              <a:defRPr sz="2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ustomer Slide Title</a:t>
            </a:r>
          </a:p>
        </p:txBody>
      </p:sp>
      <p:sp>
        <p:nvSpPr>
          <p:cNvPr id="47" name="Text Placeholder 46"/>
          <p:cNvSpPr>
            <a:spLocks noGrp="1"/>
          </p:cNvSpPr>
          <p:nvPr>
            <p:ph type="body" sz="quarter" idx="14" hasCustomPrompt="1"/>
          </p:nvPr>
        </p:nvSpPr>
        <p:spPr>
          <a:xfrm>
            <a:off x="4879976" y="1454617"/>
            <a:ext cx="3825873" cy="1661257"/>
          </a:xfrm>
        </p:spPr>
        <p:txBody>
          <a:bodyPr>
            <a:normAutofit/>
          </a:bodyPr>
          <a:lstStyle>
            <a:lvl1pPr marL="342900" indent="-342900">
              <a:buClr>
                <a:schemeClr val="accent1"/>
              </a:buClr>
              <a:buFont typeface="Arial" charset="0"/>
              <a:buChar char="•"/>
              <a:defRPr sz="1400" baseline="0">
                <a:solidFill>
                  <a:schemeClr val="tx2"/>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add results</a:t>
            </a:r>
          </a:p>
        </p:txBody>
      </p:sp>
      <p:sp>
        <p:nvSpPr>
          <p:cNvPr id="48" name="Text Placeholder 46"/>
          <p:cNvSpPr>
            <a:spLocks noGrp="1"/>
          </p:cNvSpPr>
          <p:nvPr>
            <p:ph type="body" sz="quarter" idx="15" hasCustomPrompt="1"/>
          </p:nvPr>
        </p:nvSpPr>
        <p:spPr>
          <a:xfrm>
            <a:off x="470101" y="1908678"/>
            <a:ext cx="4160742" cy="1947758"/>
          </a:xfrm>
        </p:spPr>
        <p:txBody>
          <a:bodyPr>
            <a:normAutofit/>
          </a:bodyPr>
          <a:lstStyle>
            <a:lvl1pPr marL="342900" indent="-342900">
              <a:buClr>
                <a:schemeClr val="accent1"/>
              </a:buClr>
              <a:buFont typeface="Arial" charset="0"/>
              <a:buChar char="•"/>
              <a:defRPr sz="1400" baseline="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Click to add business challenges</a:t>
            </a:r>
          </a:p>
        </p:txBody>
      </p:sp>
      <p:sp>
        <p:nvSpPr>
          <p:cNvPr id="52" name="Text Placeholder 51"/>
          <p:cNvSpPr>
            <a:spLocks noGrp="1"/>
          </p:cNvSpPr>
          <p:nvPr>
            <p:ph type="body" sz="quarter" idx="17" hasCustomPrompt="1"/>
          </p:nvPr>
        </p:nvSpPr>
        <p:spPr>
          <a:xfrm>
            <a:off x="470101" y="4363572"/>
            <a:ext cx="1795463" cy="217884"/>
          </a:xfrm>
          <a:ln>
            <a:noFill/>
          </a:ln>
        </p:spPr>
        <p:txBody>
          <a:bodyPr>
            <a:noAutofit/>
          </a:bodyPr>
          <a:lstStyle>
            <a:lvl1pPr marL="0" indent="0">
              <a:buNone/>
              <a:defRPr sz="1200">
                <a:solidFill>
                  <a:schemeClr val="bg1"/>
                </a:solidFill>
                <a:latin typeface="+mj-lt"/>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dirty="0" err="1"/>
              <a:t>Spokeperson’s</a:t>
            </a:r>
            <a:r>
              <a:rPr lang="en-US" dirty="0"/>
              <a:t> Name</a:t>
            </a:r>
          </a:p>
        </p:txBody>
      </p:sp>
      <p:sp>
        <p:nvSpPr>
          <p:cNvPr id="53" name="Text Placeholder 51"/>
          <p:cNvSpPr>
            <a:spLocks noGrp="1"/>
          </p:cNvSpPr>
          <p:nvPr>
            <p:ph type="body" sz="quarter" idx="18" hasCustomPrompt="1"/>
          </p:nvPr>
        </p:nvSpPr>
        <p:spPr>
          <a:xfrm>
            <a:off x="631230" y="4604993"/>
            <a:ext cx="1795463" cy="217884"/>
          </a:xfrm>
          <a:ln>
            <a:noFill/>
          </a:ln>
        </p:spPr>
        <p:txBody>
          <a:bodyPr>
            <a:noAutofit/>
          </a:bodyPr>
          <a:lstStyle>
            <a:lvl1pPr marL="0" indent="0">
              <a:buNone/>
              <a:defRPr sz="1000">
                <a:solidFill>
                  <a:schemeClr val="bg1"/>
                </a:solidFill>
                <a:latin typeface="+mj-lt"/>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dirty="0" err="1"/>
              <a:t>Spokeperson’s</a:t>
            </a:r>
            <a:r>
              <a:rPr lang="en-US" dirty="0"/>
              <a:t> Job Title</a:t>
            </a:r>
          </a:p>
        </p:txBody>
      </p:sp>
      <p:sp>
        <p:nvSpPr>
          <p:cNvPr id="64" name="Text Placeholder 63"/>
          <p:cNvSpPr>
            <a:spLocks noGrp="1"/>
          </p:cNvSpPr>
          <p:nvPr>
            <p:ph type="body" sz="quarter" idx="23" hasCustomPrompt="1"/>
          </p:nvPr>
        </p:nvSpPr>
        <p:spPr>
          <a:xfrm>
            <a:off x="470101" y="3959706"/>
            <a:ext cx="8314134" cy="386954"/>
          </a:xfrm>
        </p:spPr>
        <p:txBody>
          <a:bodyPr>
            <a:noAutofit/>
          </a:bodyPr>
          <a:lstStyle>
            <a:lvl1pPr marL="0" indent="0">
              <a:buNone/>
              <a:defRPr sz="1200">
                <a:solidFill>
                  <a:schemeClr val="bg1"/>
                </a:solidFill>
              </a:defRPr>
            </a:lvl1pPr>
            <a:lvl2pPr marL="342900" indent="0">
              <a:buNone/>
              <a:defRPr sz="1200">
                <a:solidFill>
                  <a:schemeClr val="bg1"/>
                </a:solidFill>
              </a:defRPr>
            </a:lvl2pPr>
            <a:lvl3pPr marL="685800" indent="0">
              <a:buNone/>
              <a:defRPr sz="1200">
                <a:solidFill>
                  <a:schemeClr val="bg1"/>
                </a:solidFill>
              </a:defRPr>
            </a:lvl3pPr>
            <a:lvl4pPr marL="1028700" indent="0">
              <a:buNone/>
              <a:defRPr sz="1200">
                <a:solidFill>
                  <a:schemeClr val="bg1"/>
                </a:solidFill>
              </a:defRPr>
            </a:lvl4pPr>
            <a:lvl5pPr marL="1371600" indent="0">
              <a:buNone/>
              <a:defRPr sz="1200">
                <a:solidFill>
                  <a:schemeClr val="bg1"/>
                </a:solidFill>
              </a:defRPr>
            </a:lvl5pPr>
          </a:lstStyle>
          <a:p>
            <a:pPr lvl="0"/>
            <a:r>
              <a:rPr lang="en-US" dirty="0"/>
              <a:t>“Add a customer win quote here regarding Results and/or how the organization has been using SAS in the past.”</a:t>
            </a:r>
          </a:p>
        </p:txBody>
      </p:sp>
      <p:sp>
        <p:nvSpPr>
          <p:cNvPr id="34" name="Text Placeholder 54"/>
          <p:cNvSpPr txBox="1">
            <a:spLocks/>
          </p:cNvSpPr>
          <p:nvPr userDrawn="1"/>
        </p:nvSpPr>
        <p:spPr>
          <a:xfrm>
            <a:off x="4894660" y="3264054"/>
            <a:ext cx="3226594" cy="216318"/>
          </a:xfrm>
          <a:prstGeom prst="rect">
            <a:avLst/>
          </a:prstGeom>
        </p:spPr>
        <p:txBody>
          <a:bodyPr>
            <a:noAutofit/>
          </a:bodyPr>
          <a:lstStyle>
            <a:lvl1pPr marL="0" indent="0" algn="l" defTabSz="365760" rtl="0" eaLnBrk="1" latinLnBrk="0" hangingPunct="1">
              <a:lnSpc>
                <a:spcPct val="85000"/>
              </a:lnSpc>
              <a:spcBef>
                <a:spcPts val="800"/>
              </a:spcBef>
              <a:spcAft>
                <a:spcPts val="0"/>
              </a:spcAft>
              <a:buClr>
                <a:schemeClr val="accent1"/>
              </a:buClr>
              <a:buSzPct val="80000"/>
              <a:buFont typeface="Arial" pitchFamily="34" charset="0"/>
              <a:buNone/>
              <a:defRPr sz="105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bg1"/>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bg1"/>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bg1"/>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bg1"/>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r>
              <a:rPr lang="en-US" dirty="0"/>
              <a:t>Powered by</a:t>
            </a:r>
          </a:p>
        </p:txBody>
      </p:sp>
      <p:sp>
        <p:nvSpPr>
          <p:cNvPr id="6" name="Text Placeholder 5"/>
          <p:cNvSpPr>
            <a:spLocks noGrp="1"/>
          </p:cNvSpPr>
          <p:nvPr>
            <p:ph type="body" sz="quarter" idx="24" hasCustomPrompt="1"/>
          </p:nvPr>
        </p:nvSpPr>
        <p:spPr>
          <a:xfrm>
            <a:off x="4879976" y="3468835"/>
            <a:ext cx="2467836" cy="308371"/>
          </a:xfrm>
        </p:spPr>
        <p:txBody>
          <a:bodyPr/>
          <a:lstStyle>
            <a:lvl1pPr marL="0" indent="0">
              <a:buNone/>
              <a:defRPr/>
            </a:lvl1pPr>
          </a:lstStyle>
          <a:p>
            <a:pPr lvl="0"/>
            <a:r>
              <a:rPr lang="en-US" dirty="0"/>
              <a:t>Click to add solution</a:t>
            </a:r>
          </a:p>
        </p:txBody>
      </p:sp>
      <p:sp>
        <p:nvSpPr>
          <p:cNvPr id="35" name="Text Placeholder 61"/>
          <p:cNvSpPr txBox="1">
            <a:spLocks/>
          </p:cNvSpPr>
          <p:nvPr userDrawn="1"/>
        </p:nvSpPr>
        <p:spPr>
          <a:xfrm>
            <a:off x="4894660" y="549644"/>
            <a:ext cx="3825875" cy="383297"/>
          </a:xfrm>
          <a:prstGeom prst="rect">
            <a:avLst/>
          </a:prstGeom>
        </p:spPr>
        <p:txBody>
          <a:bodyPr>
            <a:normAutofit/>
          </a:bodyPr>
          <a:lstStyle>
            <a:lvl1pPr marL="0" indent="0" algn="l" defTabSz="365760" rtl="0" eaLnBrk="1" latinLnBrk="0" hangingPunct="1">
              <a:lnSpc>
                <a:spcPct val="85000"/>
              </a:lnSpc>
              <a:spcBef>
                <a:spcPts val="800"/>
              </a:spcBef>
              <a:spcAft>
                <a:spcPts val="0"/>
              </a:spcAft>
              <a:buClr>
                <a:schemeClr val="accent1"/>
              </a:buClr>
              <a:buSzPct val="80000"/>
              <a:buFont typeface="Arial" pitchFamily="34" charset="0"/>
              <a:buNone/>
              <a:defRPr sz="21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r>
              <a:rPr lang="en-US" sz="2000" dirty="0"/>
              <a:t>How SAS® supported the process</a:t>
            </a:r>
          </a:p>
        </p:txBody>
      </p:sp>
      <p:sp>
        <p:nvSpPr>
          <p:cNvPr id="36" name="Freeform 21"/>
          <p:cNvSpPr>
            <a:spLocks noChangeAspect="1" noEditPoints="1"/>
          </p:cNvSpPr>
          <p:nvPr userDrawn="1"/>
        </p:nvSpPr>
        <p:spPr bwMode="auto">
          <a:xfrm>
            <a:off x="4894783" y="1006502"/>
            <a:ext cx="310070" cy="305225"/>
          </a:xfrm>
          <a:custGeom>
            <a:avLst/>
            <a:gdLst>
              <a:gd name="T0" fmla="*/ 1958 w 5760"/>
              <a:gd name="T1" fmla="*/ 4568 h 5669"/>
              <a:gd name="T2" fmla="*/ 2205 w 5760"/>
              <a:gd name="T3" fmla="*/ 5491 h 5669"/>
              <a:gd name="T4" fmla="*/ 2899 w 5760"/>
              <a:gd name="T5" fmla="*/ 5245 h 5669"/>
              <a:gd name="T6" fmla="*/ 2651 w 5760"/>
              <a:gd name="T7" fmla="*/ 4322 h 5669"/>
              <a:gd name="T8" fmla="*/ 2973 w 5760"/>
              <a:gd name="T9" fmla="*/ 4291 h 5669"/>
              <a:gd name="T10" fmla="*/ 3037 w 5760"/>
              <a:gd name="T11" fmla="*/ 5423 h 5669"/>
              <a:gd name="T12" fmla="*/ 2205 w 5760"/>
              <a:gd name="T13" fmla="*/ 5669 h 5669"/>
              <a:gd name="T14" fmla="*/ 1798 w 5760"/>
              <a:gd name="T15" fmla="*/ 5367 h 5669"/>
              <a:gd name="T16" fmla="*/ 1927 w 5760"/>
              <a:gd name="T17" fmla="*/ 4249 h 5669"/>
              <a:gd name="T18" fmla="*/ 384 w 5760"/>
              <a:gd name="T19" fmla="*/ 3665 h 5669"/>
              <a:gd name="T20" fmla="*/ 318 w 5760"/>
              <a:gd name="T21" fmla="*/ 5383 h 5669"/>
              <a:gd name="T22" fmla="*/ 1086 w 5760"/>
              <a:gd name="T23" fmla="*/ 5449 h 5669"/>
              <a:gd name="T24" fmla="*/ 1152 w 5760"/>
              <a:gd name="T25" fmla="*/ 3731 h 5669"/>
              <a:gd name="T26" fmla="*/ 1011 w 5760"/>
              <a:gd name="T27" fmla="*/ 3450 h 5669"/>
              <a:gd name="T28" fmla="*/ 1367 w 5760"/>
              <a:gd name="T29" fmla="*/ 3806 h 5669"/>
              <a:gd name="T30" fmla="*/ 1178 w 5760"/>
              <a:gd name="T31" fmla="*/ 5601 h 5669"/>
              <a:gd name="T32" fmla="*/ 291 w 5760"/>
              <a:gd name="T33" fmla="*/ 5601 h 5669"/>
              <a:gd name="T34" fmla="*/ 101 w 5760"/>
              <a:gd name="T35" fmla="*/ 3806 h 5669"/>
              <a:gd name="T36" fmla="*/ 459 w 5760"/>
              <a:gd name="T37" fmla="*/ 3450 h 5669"/>
              <a:gd name="T38" fmla="*/ 3683 w 5760"/>
              <a:gd name="T39" fmla="*/ 3436 h 5669"/>
              <a:gd name="T40" fmla="*/ 3875 w 5760"/>
              <a:gd name="T41" fmla="*/ 5486 h 5669"/>
              <a:gd name="T42" fmla="*/ 4589 w 5760"/>
              <a:gd name="T43" fmla="*/ 5294 h 5669"/>
              <a:gd name="T44" fmla="*/ 4397 w 5760"/>
              <a:gd name="T45" fmla="*/ 3244 h 5669"/>
              <a:gd name="T46" fmla="*/ 4625 w 5760"/>
              <a:gd name="T47" fmla="*/ 3166 h 5669"/>
              <a:gd name="T48" fmla="*/ 4755 w 5760"/>
              <a:gd name="T49" fmla="*/ 5367 h 5669"/>
              <a:gd name="T50" fmla="*/ 4348 w 5760"/>
              <a:gd name="T51" fmla="*/ 5669 h 5669"/>
              <a:gd name="T52" fmla="*/ 3538 w 5760"/>
              <a:gd name="T53" fmla="*/ 5423 h 5669"/>
              <a:gd name="T54" fmla="*/ 3603 w 5760"/>
              <a:gd name="T55" fmla="*/ 3208 h 5669"/>
              <a:gd name="T56" fmla="*/ 332 w 5760"/>
              <a:gd name="T57" fmla="*/ 2627 h 5669"/>
              <a:gd name="T58" fmla="*/ 222 w 5760"/>
              <a:gd name="T59" fmla="*/ 2998 h 5669"/>
              <a:gd name="T60" fmla="*/ 607 w 5760"/>
              <a:gd name="T61" fmla="*/ 3035 h 5669"/>
              <a:gd name="T62" fmla="*/ 569 w 5760"/>
              <a:gd name="T63" fmla="*/ 2650 h 5669"/>
              <a:gd name="T64" fmla="*/ 2697 w 5760"/>
              <a:gd name="T65" fmla="*/ 2712 h 5669"/>
              <a:gd name="T66" fmla="*/ 2808 w 5760"/>
              <a:gd name="T67" fmla="*/ 3084 h 5669"/>
              <a:gd name="T68" fmla="*/ 3152 w 5760"/>
              <a:gd name="T69" fmla="*/ 2903 h 5669"/>
              <a:gd name="T70" fmla="*/ 2906 w 5760"/>
              <a:gd name="T71" fmla="*/ 2601 h 5669"/>
              <a:gd name="T72" fmla="*/ 1580 w 5760"/>
              <a:gd name="T73" fmla="*/ 1777 h 5669"/>
              <a:gd name="T74" fmla="*/ 1882 w 5760"/>
              <a:gd name="T75" fmla="*/ 2023 h 5669"/>
              <a:gd name="T76" fmla="*/ 2061 w 5760"/>
              <a:gd name="T77" fmla="*/ 1680 h 5669"/>
              <a:gd name="T78" fmla="*/ 5233 w 5760"/>
              <a:gd name="T79" fmla="*/ 197 h 5669"/>
              <a:gd name="T80" fmla="*/ 5123 w 5760"/>
              <a:gd name="T81" fmla="*/ 569 h 5669"/>
              <a:gd name="T82" fmla="*/ 5509 w 5760"/>
              <a:gd name="T83" fmla="*/ 605 h 5669"/>
              <a:gd name="T84" fmla="*/ 5470 w 5760"/>
              <a:gd name="T85" fmla="*/ 222 h 5669"/>
              <a:gd name="T86" fmla="*/ 5612 w 5760"/>
              <a:gd name="T87" fmla="*/ 105 h 5669"/>
              <a:gd name="T88" fmla="*/ 5720 w 5760"/>
              <a:gd name="T89" fmla="*/ 609 h 5669"/>
              <a:gd name="T90" fmla="*/ 5271 w 5760"/>
              <a:gd name="T91" fmla="*/ 853 h 5669"/>
              <a:gd name="T92" fmla="*/ 3330 w 5760"/>
              <a:gd name="T93" fmla="*/ 2915 h 5669"/>
              <a:gd name="T94" fmla="*/ 2969 w 5760"/>
              <a:gd name="T95" fmla="*/ 3276 h 5669"/>
              <a:gd name="T96" fmla="*/ 2517 w 5760"/>
              <a:gd name="T97" fmla="*/ 3033 h 5669"/>
              <a:gd name="T98" fmla="*/ 2011 w 5760"/>
              <a:gd name="T99" fmla="*/ 2166 h 5669"/>
              <a:gd name="T100" fmla="*/ 805 w 5760"/>
              <a:gd name="T101" fmla="*/ 2653 h 5669"/>
              <a:gd name="T102" fmla="*/ 754 w 5760"/>
              <a:gd name="T103" fmla="*/ 3140 h 5669"/>
              <a:gd name="T104" fmla="*/ 248 w 5760"/>
              <a:gd name="T105" fmla="*/ 3248 h 5669"/>
              <a:gd name="T106" fmla="*/ 5 w 5760"/>
              <a:gd name="T107" fmla="*/ 2794 h 5669"/>
              <a:gd name="T108" fmla="*/ 367 w 5760"/>
              <a:gd name="T109" fmla="*/ 2433 h 5669"/>
              <a:gd name="T110" fmla="*/ 1414 w 5760"/>
              <a:gd name="T111" fmla="*/ 1875 h 5669"/>
              <a:gd name="T112" fmla="*/ 1597 w 5760"/>
              <a:gd name="T113" fmla="*/ 1418 h 5669"/>
              <a:gd name="T114" fmla="*/ 2112 w 5760"/>
              <a:gd name="T115" fmla="*/ 1455 h 5669"/>
              <a:gd name="T116" fmla="*/ 2220 w 5760"/>
              <a:gd name="T117" fmla="*/ 1959 h 5669"/>
              <a:gd name="T118" fmla="*/ 3093 w 5760"/>
              <a:gd name="T119" fmla="*/ 2466 h 5669"/>
              <a:gd name="T120" fmla="*/ 4941 w 5760"/>
              <a:gd name="T121" fmla="*/ 248 h 5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60" h="5669">
                <a:moveTo>
                  <a:pt x="2205" y="4322"/>
                </a:moveTo>
                <a:lnTo>
                  <a:pt x="2156" y="4328"/>
                </a:lnTo>
                <a:lnTo>
                  <a:pt x="2109" y="4342"/>
                </a:lnTo>
                <a:lnTo>
                  <a:pt x="2067" y="4364"/>
                </a:lnTo>
                <a:lnTo>
                  <a:pt x="2030" y="4396"/>
                </a:lnTo>
                <a:lnTo>
                  <a:pt x="2000" y="4432"/>
                </a:lnTo>
                <a:lnTo>
                  <a:pt x="1978" y="4474"/>
                </a:lnTo>
                <a:lnTo>
                  <a:pt x="1964" y="4519"/>
                </a:lnTo>
                <a:lnTo>
                  <a:pt x="1958" y="4568"/>
                </a:lnTo>
                <a:lnTo>
                  <a:pt x="1958" y="5245"/>
                </a:lnTo>
                <a:lnTo>
                  <a:pt x="1964" y="5294"/>
                </a:lnTo>
                <a:lnTo>
                  <a:pt x="1978" y="5341"/>
                </a:lnTo>
                <a:lnTo>
                  <a:pt x="2000" y="5383"/>
                </a:lnTo>
                <a:lnTo>
                  <a:pt x="2030" y="5418"/>
                </a:lnTo>
                <a:lnTo>
                  <a:pt x="2067" y="5449"/>
                </a:lnTo>
                <a:lnTo>
                  <a:pt x="2109" y="5472"/>
                </a:lnTo>
                <a:lnTo>
                  <a:pt x="2156" y="5486"/>
                </a:lnTo>
                <a:lnTo>
                  <a:pt x="2205" y="5491"/>
                </a:lnTo>
                <a:lnTo>
                  <a:pt x="2651" y="5491"/>
                </a:lnTo>
                <a:lnTo>
                  <a:pt x="2702" y="5486"/>
                </a:lnTo>
                <a:lnTo>
                  <a:pt x="2747" y="5472"/>
                </a:lnTo>
                <a:lnTo>
                  <a:pt x="2789" y="5449"/>
                </a:lnTo>
                <a:lnTo>
                  <a:pt x="2826" y="5418"/>
                </a:lnTo>
                <a:lnTo>
                  <a:pt x="2857" y="5383"/>
                </a:lnTo>
                <a:lnTo>
                  <a:pt x="2878" y="5341"/>
                </a:lnTo>
                <a:lnTo>
                  <a:pt x="2894" y="5294"/>
                </a:lnTo>
                <a:lnTo>
                  <a:pt x="2899" y="5245"/>
                </a:lnTo>
                <a:lnTo>
                  <a:pt x="2899" y="4568"/>
                </a:lnTo>
                <a:lnTo>
                  <a:pt x="2894" y="4519"/>
                </a:lnTo>
                <a:lnTo>
                  <a:pt x="2878" y="4474"/>
                </a:lnTo>
                <a:lnTo>
                  <a:pt x="2857" y="4432"/>
                </a:lnTo>
                <a:lnTo>
                  <a:pt x="2826" y="4396"/>
                </a:lnTo>
                <a:lnTo>
                  <a:pt x="2789" y="4364"/>
                </a:lnTo>
                <a:lnTo>
                  <a:pt x="2747" y="4342"/>
                </a:lnTo>
                <a:lnTo>
                  <a:pt x="2702" y="4328"/>
                </a:lnTo>
                <a:lnTo>
                  <a:pt x="2651" y="4322"/>
                </a:lnTo>
                <a:lnTo>
                  <a:pt x="2205" y="4322"/>
                </a:lnTo>
                <a:close/>
                <a:moveTo>
                  <a:pt x="2205" y="4144"/>
                </a:moveTo>
                <a:lnTo>
                  <a:pt x="2651" y="4144"/>
                </a:lnTo>
                <a:lnTo>
                  <a:pt x="2714" y="4150"/>
                </a:lnTo>
                <a:lnTo>
                  <a:pt x="2775" y="4162"/>
                </a:lnTo>
                <a:lnTo>
                  <a:pt x="2831" y="4185"/>
                </a:lnTo>
                <a:lnTo>
                  <a:pt x="2883" y="4212"/>
                </a:lnTo>
                <a:lnTo>
                  <a:pt x="2931" y="4249"/>
                </a:lnTo>
                <a:lnTo>
                  <a:pt x="2973" y="4291"/>
                </a:lnTo>
                <a:lnTo>
                  <a:pt x="3009" y="4338"/>
                </a:lnTo>
                <a:lnTo>
                  <a:pt x="3037" y="4390"/>
                </a:lnTo>
                <a:lnTo>
                  <a:pt x="3060" y="4446"/>
                </a:lnTo>
                <a:lnTo>
                  <a:pt x="3072" y="4507"/>
                </a:lnTo>
                <a:lnTo>
                  <a:pt x="3077" y="4568"/>
                </a:lnTo>
                <a:lnTo>
                  <a:pt x="3077" y="5245"/>
                </a:lnTo>
                <a:lnTo>
                  <a:pt x="3072" y="5308"/>
                </a:lnTo>
                <a:lnTo>
                  <a:pt x="3060" y="5367"/>
                </a:lnTo>
                <a:lnTo>
                  <a:pt x="3037" y="5423"/>
                </a:lnTo>
                <a:lnTo>
                  <a:pt x="3009" y="5475"/>
                </a:lnTo>
                <a:lnTo>
                  <a:pt x="2973" y="5522"/>
                </a:lnTo>
                <a:lnTo>
                  <a:pt x="2931" y="5564"/>
                </a:lnTo>
                <a:lnTo>
                  <a:pt x="2883" y="5601"/>
                </a:lnTo>
                <a:lnTo>
                  <a:pt x="2831" y="5629"/>
                </a:lnTo>
                <a:lnTo>
                  <a:pt x="2775" y="5652"/>
                </a:lnTo>
                <a:lnTo>
                  <a:pt x="2714" y="5664"/>
                </a:lnTo>
                <a:lnTo>
                  <a:pt x="2651" y="5669"/>
                </a:lnTo>
                <a:lnTo>
                  <a:pt x="2205" y="5669"/>
                </a:lnTo>
                <a:lnTo>
                  <a:pt x="2142" y="5664"/>
                </a:lnTo>
                <a:lnTo>
                  <a:pt x="2082" y="5652"/>
                </a:lnTo>
                <a:lnTo>
                  <a:pt x="2026" y="5629"/>
                </a:lnTo>
                <a:lnTo>
                  <a:pt x="1974" y="5601"/>
                </a:lnTo>
                <a:lnTo>
                  <a:pt x="1927" y="5564"/>
                </a:lnTo>
                <a:lnTo>
                  <a:pt x="1885" y="5522"/>
                </a:lnTo>
                <a:lnTo>
                  <a:pt x="1848" y="5475"/>
                </a:lnTo>
                <a:lnTo>
                  <a:pt x="1821" y="5423"/>
                </a:lnTo>
                <a:lnTo>
                  <a:pt x="1798" y="5367"/>
                </a:lnTo>
                <a:lnTo>
                  <a:pt x="1786" y="5308"/>
                </a:lnTo>
                <a:lnTo>
                  <a:pt x="1780" y="5245"/>
                </a:lnTo>
                <a:lnTo>
                  <a:pt x="1780" y="4568"/>
                </a:lnTo>
                <a:lnTo>
                  <a:pt x="1786" y="4507"/>
                </a:lnTo>
                <a:lnTo>
                  <a:pt x="1798" y="4446"/>
                </a:lnTo>
                <a:lnTo>
                  <a:pt x="1821" y="4390"/>
                </a:lnTo>
                <a:lnTo>
                  <a:pt x="1848" y="4338"/>
                </a:lnTo>
                <a:lnTo>
                  <a:pt x="1885" y="4291"/>
                </a:lnTo>
                <a:lnTo>
                  <a:pt x="1927" y="4249"/>
                </a:lnTo>
                <a:lnTo>
                  <a:pt x="1974" y="4212"/>
                </a:lnTo>
                <a:lnTo>
                  <a:pt x="2026" y="4185"/>
                </a:lnTo>
                <a:lnTo>
                  <a:pt x="2082" y="4162"/>
                </a:lnTo>
                <a:lnTo>
                  <a:pt x="2142" y="4150"/>
                </a:lnTo>
                <a:lnTo>
                  <a:pt x="2205" y="4144"/>
                </a:lnTo>
                <a:close/>
                <a:moveTo>
                  <a:pt x="522" y="3623"/>
                </a:moveTo>
                <a:lnTo>
                  <a:pt x="473" y="3628"/>
                </a:lnTo>
                <a:lnTo>
                  <a:pt x="426" y="3642"/>
                </a:lnTo>
                <a:lnTo>
                  <a:pt x="384" y="3665"/>
                </a:lnTo>
                <a:lnTo>
                  <a:pt x="347" y="3696"/>
                </a:lnTo>
                <a:lnTo>
                  <a:pt x="318" y="3731"/>
                </a:lnTo>
                <a:lnTo>
                  <a:pt x="295" y="3773"/>
                </a:lnTo>
                <a:lnTo>
                  <a:pt x="281" y="3820"/>
                </a:lnTo>
                <a:lnTo>
                  <a:pt x="276" y="3869"/>
                </a:lnTo>
                <a:lnTo>
                  <a:pt x="276" y="5245"/>
                </a:lnTo>
                <a:lnTo>
                  <a:pt x="281" y="5294"/>
                </a:lnTo>
                <a:lnTo>
                  <a:pt x="295" y="5341"/>
                </a:lnTo>
                <a:lnTo>
                  <a:pt x="318" y="5383"/>
                </a:lnTo>
                <a:lnTo>
                  <a:pt x="347" y="5418"/>
                </a:lnTo>
                <a:lnTo>
                  <a:pt x="384" y="5449"/>
                </a:lnTo>
                <a:lnTo>
                  <a:pt x="426" y="5472"/>
                </a:lnTo>
                <a:lnTo>
                  <a:pt x="473" y="5486"/>
                </a:lnTo>
                <a:lnTo>
                  <a:pt x="522" y="5491"/>
                </a:lnTo>
                <a:lnTo>
                  <a:pt x="948" y="5491"/>
                </a:lnTo>
                <a:lnTo>
                  <a:pt x="997" y="5486"/>
                </a:lnTo>
                <a:lnTo>
                  <a:pt x="1044" y="5472"/>
                </a:lnTo>
                <a:lnTo>
                  <a:pt x="1086" y="5449"/>
                </a:lnTo>
                <a:lnTo>
                  <a:pt x="1121" y="5418"/>
                </a:lnTo>
                <a:lnTo>
                  <a:pt x="1152" y="5383"/>
                </a:lnTo>
                <a:lnTo>
                  <a:pt x="1175" y="5341"/>
                </a:lnTo>
                <a:lnTo>
                  <a:pt x="1189" y="5294"/>
                </a:lnTo>
                <a:lnTo>
                  <a:pt x="1194" y="5245"/>
                </a:lnTo>
                <a:lnTo>
                  <a:pt x="1194" y="3869"/>
                </a:lnTo>
                <a:lnTo>
                  <a:pt x="1189" y="3820"/>
                </a:lnTo>
                <a:lnTo>
                  <a:pt x="1175" y="3773"/>
                </a:lnTo>
                <a:lnTo>
                  <a:pt x="1152" y="3731"/>
                </a:lnTo>
                <a:lnTo>
                  <a:pt x="1121" y="3696"/>
                </a:lnTo>
                <a:lnTo>
                  <a:pt x="1086" y="3665"/>
                </a:lnTo>
                <a:lnTo>
                  <a:pt x="1044" y="3642"/>
                </a:lnTo>
                <a:lnTo>
                  <a:pt x="997" y="3628"/>
                </a:lnTo>
                <a:lnTo>
                  <a:pt x="948" y="3623"/>
                </a:lnTo>
                <a:lnTo>
                  <a:pt x="522" y="3623"/>
                </a:lnTo>
                <a:close/>
                <a:moveTo>
                  <a:pt x="522" y="3445"/>
                </a:moveTo>
                <a:lnTo>
                  <a:pt x="948" y="3445"/>
                </a:lnTo>
                <a:lnTo>
                  <a:pt x="1011" y="3450"/>
                </a:lnTo>
                <a:lnTo>
                  <a:pt x="1070" y="3462"/>
                </a:lnTo>
                <a:lnTo>
                  <a:pt x="1126" y="3485"/>
                </a:lnTo>
                <a:lnTo>
                  <a:pt x="1178" y="3513"/>
                </a:lnTo>
                <a:lnTo>
                  <a:pt x="1225" y="3550"/>
                </a:lnTo>
                <a:lnTo>
                  <a:pt x="1267" y="3592"/>
                </a:lnTo>
                <a:lnTo>
                  <a:pt x="1304" y="3639"/>
                </a:lnTo>
                <a:lnTo>
                  <a:pt x="1332" y="3691"/>
                </a:lnTo>
                <a:lnTo>
                  <a:pt x="1354" y="3747"/>
                </a:lnTo>
                <a:lnTo>
                  <a:pt x="1367" y="3806"/>
                </a:lnTo>
                <a:lnTo>
                  <a:pt x="1372" y="3869"/>
                </a:lnTo>
                <a:lnTo>
                  <a:pt x="1372" y="5245"/>
                </a:lnTo>
                <a:lnTo>
                  <a:pt x="1367" y="5308"/>
                </a:lnTo>
                <a:lnTo>
                  <a:pt x="1354" y="5367"/>
                </a:lnTo>
                <a:lnTo>
                  <a:pt x="1332" y="5423"/>
                </a:lnTo>
                <a:lnTo>
                  <a:pt x="1304" y="5475"/>
                </a:lnTo>
                <a:lnTo>
                  <a:pt x="1267" y="5522"/>
                </a:lnTo>
                <a:lnTo>
                  <a:pt x="1225" y="5564"/>
                </a:lnTo>
                <a:lnTo>
                  <a:pt x="1178" y="5601"/>
                </a:lnTo>
                <a:lnTo>
                  <a:pt x="1126" y="5629"/>
                </a:lnTo>
                <a:lnTo>
                  <a:pt x="1070" y="5652"/>
                </a:lnTo>
                <a:lnTo>
                  <a:pt x="1011" y="5664"/>
                </a:lnTo>
                <a:lnTo>
                  <a:pt x="948" y="5669"/>
                </a:lnTo>
                <a:lnTo>
                  <a:pt x="522" y="5669"/>
                </a:lnTo>
                <a:lnTo>
                  <a:pt x="459" y="5664"/>
                </a:lnTo>
                <a:lnTo>
                  <a:pt x="400" y="5652"/>
                </a:lnTo>
                <a:lnTo>
                  <a:pt x="344" y="5629"/>
                </a:lnTo>
                <a:lnTo>
                  <a:pt x="291" y="5601"/>
                </a:lnTo>
                <a:lnTo>
                  <a:pt x="244" y="5564"/>
                </a:lnTo>
                <a:lnTo>
                  <a:pt x="202" y="5522"/>
                </a:lnTo>
                <a:lnTo>
                  <a:pt x="166" y="5475"/>
                </a:lnTo>
                <a:lnTo>
                  <a:pt x="136" y="5423"/>
                </a:lnTo>
                <a:lnTo>
                  <a:pt x="115" y="5367"/>
                </a:lnTo>
                <a:lnTo>
                  <a:pt x="101" y="5308"/>
                </a:lnTo>
                <a:lnTo>
                  <a:pt x="98" y="5245"/>
                </a:lnTo>
                <a:lnTo>
                  <a:pt x="98" y="3869"/>
                </a:lnTo>
                <a:lnTo>
                  <a:pt x="101" y="3806"/>
                </a:lnTo>
                <a:lnTo>
                  <a:pt x="115" y="3747"/>
                </a:lnTo>
                <a:lnTo>
                  <a:pt x="136" y="3691"/>
                </a:lnTo>
                <a:lnTo>
                  <a:pt x="166" y="3639"/>
                </a:lnTo>
                <a:lnTo>
                  <a:pt x="202" y="3592"/>
                </a:lnTo>
                <a:lnTo>
                  <a:pt x="244" y="3550"/>
                </a:lnTo>
                <a:lnTo>
                  <a:pt x="291" y="3513"/>
                </a:lnTo>
                <a:lnTo>
                  <a:pt x="344" y="3485"/>
                </a:lnTo>
                <a:lnTo>
                  <a:pt x="400" y="3462"/>
                </a:lnTo>
                <a:lnTo>
                  <a:pt x="459" y="3450"/>
                </a:lnTo>
                <a:lnTo>
                  <a:pt x="522" y="3445"/>
                </a:lnTo>
                <a:close/>
                <a:moveTo>
                  <a:pt x="3924" y="3239"/>
                </a:moveTo>
                <a:lnTo>
                  <a:pt x="3875" y="3244"/>
                </a:lnTo>
                <a:lnTo>
                  <a:pt x="3828" y="3260"/>
                </a:lnTo>
                <a:lnTo>
                  <a:pt x="3786" y="3283"/>
                </a:lnTo>
                <a:lnTo>
                  <a:pt x="3749" y="3312"/>
                </a:lnTo>
                <a:lnTo>
                  <a:pt x="3720" y="3349"/>
                </a:lnTo>
                <a:lnTo>
                  <a:pt x="3697" y="3391"/>
                </a:lnTo>
                <a:lnTo>
                  <a:pt x="3683" y="3436"/>
                </a:lnTo>
                <a:lnTo>
                  <a:pt x="3678" y="3487"/>
                </a:lnTo>
                <a:lnTo>
                  <a:pt x="3678" y="5245"/>
                </a:lnTo>
                <a:lnTo>
                  <a:pt x="3683" y="5294"/>
                </a:lnTo>
                <a:lnTo>
                  <a:pt x="3697" y="5341"/>
                </a:lnTo>
                <a:lnTo>
                  <a:pt x="3720" y="5383"/>
                </a:lnTo>
                <a:lnTo>
                  <a:pt x="3749" y="5418"/>
                </a:lnTo>
                <a:lnTo>
                  <a:pt x="3786" y="5449"/>
                </a:lnTo>
                <a:lnTo>
                  <a:pt x="3828" y="5472"/>
                </a:lnTo>
                <a:lnTo>
                  <a:pt x="3875" y="5486"/>
                </a:lnTo>
                <a:lnTo>
                  <a:pt x="3924" y="5491"/>
                </a:lnTo>
                <a:lnTo>
                  <a:pt x="4348" y="5491"/>
                </a:lnTo>
                <a:lnTo>
                  <a:pt x="4397" y="5486"/>
                </a:lnTo>
                <a:lnTo>
                  <a:pt x="4444" y="5472"/>
                </a:lnTo>
                <a:lnTo>
                  <a:pt x="4486" y="5449"/>
                </a:lnTo>
                <a:lnTo>
                  <a:pt x="4522" y="5418"/>
                </a:lnTo>
                <a:lnTo>
                  <a:pt x="4552" y="5383"/>
                </a:lnTo>
                <a:lnTo>
                  <a:pt x="4575" y="5341"/>
                </a:lnTo>
                <a:lnTo>
                  <a:pt x="4589" y="5294"/>
                </a:lnTo>
                <a:lnTo>
                  <a:pt x="4594" y="5245"/>
                </a:lnTo>
                <a:lnTo>
                  <a:pt x="4594" y="3487"/>
                </a:lnTo>
                <a:lnTo>
                  <a:pt x="4589" y="3436"/>
                </a:lnTo>
                <a:lnTo>
                  <a:pt x="4575" y="3391"/>
                </a:lnTo>
                <a:lnTo>
                  <a:pt x="4552" y="3349"/>
                </a:lnTo>
                <a:lnTo>
                  <a:pt x="4522" y="3312"/>
                </a:lnTo>
                <a:lnTo>
                  <a:pt x="4486" y="3283"/>
                </a:lnTo>
                <a:lnTo>
                  <a:pt x="4444" y="3260"/>
                </a:lnTo>
                <a:lnTo>
                  <a:pt x="4397" y="3244"/>
                </a:lnTo>
                <a:lnTo>
                  <a:pt x="4348" y="3239"/>
                </a:lnTo>
                <a:lnTo>
                  <a:pt x="3924" y="3239"/>
                </a:lnTo>
                <a:close/>
                <a:moveTo>
                  <a:pt x="3924" y="3061"/>
                </a:moveTo>
                <a:lnTo>
                  <a:pt x="4348" y="3061"/>
                </a:lnTo>
                <a:lnTo>
                  <a:pt x="4411" y="3066"/>
                </a:lnTo>
                <a:lnTo>
                  <a:pt x="4470" y="3080"/>
                </a:lnTo>
                <a:lnTo>
                  <a:pt x="4526" y="3101"/>
                </a:lnTo>
                <a:lnTo>
                  <a:pt x="4578" y="3131"/>
                </a:lnTo>
                <a:lnTo>
                  <a:pt x="4625" y="3166"/>
                </a:lnTo>
                <a:lnTo>
                  <a:pt x="4667" y="3208"/>
                </a:lnTo>
                <a:lnTo>
                  <a:pt x="4704" y="3255"/>
                </a:lnTo>
                <a:lnTo>
                  <a:pt x="4734" y="3307"/>
                </a:lnTo>
                <a:lnTo>
                  <a:pt x="4755" y="3363"/>
                </a:lnTo>
                <a:lnTo>
                  <a:pt x="4769" y="3424"/>
                </a:lnTo>
                <a:lnTo>
                  <a:pt x="4772" y="3487"/>
                </a:lnTo>
                <a:lnTo>
                  <a:pt x="4772" y="5245"/>
                </a:lnTo>
                <a:lnTo>
                  <a:pt x="4769" y="5308"/>
                </a:lnTo>
                <a:lnTo>
                  <a:pt x="4755" y="5367"/>
                </a:lnTo>
                <a:lnTo>
                  <a:pt x="4734" y="5423"/>
                </a:lnTo>
                <a:lnTo>
                  <a:pt x="4704" y="5475"/>
                </a:lnTo>
                <a:lnTo>
                  <a:pt x="4667" y="5522"/>
                </a:lnTo>
                <a:lnTo>
                  <a:pt x="4625" y="5564"/>
                </a:lnTo>
                <a:lnTo>
                  <a:pt x="4578" y="5601"/>
                </a:lnTo>
                <a:lnTo>
                  <a:pt x="4526" y="5629"/>
                </a:lnTo>
                <a:lnTo>
                  <a:pt x="4470" y="5652"/>
                </a:lnTo>
                <a:lnTo>
                  <a:pt x="4411" y="5664"/>
                </a:lnTo>
                <a:lnTo>
                  <a:pt x="4348" y="5669"/>
                </a:lnTo>
                <a:lnTo>
                  <a:pt x="3924" y="5669"/>
                </a:lnTo>
                <a:lnTo>
                  <a:pt x="3861" y="5664"/>
                </a:lnTo>
                <a:lnTo>
                  <a:pt x="3802" y="5652"/>
                </a:lnTo>
                <a:lnTo>
                  <a:pt x="3744" y="5629"/>
                </a:lnTo>
                <a:lnTo>
                  <a:pt x="3693" y="5601"/>
                </a:lnTo>
                <a:lnTo>
                  <a:pt x="3645" y="5564"/>
                </a:lnTo>
                <a:lnTo>
                  <a:pt x="3603" y="5522"/>
                </a:lnTo>
                <a:lnTo>
                  <a:pt x="3568" y="5475"/>
                </a:lnTo>
                <a:lnTo>
                  <a:pt x="3538" y="5423"/>
                </a:lnTo>
                <a:lnTo>
                  <a:pt x="3517" y="5367"/>
                </a:lnTo>
                <a:lnTo>
                  <a:pt x="3503" y="5308"/>
                </a:lnTo>
                <a:lnTo>
                  <a:pt x="3500" y="5245"/>
                </a:lnTo>
                <a:lnTo>
                  <a:pt x="3500" y="3487"/>
                </a:lnTo>
                <a:lnTo>
                  <a:pt x="3503" y="3424"/>
                </a:lnTo>
                <a:lnTo>
                  <a:pt x="3517" y="3363"/>
                </a:lnTo>
                <a:lnTo>
                  <a:pt x="3538" y="3307"/>
                </a:lnTo>
                <a:lnTo>
                  <a:pt x="3568" y="3255"/>
                </a:lnTo>
                <a:lnTo>
                  <a:pt x="3603" y="3208"/>
                </a:lnTo>
                <a:lnTo>
                  <a:pt x="3645" y="3166"/>
                </a:lnTo>
                <a:lnTo>
                  <a:pt x="3693" y="3131"/>
                </a:lnTo>
                <a:lnTo>
                  <a:pt x="3744" y="3101"/>
                </a:lnTo>
                <a:lnTo>
                  <a:pt x="3802" y="3080"/>
                </a:lnTo>
                <a:lnTo>
                  <a:pt x="3861" y="3066"/>
                </a:lnTo>
                <a:lnTo>
                  <a:pt x="3924" y="3061"/>
                </a:lnTo>
                <a:close/>
                <a:moveTo>
                  <a:pt x="429" y="2608"/>
                </a:moveTo>
                <a:lnTo>
                  <a:pt x="379" y="2613"/>
                </a:lnTo>
                <a:lnTo>
                  <a:pt x="332" y="2627"/>
                </a:lnTo>
                <a:lnTo>
                  <a:pt x="290" y="2650"/>
                </a:lnTo>
                <a:lnTo>
                  <a:pt x="251" y="2681"/>
                </a:lnTo>
                <a:lnTo>
                  <a:pt x="222" y="2718"/>
                </a:lnTo>
                <a:lnTo>
                  <a:pt x="199" y="2761"/>
                </a:lnTo>
                <a:lnTo>
                  <a:pt x="183" y="2808"/>
                </a:lnTo>
                <a:lnTo>
                  <a:pt x="178" y="2859"/>
                </a:lnTo>
                <a:lnTo>
                  <a:pt x="183" y="2908"/>
                </a:lnTo>
                <a:lnTo>
                  <a:pt x="199" y="2955"/>
                </a:lnTo>
                <a:lnTo>
                  <a:pt x="222" y="2998"/>
                </a:lnTo>
                <a:lnTo>
                  <a:pt x="251" y="3035"/>
                </a:lnTo>
                <a:lnTo>
                  <a:pt x="290" y="3066"/>
                </a:lnTo>
                <a:lnTo>
                  <a:pt x="332" y="3089"/>
                </a:lnTo>
                <a:lnTo>
                  <a:pt x="379" y="3103"/>
                </a:lnTo>
                <a:lnTo>
                  <a:pt x="429" y="3108"/>
                </a:lnTo>
                <a:lnTo>
                  <a:pt x="480" y="3103"/>
                </a:lnTo>
                <a:lnTo>
                  <a:pt x="527" y="3089"/>
                </a:lnTo>
                <a:lnTo>
                  <a:pt x="569" y="3066"/>
                </a:lnTo>
                <a:lnTo>
                  <a:pt x="607" y="3035"/>
                </a:lnTo>
                <a:lnTo>
                  <a:pt x="637" y="2998"/>
                </a:lnTo>
                <a:lnTo>
                  <a:pt x="662" y="2955"/>
                </a:lnTo>
                <a:lnTo>
                  <a:pt x="675" y="2908"/>
                </a:lnTo>
                <a:lnTo>
                  <a:pt x="681" y="2859"/>
                </a:lnTo>
                <a:lnTo>
                  <a:pt x="675" y="2808"/>
                </a:lnTo>
                <a:lnTo>
                  <a:pt x="662" y="2761"/>
                </a:lnTo>
                <a:lnTo>
                  <a:pt x="637" y="2718"/>
                </a:lnTo>
                <a:lnTo>
                  <a:pt x="607" y="2681"/>
                </a:lnTo>
                <a:lnTo>
                  <a:pt x="569" y="2650"/>
                </a:lnTo>
                <a:lnTo>
                  <a:pt x="527" y="2627"/>
                </a:lnTo>
                <a:lnTo>
                  <a:pt x="480" y="2613"/>
                </a:lnTo>
                <a:lnTo>
                  <a:pt x="429" y="2608"/>
                </a:lnTo>
                <a:close/>
                <a:moveTo>
                  <a:pt x="2906" y="2601"/>
                </a:moveTo>
                <a:lnTo>
                  <a:pt x="2856" y="2606"/>
                </a:lnTo>
                <a:lnTo>
                  <a:pt x="2808" y="2620"/>
                </a:lnTo>
                <a:lnTo>
                  <a:pt x="2765" y="2644"/>
                </a:lnTo>
                <a:lnTo>
                  <a:pt x="2728" y="2674"/>
                </a:lnTo>
                <a:lnTo>
                  <a:pt x="2697" y="2712"/>
                </a:lnTo>
                <a:lnTo>
                  <a:pt x="2674" y="2754"/>
                </a:lnTo>
                <a:lnTo>
                  <a:pt x="2660" y="2801"/>
                </a:lnTo>
                <a:lnTo>
                  <a:pt x="2655" y="2852"/>
                </a:lnTo>
                <a:lnTo>
                  <a:pt x="2660" y="2903"/>
                </a:lnTo>
                <a:lnTo>
                  <a:pt x="2674" y="2950"/>
                </a:lnTo>
                <a:lnTo>
                  <a:pt x="2697" y="2991"/>
                </a:lnTo>
                <a:lnTo>
                  <a:pt x="2728" y="3030"/>
                </a:lnTo>
                <a:lnTo>
                  <a:pt x="2765" y="3060"/>
                </a:lnTo>
                <a:lnTo>
                  <a:pt x="2808" y="3084"/>
                </a:lnTo>
                <a:lnTo>
                  <a:pt x="2856" y="3098"/>
                </a:lnTo>
                <a:lnTo>
                  <a:pt x="2906" y="3103"/>
                </a:lnTo>
                <a:lnTo>
                  <a:pt x="2957" y="3098"/>
                </a:lnTo>
                <a:lnTo>
                  <a:pt x="3004" y="3084"/>
                </a:lnTo>
                <a:lnTo>
                  <a:pt x="3046" y="3060"/>
                </a:lnTo>
                <a:lnTo>
                  <a:pt x="3082" y="3030"/>
                </a:lnTo>
                <a:lnTo>
                  <a:pt x="3114" y="2991"/>
                </a:lnTo>
                <a:lnTo>
                  <a:pt x="3137" y="2950"/>
                </a:lnTo>
                <a:lnTo>
                  <a:pt x="3152" y="2903"/>
                </a:lnTo>
                <a:lnTo>
                  <a:pt x="3158" y="2852"/>
                </a:lnTo>
                <a:lnTo>
                  <a:pt x="3152" y="2801"/>
                </a:lnTo>
                <a:lnTo>
                  <a:pt x="3137" y="2754"/>
                </a:lnTo>
                <a:lnTo>
                  <a:pt x="3114" y="2712"/>
                </a:lnTo>
                <a:lnTo>
                  <a:pt x="3082" y="2674"/>
                </a:lnTo>
                <a:lnTo>
                  <a:pt x="3046" y="2644"/>
                </a:lnTo>
                <a:lnTo>
                  <a:pt x="3004" y="2620"/>
                </a:lnTo>
                <a:lnTo>
                  <a:pt x="2957" y="2606"/>
                </a:lnTo>
                <a:lnTo>
                  <a:pt x="2906" y="2601"/>
                </a:lnTo>
                <a:close/>
                <a:moveTo>
                  <a:pt x="1831" y="1526"/>
                </a:moveTo>
                <a:lnTo>
                  <a:pt x="1780" y="1531"/>
                </a:lnTo>
                <a:lnTo>
                  <a:pt x="1733" y="1547"/>
                </a:lnTo>
                <a:lnTo>
                  <a:pt x="1690" y="1570"/>
                </a:lnTo>
                <a:lnTo>
                  <a:pt x="1653" y="1600"/>
                </a:lnTo>
                <a:lnTo>
                  <a:pt x="1623" y="1638"/>
                </a:lnTo>
                <a:lnTo>
                  <a:pt x="1599" y="1680"/>
                </a:lnTo>
                <a:lnTo>
                  <a:pt x="1585" y="1727"/>
                </a:lnTo>
                <a:lnTo>
                  <a:pt x="1580" y="1777"/>
                </a:lnTo>
                <a:lnTo>
                  <a:pt x="1585" y="1828"/>
                </a:lnTo>
                <a:lnTo>
                  <a:pt x="1599" y="1875"/>
                </a:lnTo>
                <a:lnTo>
                  <a:pt x="1623" y="1919"/>
                </a:lnTo>
                <a:lnTo>
                  <a:pt x="1653" y="1955"/>
                </a:lnTo>
                <a:lnTo>
                  <a:pt x="1690" y="1985"/>
                </a:lnTo>
                <a:lnTo>
                  <a:pt x="1733" y="2009"/>
                </a:lnTo>
                <a:lnTo>
                  <a:pt x="1780" y="2023"/>
                </a:lnTo>
                <a:lnTo>
                  <a:pt x="1831" y="2029"/>
                </a:lnTo>
                <a:lnTo>
                  <a:pt x="1882" y="2023"/>
                </a:lnTo>
                <a:lnTo>
                  <a:pt x="1929" y="2009"/>
                </a:lnTo>
                <a:lnTo>
                  <a:pt x="1971" y="1985"/>
                </a:lnTo>
                <a:lnTo>
                  <a:pt x="2009" y="1955"/>
                </a:lnTo>
                <a:lnTo>
                  <a:pt x="2039" y="1919"/>
                </a:lnTo>
                <a:lnTo>
                  <a:pt x="2061" y="1875"/>
                </a:lnTo>
                <a:lnTo>
                  <a:pt x="2077" y="1828"/>
                </a:lnTo>
                <a:lnTo>
                  <a:pt x="2082" y="1777"/>
                </a:lnTo>
                <a:lnTo>
                  <a:pt x="2077" y="1727"/>
                </a:lnTo>
                <a:lnTo>
                  <a:pt x="2061" y="1680"/>
                </a:lnTo>
                <a:lnTo>
                  <a:pt x="2039" y="1638"/>
                </a:lnTo>
                <a:lnTo>
                  <a:pt x="2009" y="1600"/>
                </a:lnTo>
                <a:lnTo>
                  <a:pt x="1971" y="1570"/>
                </a:lnTo>
                <a:lnTo>
                  <a:pt x="1929" y="1547"/>
                </a:lnTo>
                <a:lnTo>
                  <a:pt x="1882" y="1531"/>
                </a:lnTo>
                <a:lnTo>
                  <a:pt x="1831" y="1526"/>
                </a:lnTo>
                <a:close/>
                <a:moveTo>
                  <a:pt x="5331" y="178"/>
                </a:moveTo>
                <a:lnTo>
                  <a:pt x="5280" y="183"/>
                </a:lnTo>
                <a:lnTo>
                  <a:pt x="5233" y="197"/>
                </a:lnTo>
                <a:lnTo>
                  <a:pt x="5191" y="222"/>
                </a:lnTo>
                <a:lnTo>
                  <a:pt x="5153" y="251"/>
                </a:lnTo>
                <a:lnTo>
                  <a:pt x="5123" y="288"/>
                </a:lnTo>
                <a:lnTo>
                  <a:pt x="5098" y="331"/>
                </a:lnTo>
                <a:lnTo>
                  <a:pt x="5085" y="378"/>
                </a:lnTo>
                <a:lnTo>
                  <a:pt x="5079" y="429"/>
                </a:lnTo>
                <a:lnTo>
                  <a:pt x="5085" y="480"/>
                </a:lnTo>
                <a:lnTo>
                  <a:pt x="5098" y="527"/>
                </a:lnTo>
                <a:lnTo>
                  <a:pt x="5123" y="569"/>
                </a:lnTo>
                <a:lnTo>
                  <a:pt x="5153" y="605"/>
                </a:lnTo>
                <a:lnTo>
                  <a:pt x="5191" y="637"/>
                </a:lnTo>
                <a:lnTo>
                  <a:pt x="5233" y="659"/>
                </a:lnTo>
                <a:lnTo>
                  <a:pt x="5280" y="675"/>
                </a:lnTo>
                <a:lnTo>
                  <a:pt x="5331" y="680"/>
                </a:lnTo>
                <a:lnTo>
                  <a:pt x="5381" y="675"/>
                </a:lnTo>
                <a:lnTo>
                  <a:pt x="5428" y="659"/>
                </a:lnTo>
                <a:lnTo>
                  <a:pt x="5470" y="637"/>
                </a:lnTo>
                <a:lnTo>
                  <a:pt x="5509" y="605"/>
                </a:lnTo>
                <a:lnTo>
                  <a:pt x="5538" y="569"/>
                </a:lnTo>
                <a:lnTo>
                  <a:pt x="5561" y="527"/>
                </a:lnTo>
                <a:lnTo>
                  <a:pt x="5577" y="480"/>
                </a:lnTo>
                <a:lnTo>
                  <a:pt x="5582" y="429"/>
                </a:lnTo>
                <a:lnTo>
                  <a:pt x="5577" y="378"/>
                </a:lnTo>
                <a:lnTo>
                  <a:pt x="5561" y="331"/>
                </a:lnTo>
                <a:lnTo>
                  <a:pt x="5538" y="288"/>
                </a:lnTo>
                <a:lnTo>
                  <a:pt x="5509" y="251"/>
                </a:lnTo>
                <a:lnTo>
                  <a:pt x="5470" y="222"/>
                </a:lnTo>
                <a:lnTo>
                  <a:pt x="5428" y="197"/>
                </a:lnTo>
                <a:lnTo>
                  <a:pt x="5381" y="183"/>
                </a:lnTo>
                <a:lnTo>
                  <a:pt x="5331" y="178"/>
                </a:lnTo>
                <a:close/>
                <a:moveTo>
                  <a:pt x="5331" y="0"/>
                </a:moveTo>
                <a:lnTo>
                  <a:pt x="5393" y="3"/>
                </a:lnTo>
                <a:lnTo>
                  <a:pt x="5455" y="17"/>
                </a:lnTo>
                <a:lnTo>
                  <a:pt x="5512" y="40"/>
                </a:lnTo>
                <a:lnTo>
                  <a:pt x="5565" y="68"/>
                </a:lnTo>
                <a:lnTo>
                  <a:pt x="5612" y="105"/>
                </a:lnTo>
                <a:lnTo>
                  <a:pt x="5655" y="146"/>
                </a:lnTo>
                <a:lnTo>
                  <a:pt x="5690" y="195"/>
                </a:lnTo>
                <a:lnTo>
                  <a:pt x="5720" y="248"/>
                </a:lnTo>
                <a:lnTo>
                  <a:pt x="5743" y="305"/>
                </a:lnTo>
                <a:lnTo>
                  <a:pt x="5755" y="365"/>
                </a:lnTo>
                <a:lnTo>
                  <a:pt x="5760" y="429"/>
                </a:lnTo>
                <a:lnTo>
                  <a:pt x="5755" y="492"/>
                </a:lnTo>
                <a:lnTo>
                  <a:pt x="5743" y="553"/>
                </a:lnTo>
                <a:lnTo>
                  <a:pt x="5720" y="609"/>
                </a:lnTo>
                <a:lnTo>
                  <a:pt x="5690" y="663"/>
                </a:lnTo>
                <a:lnTo>
                  <a:pt x="5655" y="710"/>
                </a:lnTo>
                <a:lnTo>
                  <a:pt x="5612" y="752"/>
                </a:lnTo>
                <a:lnTo>
                  <a:pt x="5565" y="788"/>
                </a:lnTo>
                <a:lnTo>
                  <a:pt x="5512" y="818"/>
                </a:lnTo>
                <a:lnTo>
                  <a:pt x="5455" y="839"/>
                </a:lnTo>
                <a:lnTo>
                  <a:pt x="5393" y="853"/>
                </a:lnTo>
                <a:lnTo>
                  <a:pt x="5331" y="858"/>
                </a:lnTo>
                <a:lnTo>
                  <a:pt x="5271" y="853"/>
                </a:lnTo>
                <a:lnTo>
                  <a:pt x="5214" y="841"/>
                </a:lnTo>
                <a:lnTo>
                  <a:pt x="5160" y="822"/>
                </a:lnTo>
                <a:lnTo>
                  <a:pt x="5109" y="794"/>
                </a:lnTo>
                <a:lnTo>
                  <a:pt x="3269" y="2627"/>
                </a:lnTo>
                <a:lnTo>
                  <a:pt x="3297" y="2678"/>
                </a:lnTo>
                <a:lnTo>
                  <a:pt x="3318" y="2733"/>
                </a:lnTo>
                <a:lnTo>
                  <a:pt x="3330" y="2791"/>
                </a:lnTo>
                <a:lnTo>
                  <a:pt x="3336" y="2852"/>
                </a:lnTo>
                <a:lnTo>
                  <a:pt x="3330" y="2915"/>
                </a:lnTo>
                <a:lnTo>
                  <a:pt x="3316" y="2976"/>
                </a:lnTo>
                <a:lnTo>
                  <a:pt x="3295" y="3033"/>
                </a:lnTo>
                <a:lnTo>
                  <a:pt x="3266" y="3086"/>
                </a:lnTo>
                <a:lnTo>
                  <a:pt x="3229" y="3133"/>
                </a:lnTo>
                <a:lnTo>
                  <a:pt x="3187" y="3176"/>
                </a:lnTo>
                <a:lnTo>
                  <a:pt x="3140" y="3211"/>
                </a:lnTo>
                <a:lnTo>
                  <a:pt x="3086" y="3241"/>
                </a:lnTo>
                <a:lnTo>
                  <a:pt x="3030" y="3264"/>
                </a:lnTo>
                <a:lnTo>
                  <a:pt x="2969" y="3276"/>
                </a:lnTo>
                <a:lnTo>
                  <a:pt x="2906" y="3281"/>
                </a:lnTo>
                <a:lnTo>
                  <a:pt x="2842" y="3276"/>
                </a:lnTo>
                <a:lnTo>
                  <a:pt x="2782" y="3264"/>
                </a:lnTo>
                <a:lnTo>
                  <a:pt x="2725" y="3241"/>
                </a:lnTo>
                <a:lnTo>
                  <a:pt x="2672" y="3211"/>
                </a:lnTo>
                <a:lnTo>
                  <a:pt x="2623" y="3176"/>
                </a:lnTo>
                <a:lnTo>
                  <a:pt x="2582" y="3133"/>
                </a:lnTo>
                <a:lnTo>
                  <a:pt x="2545" y="3086"/>
                </a:lnTo>
                <a:lnTo>
                  <a:pt x="2517" y="3033"/>
                </a:lnTo>
                <a:lnTo>
                  <a:pt x="2494" y="2976"/>
                </a:lnTo>
                <a:lnTo>
                  <a:pt x="2480" y="2915"/>
                </a:lnTo>
                <a:lnTo>
                  <a:pt x="2477" y="2852"/>
                </a:lnTo>
                <a:lnTo>
                  <a:pt x="2480" y="2789"/>
                </a:lnTo>
                <a:lnTo>
                  <a:pt x="2494" y="2728"/>
                </a:lnTo>
                <a:lnTo>
                  <a:pt x="2517" y="2672"/>
                </a:lnTo>
                <a:lnTo>
                  <a:pt x="2547" y="2618"/>
                </a:lnTo>
                <a:lnTo>
                  <a:pt x="2065" y="2137"/>
                </a:lnTo>
                <a:lnTo>
                  <a:pt x="2011" y="2166"/>
                </a:lnTo>
                <a:lnTo>
                  <a:pt x="1955" y="2189"/>
                </a:lnTo>
                <a:lnTo>
                  <a:pt x="1894" y="2201"/>
                </a:lnTo>
                <a:lnTo>
                  <a:pt x="1831" y="2207"/>
                </a:lnTo>
                <a:lnTo>
                  <a:pt x="1770" y="2203"/>
                </a:lnTo>
                <a:lnTo>
                  <a:pt x="1711" y="2189"/>
                </a:lnTo>
                <a:lnTo>
                  <a:pt x="1655" y="2168"/>
                </a:lnTo>
                <a:lnTo>
                  <a:pt x="1604" y="2140"/>
                </a:lnTo>
                <a:lnTo>
                  <a:pt x="1557" y="2105"/>
                </a:lnTo>
                <a:lnTo>
                  <a:pt x="805" y="2653"/>
                </a:lnTo>
                <a:lnTo>
                  <a:pt x="827" y="2700"/>
                </a:lnTo>
                <a:lnTo>
                  <a:pt x="845" y="2751"/>
                </a:lnTo>
                <a:lnTo>
                  <a:pt x="855" y="2803"/>
                </a:lnTo>
                <a:lnTo>
                  <a:pt x="859" y="2859"/>
                </a:lnTo>
                <a:lnTo>
                  <a:pt x="854" y="2922"/>
                </a:lnTo>
                <a:lnTo>
                  <a:pt x="841" y="2981"/>
                </a:lnTo>
                <a:lnTo>
                  <a:pt x="819" y="3039"/>
                </a:lnTo>
                <a:lnTo>
                  <a:pt x="789" y="3091"/>
                </a:lnTo>
                <a:lnTo>
                  <a:pt x="754" y="3140"/>
                </a:lnTo>
                <a:lnTo>
                  <a:pt x="710" y="3182"/>
                </a:lnTo>
                <a:lnTo>
                  <a:pt x="663" y="3218"/>
                </a:lnTo>
                <a:lnTo>
                  <a:pt x="611" y="3248"/>
                </a:lnTo>
                <a:lnTo>
                  <a:pt x="553" y="3269"/>
                </a:lnTo>
                <a:lnTo>
                  <a:pt x="492" y="3283"/>
                </a:lnTo>
                <a:lnTo>
                  <a:pt x="429" y="3288"/>
                </a:lnTo>
                <a:lnTo>
                  <a:pt x="367" y="3283"/>
                </a:lnTo>
                <a:lnTo>
                  <a:pt x="305" y="3269"/>
                </a:lnTo>
                <a:lnTo>
                  <a:pt x="248" y="3248"/>
                </a:lnTo>
                <a:lnTo>
                  <a:pt x="195" y="3218"/>
                </a:lnTo>
                <a:lnTo>
                  <a:pt x="148" y="3182"/>
                </a:lnTo>
                <a:lnTo>
                  <a:pt x="105" y="3140"/>
                </a:lnTo>
                <a:lnTo>
                  <a:pt x="70" y="3091"/>
                </a:lnTo>
                <a:lnTo>
                  <a:pt x="40" y="3039"/>
                </a:lnTo>
                <a:lnTo>
                  <a:pt x="17" y="2981"/>
                </a:lnTo>
                <a:lnTo>
                  <a:pt x="5" y="2922"/>
                </a:lnTo>
                <a:lnTo>
                  <a:pt x="0" y="2859"/>
                </a:lnTo>
                <a:lnTo>
                  <a:pt x="5" y="2794"/>
                </a:lnTo>
                <a:lnTo>
                  <a:pt x="17" y="2735"/>
                </a:lnTo>
                <a:lnTo>
                  <a:pt x="40" y="2678"/>
                </a:lnTo>
                <a:lnTo>
                  <a:pt x="70" y="2625"/>
                </a:lnTo>
                <a:lnTo>
                  <a:pt x="105" y="2576"/>
                </a:lnTo>
                <a:lnTo>
                  <a:pt x="148" y="2534"/>
                </a:lnTo>
                <a:lnTo>
                  <a:pt x="195" y="2498"/>
                </a:lnTo>
                <a:lnTo>
                  <a:pt x="248" y="2468"/>
                </a:lnTo>
                <a:lnTo>
                  <a:pt x="305" y="2447"/>
                </a:lnTo>
                <a:lnTo>
                  <a:pt x="367" y="2433"/>
                </a:lnTo>
                <a:lnTo>
                  <a:pt x="429" y="2428"/>
                </a:lnTo>
                <a:lnTo>
                  <a:pt x="487" y="2433"/>
                </a:lnTo>
                <a:lnTo>
                  <a:pt x="541" y="2444"/>
                </a:lnTo>
                <a:lnTo>
                  <a:pt x="593" y="2463"/>
                </a:lnTo>
                <a:lnTo>
                  <a:pt x="642" y="2487"/>
                </a:lnTo>
                <a:lnTo>
                  <a:pt x="688" y="2517"/>
                </a:lnTo>
                <a:lnTo>
                  <a:pt x="1447" y="1966"/>
                </a:lnTo>
                <a:lnTo>
                  <a:pt x="1428" y="1922"/>
                </a:lnTo>
                <a:lnTo>
                  <a:pt x="1414" y="1875"/>
                </a:lnTo>
                <a:lnTo>
                  <a:pt x="1405" y="1828"/>
                </a:lnTo>
                <a:lnTo>
                  <a:pt x="1402" y="1777"/>
                </a:lnTo>
                <a:lnTo>
                  <a:pt x="1405" y="1715"/>
                </a:lnTo>
                <a:lnTo>
                  <a:pt x="1419" y="1654"/>
                </a:lnTo>
                <a:lnTo>
                  <a:pt x="1442" y="1598"/>
                </a:lnTo>
                <a:lnTo>
                  <a:pt x="1470" y="1544"/>
                </a:lnTo>
                <a:lnTo>
                  <a:pt x="1506" y="1497"/>
                </a:lnTo>
                <a:lnTo>
                  <a:pt x="1548" y="1455"/>
                </a:lnTo>
                <a:lnTo>
                  <a:pt x="1597" y="1418"/>
                </a:lnTo>
                <a:lnTo>
                  <a:pt x="1649" y="1388"/>
                </a:lnTo>
                <a:lnTo>
                  <a:pt x="1707" y="1368"/>
                </a:lnTo>
                <a:lnTo>
                  <a:pt x="1766" y="1354"/>
                </a:lnTo>
                <a:lnTo>
                  <a:pt x="1831" y="1348"/>
                </a:lnTo>
                <a:lnTo>
                  <a:pt x="1894" y="1354"/>
                </a:lnTo>
                <a:lnTo>
                  <a:pt x="1955" y="1368"/>
                </a:lnTo>
                <a:lnTo>
                  <a:pt x="2011" y="1388"/>
                </a:lnTo>
                <a:lnTo>
                  <a:pt x="2065" y="1418"/>
                </a:lnTo>
                <a:lnTo>
                  <a:pt x="2112" y="1455"/>
                </a:lnTo>
                <a:lnTo>
                  <a:pt x="2154" y="1497"/>
                </a:lnTo>
                <a:lnTo>
                  <a:pt x="2191" y="1544"/>
                </a:lnTo>
                <a:lnTo>
                  <a:pt x="2220" y="1598"/>
                </a:lnTo>
                <a:lnTo>
                  <a:pt x="2241" y="1654"/>
                </a:lnTo>
                <a:lnTo>
                  <a:pt x="2255" y="1715"/>
                </a:lnTo>
                <a:lnTo>
                  <a:pt x="2260" y="1777"/>
                </a:lnTo>
                <a:lnTo>
                  <a:pt x="2255" y="1840"/>
                </a:lnTo>
                <a:lnTo>
                  <a:pt x="2241" y="1901"/>
                </a:lnTo>
                <a:lnTo>
                  <a:pt x="2220" y="1959"/>
                </a:lnTo>
                <a:lnTo>
                  <a:pt x="2191" y="2011"/>
                </a:lnTo>
                <a:lnTo>
                  <a:pt x="2672" y="2493"/>
                </a:lnTo>
                <a:lnTo>
                  <a:pt x="2725" y="2463"/>
                </a:lnTo>
                <a:lnTo>
                  <a:pt x="2782" y="2442"/>
                </a:lnTo>
                <a:lnTo>
                  <a:pt x="2842" y="2428"/>
                </a:lnTo>
                <a:lnTo>
                  <a:pt x="2906" y="2423"/>
                </a:lnTo>
                <a:lnTo>
                  <a:pt x="2971" y="2428"/>
                </a:lnTo>
                <a:lnTo>
                  <a:pt x="3034" y="2442"/>
                </a:lnTo>
                <a:lnTo>
                  <a:pt x="3093" y="2466"/>
                </a:lnTo>
                <a:lnTo>
                  <a:pt x="3147" y="2498"/>
                </a:lnTo>
                <a:lnTo>
                  <a:pt x="4978" y="673"/>
                </a:lnTo>
                <a:lnTo>
                  <a:pt x="4945" y="617"/>
                </a:lnTo>
                <a:lnTo>
                  <a:pt x="4922" y="558"/>
                </a:lnTo>
                <a:lnTo>
                  <a:pt x="4906" y="495"/>
                </a:lnTo>
                <a:lnTo>
                  <a:pt x="4901" y="429"/>
                </a:lnTo>
                <a:lnTo>
                  <a:pt x="4906" y="365"/>
                </a:lnTo>
                <a:lnTo>
                  <a:pt x="4919" y="305"/>
                </a:lnTo>
                <a:lnTo>
                  <a:pt x="4941" y="248"/>
                </a:lnTo>
                <a:lnTo>
                  <a:pt x="4971" y="195"/>
                </a:lnTo>
                <a:lnTo>
                  <a:pt x="5006" y="146"/>
                </a:lnTo>
                <a:lnTo>
                  <a:pt x="5050" y="105"/>
                </a:lnTo>
                <a:lnTo>
                  <a:pt x="5097" y="68"/>
                </a:lnTo>
                <a:lnTo>
                  <a:pt x="5149" y="40"/>
                </a:lnTo>
                <a:lnTo>
                  <a:pt x="5207" y="17"/>
                </a:lnTo>
                <a:lnTo>
                  <a:pt x="5268" y="3"/>
                </a:lnTo>
                <a:lnTo>
                  <a:pt x="5331" y="0"/>
                </a:lnTo>
                <a:close/>
              </a:path>
            </a:pathLst>
          </a:custGeom>
          <a:solidFill>
            <a:schemeClr val="tx2"/>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schemeClr val="tx2"/>
              </a:solidFill>
            </a:endParaRPr>
          </a:p>
        </p:txBody>
      </p:sp>
      <p:sp>
        <p:nvSpPr>
          <p:cNvPr id="37" name="Text Placeholder 59"/>
          <p:cNvSpPr txBox="1">
            <a:spLocks/>
          </p:cNvSpPr>
          <p:nvPr userDrawn="1"/>
        </p:nvSpPr>
        <p:spPr>
          <a:xfrm>
            <a:off x="5204853" y="1037158"/>
            <a:ext cx="2653904" cy="259129"/>
          </a:xfrm>
          <a:prstGeom prst="rect">
            <a:avLst/>
          </a:prstGeom>
        </p:spPr>
        <p:txBody>
          <a:bodyPr>
            <a:noAutofit/>
          </a:bodyPr>
          <a:lstStyle>
            <a:lvl1pPr marL="0" indent="0" algn="l" defTabSz="365760" rtl="0" eaLnBrk="1" latinLnBrk="0" hangingPunct="1">
              <a:lnSpc>
                <a:spcPct val="85000"/>
              </a:lnSpc>
              <a:spcBef>
                <a:spcPts val="800"/>
              </a:spcBef>
              <a:spcAft>
                <a:spcPts val="0"/>
              </a:spcAft>
              <a:buClr>
                <a:schemeClr val="accent1"/>
              </a:buClr>
              <a:buSzPct val="80000"/>
              <a:buFont typeface="Arial" pitchFamily="34" charset="0"/>
              <a:buNone/>
              <a:defRPr sz="18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r>
              <a:rPr lang="en-US" sz="2000" dirty="0"/>
              <a:t>Results</a:t>
            </a:r>
          </a:p>
        </p:txBody>
      </p:sp>
      <p:sp>
        <p:nvSpPr>
          <p:cNvPr id="38" name="Freeform 27"/>
          <p:cNvSpPr>
            <a:spLocks noChangeAspect="1" noEditPoints="1"/>
          </p:cNvSpPr>
          <p:nvPr userDrawn="1"/>
        </p:nvSpPr>
        <p:spPr bwMode="auto">
          <a:xfrm>
            <a:off x="470102" y="1427511"/>
            <a:ext cx="386789" cy="379898"/>
          </a:xfrm>
          <a:custGeom>
            <a:avLst/>
            <a:gdLst>
              <a:gd name="T0" fmla="*/ 1985 w 5760"/>
              <a:gd name="T1" fmla="*/ 2018 h 5760"/>
              <a:gd name="T2" fmla="*/ 1618 w 5760"/>
              <a:gd name="T3" fmla="*/ 3028 h 5760"/>
              <a:gd name="T4" fmla="*/ 2149 w 5760"/>
              <a:gd name="T5" fmla="*/ 3950 h 5760"/>
              <a:gd name="T6" fmla="*/ 3217 w 5760"/>
              <a:gd name="T7" fmla="*/ 4137 h 5760"/>
              <a:gd name="T8" fmla="*/ 4027 w 5760"/>
              <a:gd name="T9" fmla="*/ 3456 h 5760"/>
              <a:gd name="T10" fmla="*/ 4027 w 5760"/>
              <a:gd name="T11" fmla="*/ 2370 h 5760"/>
              <a:gd name="T12" fmla="*/ 3217 w 5760"/>
              <a:gd name="T13" fmla="*/ 1691 h 5760"/>
              <a:gd name="T14" fmla="*/ 3564 w 5760"/>
              <a:gd name="T15" fmla="*/ 1665 h 5760"/>
              <a:gd name="T16" fmla="*/ 4257 w 5760"/>
              <a:gd name="T17" fmla="*/ 2554 h 5760"/>
              <a:gd name="T18" fmla="*/ 4069 w 5760"/>
              <a:gd name="T19" fmla="*/ 3697 h 5760"/>
              <a:gd name="T20" fmla="*/ 3123 w 5760"/>
              <a:gd name="T21" fmla="*/ 4317 h 5760"/>
              <a:gd name="T22" fmla="*/ 2004 w 5760"/>
              <a:gd name="T23" fmla="*/ 4034 h 5760"/>
              <a:gd name="T24" fmla="*/ 1463 w 5760"/>
              <a:gd name="T25" fmla="*/ 3035 h 5760"/>
              <a:gd name="T26" fmla="*/ 1834 w 5760"/>
              <a:gd name="T27" fmla="*/ 1950 h 5760"/>
              <a:gd name="T28" fmla="*/ 2880 w 5760"/>
              <a:gd name="T29" fmla="*/ 1491 h 5760"/>
              <a:gd name="T30" fmla="*/ 2416 w 5760"/>
              <a:gd name="T31" fmla="*/ 765 h 5760"/>
              <a:gd name="T32" fmla="*/ 1819 w 5760"/>
              <a:gd name="T33" fmla="*/ 1046 h 5760"/>
              <a:gd name="T34" fmla="*/ 1297 w 5760"/>
              <a:gd name="T35" fmla="*/ 696 h 5760"/>
              <a:gd name="T36" fmla="*/ 705 w 5760"/>
              <a:gd name="T37" fmla="*/ 1332 h 5760"/>
              <a:gd name="T38" fmla="*/ 880 w 5760"/>
              <a:gd name="T39" fmla="*/ 2121 h 5760"/>
              <a:gd name="T40" fmla="*/ 319 w 5760"/>
              <a:gd name="T41" fmla="*/ 2419 h 5760"/>
              <a:gd name="T42" fmla="*/ 171 w 5760"/>
              <a:gd name="T43" fmla="*/ 3248 h 5760"/>
              <a:gd name="T44" fmla="*/ 787 w 5760"/>
              <a:gd name="T45" fmla="*/ 3388 h 5760"/>
              <a:gd name="T46" fmla="*/ 1021 w 5760"/>
              <a:gd name="T47" fmla="*/ 4090 h 5760"/>
              <a:gd name="T48" fmla="*/ 1192 w 5760"/>
              <a:gd name="T49" fmla="*/ 5039 h 5760"/>
              <a:gd name="T50" fmla="*/ 1723 w 5760"/>
              <a:gd name="T51" fmla="*/ 4721 h 5760"/>
              <a:gd name="T52" fmla="*/ 2416 w 5760"/>
              <a:gd name="T53" fmla="*/ 5032 h 5760"/>
              <a:gd name="T54" fmla="*/ 3177 w 5760"/>
              <a:gd name="T55" fmla="*/ 5605 h 5760"/>
              <a:gd name="T56" fmla="*/ 3350 w 5760"/>
              <a:gd name="T57" fmla="*/ 5018 h 5760"/>
              <a:gd name="T58" fmla="*/ 4046 w 5760"/>
              <a:gd name="T59" fmla="*/ 4718 h 5760"/>
              <a:gd name="T60" fmla="*/ 4598 w 5760"/>
              <a:gd name="T61" fmla="*/ 5016 h 5760"/>
              <a:gd name="T62" fmla="*/ 4720 w 5760"/>
              <a:gd name="T63" fmla="*/ 4065 h 5760"/>
              <a:gd name="T64" fmla="*/ 4990 w 5760"/>
              <a:gd name="T65" fmla="*/ 3357 h 5760"/>
              <a:gd name="T66" fmla="*/ 5605 w 5760"/>
              <a:gd name="T67" fmla="*/ 3177 h 5760"/>
              <a:gd name="T68" fmla="*/ 5016 w 5760"/>
              <a:gd name="T69" fmla="*/ 2419 h 5760"/>
              <a:gd name="T70" fmla="*/ 4697 w 5760"/>
              <a:gd name="T71" fmla="*/ 1759 h 5760"/>
              <a:gd name="T72" fmla="*/ 5039 w 5760"/>
              <a:gd name="T73" fmla="*/ 1192 h 5760"/>
              <a:gd name="T74" fmla="*/ 4067 w 5760"/>
              <a:gd name="T75" fmla="*/ 1042 h 5760"/>
              <a:gd name="T76" fmla="*/ 3377 w 5760"/>
              <a:gd name="T77" fmla="*/ 812 h 5760"/>
              <a:gd name="T78" fmla="*/ 3323 w 5760"/>
              <a:gd name="T79" fmla="*/ 246 h 5760"/>
              <a:gd name="T80" fmla="*/ 3288 w 5760"/>
              <a:gd name="T81" fmla="*/ 19 h 5760"/>
              <a:gd name="T82" fmla="*/ 3753 w 5760"/>
              <a:gd name="T83" fmla="*/ 773 h 5760"/>
              <a:gd name="T84" fmla="*/ 4578 w 5760"/>
              <a:gd name="T85" fmla="*/ 555 h 5760"/>
              <a:gd name="T86" fmla="*/ 5215 w 5760"/>
              <a:gd name="T87" fmla="*/ 1327 h 5760"/>
              <a:gd name="T88" fmla="*/ 5441 w 5760"/>
              <a:gd name="T89" fmla="*/ 2264 h 5760"/>
              <a:gd name="T90" fmla="*/ 5760 w 5760"/>
              <a:gd name="T91" fmla="*/ 3177 h 5760"/>
              <a:gd name="T92" fmla="*/ 5098 w 5760"/>
              <a:gd name="T93" fmla="*/ 3494 h 5760"/>
              <a:gd name="T94" fmla="*/ 5219 w 5760"/>
              <a:gd name="T95" fmla="*/ 4481 h 5760"/>
              <a:gd name="T96" fmla="*/ 4529 w 5760"/>
              <a:gd name="T97" fmla="*/ 5215 h 5760"/>
              <a:gd name="T98" fmla="*/ 3632 w 5760"/>
              <a:gd name="T99" fmla="*/ 5072 h 5760"/>
              <a:gd name="T100" fmla="*/ 3234 w 5760"/>
              <a:gd name="T101" fmla="*/ 5755 h 5760"/>
              <a:gd name="T102" fmla="*/ 2269 w 5760"/>
              <a:gd name="T103" fmla="*/ 5498 h 5760"/>
              <a:gd name="T104" fmla="*/ 1375 w 5760"/>
              <a:gd name="T105" fmla="*/ 5205 h 5760"/>
              <a:gd name="T106" fmla="*/ 574 w 5760"/>
              <a:gd name="T107" fmla="*/ 4624 h 5760"/>
              <a:gd name="T108" fmla="*/ 803 w 5760"/>
              <a:gd name="T109" fmla="*/ 3894 h 5760"/>
              <a:gd name="T110" fmla="*/ 44 w 5760"/>
              <a:gd name="T111" fmla="*/ 3337 h 5760"/>
              <a:gd name="T112" fmla="*/ 159 w 5760"/>
              <a:gd name="T113" fmla="*/ 2307 h 5760"/>
              <a:gd name="T114" fmla="*/ 600 w 5760"/>
              <a:gd name="T115" fmla="*/ 1464 h 5760"/>
              <a:gd name="T116" fmla="*/ 1053 w 5760"/>
              <a:gd name="T117" fmla="*/ 634 h 5760"/>
              <a:gd name="T118" fmla="*/ 1505 w 5760"/>
              <a:gd name="T119" fmla="*/ 634 h 5760"/>
              <a:gd name="T120" fmla="*/ 2341 w 5760"/>
              <a:gd name="T121" fmla="*/ 113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60" h="5760">
                <a:moveTo>
                  <a:pt x="2880" y="1646"/>
                </a:moveTo>
                <a:lnTo>
                  <a:pt x="2765" y="1649"/>
                </a:lnTo>
                <a:lnTo>
                  <a:pt x="2653" y="1665"/>
                </a:lnTo>
                <a:lnTo>
                  <a:pt x="2543" y="1691"/>
                </a:lnTo>
                <a:lnTo>
                  <a:pt x="2438" y="1725"/>
                </a:lnTo>
                <a:lnTo>
                  <a:pt x="2337" y="1768"/>
                </a:lnTo>
                <a:lnTo>
                  <a:pt x="2241" y="1819"/>
                </a:lnTo>
                <a:lnTo>
                  <a:pt x="2149" y="1878"/>
                </a:lnTo>
                <a:lnTo>
                  <a:pt x="2063" y="1944"/>
                </a:lnTo>
                <a:lnTo>
                  <a:pt x="1985" y="2018"/>
                </a:lnTo>
                <a:lnTo>
                  <a:pt x="1911" y="2096"/>
                </a:lnTo>
                <a:lnTo>
                  <a:pt x="1845" y="2182"/>
                </a:lnTo>
                <a:lnTo>
                  <a:pt x="1786" y="2274"/>
                </a:lnTo>
                <a:lnTo>
                  <a:pt x="1735" y="2370"/>
                </a:lnTo>
                <a:lnTo>
                  <a:pt x="1691" y="2472"/>
                </a:lnTo>
                <a:lnTo>
                  <a:pt x="1658" y="2576"/>
                </a:lnTo>
                <a:lnTo>
                  <a:pt x="1632" y="2686"/>
                </a:lnTo>
                <a:lnTo>
                  <a:pt x="1618" y="2798"/>
                </a:lnTo>
                <a:lnTo>
                  <a:pt x="1613" y="2913"/>
                </a:lnTo>
                <a:lnTo>
                  <a:pt x="1618" y="3028"/>
                </a:lnTo>
                <a:lnTo>
                  <a:pt x="1632" y="3142"/>
                </a:lnTo>
                <a:lnTo>
                  <a:pt x="1658" y="3250"/>
                </a:lnTo>
                <a:lnTo>
                  <a:pt x="1691" y="3355"/>
                </a:lnTo>
                <a:lnTo>
                  <a:pt x="1735" y="3456"/>
                </a:lnTo>
                <a:lnTo>
                  <a:pt x="1786" y="3552"/>
                </a:lnTo>
                <a:lnTo>
                  <a:pt x="1845" y="3645"/>
                </a:lnTo>
                <a:lnTo>
                  <a:pt x="1911" y="3730"/>
                </a:lnTo>
                <a:lnTo>
                  <a:pt x="1985" y="3810"/>
                </a:lnTo>
                <a:lnTo>
                  <a:pt x="2063" y="3884"/>
                </a:lnTo>
                <a:lnTo>
                  <a:pt x="2149" y="3950"/>
                </a:lnTo>
                <a:lnTo>
                  <a:pt x="2241" y="4008"/>
                </a:lnTo>
                <a:lnTo>
                  <a:pt x="2337" y="4060"/>
                </a:lnTo>
                <a:lnTo>
                  <a:pt x="2438" y="4102"/>
                </a:lnTo>
                <a:lnTo>
                  <a:pt x="2543" y="4137"/>
                </a:lnTo>
                <a:lnTo>
                  <a:pt x="2653" y="4161"/>
                </a:lnTo>
                <a:lnTo>
                  <a:pt x="2765" y="4177"/>
                </a:lnTo>
                <a:lnTo>
                  <a:pt x="2880" y="4182"/>
                </a:lnTo>
                <a:lnTo>
                  <a:pt x="2995" y="4177"/>
                </a:lnTo>
                <a:lnTo>
                  <a:pt x="3109" y="4161"/>
                </a:lnTo>
                <a:lnTo>
                  <a:pt x="3217" y="4137"/>
                </a:lnTo>
                <a:lnTo>
                  <a:pt x="3322" y="4102"/>
                </a:lnTo>
                <a:lnTo>
                  <a:pt x="3423" y="4060"/>
                </a:lnTo>
                <a:lnTo>
                  <a:pt x="3521" y="4008"/>
                </a:lnTo>
                <a:lnTo>
                  <a:pt x="3611" y="3950"/>
                </a:lnTo>
                <a:lnTo>
                  <a:pt x="3697" y="3884"/>
                </a:lnTo>
                <a:lnTo>
                  <a:pt x="3777" y="3810"/>
                </a:lnTo>
                <a:lnTo>
                  <a:pt x="3850" y="3730"/>
                </a:lnTo>
                <a:lnTo>
                  <a:pt x="3917" y="3645"/>
                </a:lnTo>
                <a:lnTo>
                  <a:pt x="3974" y="3552"/>
                </a:lnTo>
                <a:lnTo>
                  <a:pt x="4027" y="3456"/>
                </a:lnTo>
                <a:lnTo>
                  <a:pt x="4069" y="3355"/>
                </a:lnTo>
                <a:lnTo>
                  <a:pt x="4104" y="3250"/>
                </a:lnTo>
                <a:lnTo>
                  <a:pt x="4128" y="3142"/>
                </a:lnTo>
                <a:lnTo>
                  <a:pt x="4144" y="3028"/>
                </a:lnTo>
                <a:lnTo>
                  <a:pt x="4149" y="2913"/>
                </a:lnTo>
                <a:lnTo>
                  <a:pt x="4144" y="2798"/>
                </a:lnTo>
                <a:lnTo>
                  <a:pt x="4128" y="2686"/>
                </a:lnTo>
                <a:lnTo>
                  <a:pt x="4104" y="2576"/>
                </a:lnTo>
                <a:lnTo>
                  <a:pt x="4069" y="2472"/>
                </a:lnTo>
                <a:lnTo>
                  <a:pt x="4027" y="2370"/>
                </a:lnTo>
                <a:lnTo>
                  <a:pt x="3974" y="2274"/>
                </a:lnTo>
                <a:lnTo>
                  <a:pt x="3917" y="2182"/>
                </a:lnTo>
                <a:lnTo>
                  <a:pt x="3850" y="2096"/>
                </a:lnTo>
                <a:lnTo>
                  <a:pt x="3777" y="2018"/>
                </a:lnTo>
                <a:lnTo>
                  <a:pt x="3697" y="1944"/>
                </a:lnTo>
                <a:lnTo>
                  <a:pt x="3611" y="1878"/>
                </a:lnTo>
                <a:lnTo>
                  <a:pt x="3521" y="1819"/>
                </a:lnTo>
                <a:lnTo>
                  <a:pt x="3423" y="1768"/>
                </a:lnTo>
                <a:lnTo>
                  <a:pt x="3322" y="1725"/>
                </a:lnTo>
                <a:lnTo>
                  <a:pt x="3217" y="1691"/>
                </a:lnTo>
                <a:lnTo>
                  <a:pt x="3109" y="1665"/>
                </a:lnTo>
                <a:lnTo>
                  <a:pt x="2995" y="1649"/>
                </a:lnTo>
                <a:lnTo>
                  <a:pt x="2880" y="1646"/>
                </a:lnTo>
                <a:close/>
                <a:moveTo>
                  <a:pt x="2880" y="1491"/>
                </a:moveTo>
                <a:lnTo>
                  <a:pt x="3002" y="1496"/>
                </a:lnTo>
                <a:lnTo>
                  <a:pt x="3123" y="1512"/>
                </a:lnTo>
                <a:lnTo>
                  <a:pt x="3240" y="1536"/>
                </a:lnTo>
                <a:lnTo>
                  <a:pt x="3351" y="1571"/>
                </a:lnTo>
                <a:lnTo>
                  <a:pt x="3461" y="1615"/>
                </a:lnTo>
                <a:lnTo>
                  <a:pt x="3564" y="1665"/>
                </a:lnTo>
                <a:lnTo>
                  <a:pt x="3664" y="1726"/>
                </a:lnTo>
                <a:lnTo>
                  <a:pt x="3756" y="1793"/>
                </a:lnTo>
                <a:lnTo>
                  <a:pt x="3845" y="1868"/>
                </a:lnTo>
                <a:lnTo>
                  <a:pt x="3926" y="1950"/>
                </a:lnTo>
                <a:lnTo>
                  <a:pt x="4001" y="2037"/>
                </a:lnTo>
                <a:lnTo>
                  <a:pt x="4069" y="2129"/>
                </a:lnTo>
                <a:lnTo>
                  <a:pt x="4128" y="2229"/>
                </a:lnTo>
                <a:lnTo>
                  <a:pt x="4180" y="2334"/>
                </a:lnTo>
                <a:lnTo>
                  <a:pt x="4222" y="2442"/>
                </a:lnTo>
                <a:lnTo>
                  <a:pt x="4257" y="2554"/>
                </a:lnTo>
                <a:lnTo>
                  <a:pt x="4283" y="2671"/>
                </a:lnTo>
                <a:lnTo>
                  <a:pt x="4297" y="2791"/>
                </a:lnTo>
                <a:lnTo>
                  <a:pt x="4303" y="2913"/>
                </a:lnTo>
                <a:lnTo>
                  <a:pt x="4297" y="3035"/>
                </a:lnTo>
                <a:lnTo>
                  <a:pt x="4283" y="3156"/>
                </a:lnTo>
                <a:lnTo>
                  <a:pt x="4257" y="3273"/>
                </a:lnTo>
                <a:lnTo>
                  <a:pt x="4222" y="3384"/>
                </a:lnTo>
                <a:lnTo>
                  <a:pt x="4180" y="3493"/>
                </a:lnTo>
                <a:lnTo>
                  <a:pt x="4128" y="3597"/>
                </a:lnTo>
                <a:lnTo>
                  <a:pt x="4069" y="3697"/>
                </a:lnTo>
                <a:lnTo>
                  <a:pt x="4001" y="3789"/>
                </a:lnTo>
                <a:lnTo>
                  <a:pt x="3926" y="3878"/>
                </a:lnTo>
                <a:lnTo>
                  <a:pt x="3845" y="3959"/>
                </a:lnTo>
                <a:lnTo>
                  <a:pt x="3756" y="4034"/>
                </a:lnTo>
                <a:lnTo>
                  <a:pt x="3664" y="4102"/>
                </a:lnTo>
                <a:lnTo>
                  <a:pt x="3564" y="4161"/>
                </a:lnTo>
                <a:lnTo>
                  <a:pt x="3461" y="4214"/>
                </a:lnTo>
                <a:lnTo>
                  <a:pt x="3351" y="4255"/>
                </a:lnTo>
                <a:lnTo>
                  <a:pt x="3240" y="4290"/>
                </a:lnTo>
                <a:lnTo>
                  <a:pt x="3123" y="4317"/>
                </a:lnTo>
                <a:lnTo>
                  <a:pt x="3002" y="4330"/>
                </a:lnTo>
                <a:lnTo>
                  <a:pt x="2880" y="4336"/>
                </a:lnTo>
                <a:lnTo>
                  <a:pt x="2758" y="4330"/>
                </a:lnTo>
                <a:lnTo>
                  <a:pt x="2637" y="4317"/>
                </a:lnTo>
                <a:lnTo>
                  <a:pt x="2522" y="4290"/>
                </a:lnTo>
                <a:lnTo>
                  <a:pt x="2409" y="4255"/>
                </a:lnTo>
                <a:lnTo>
                  <a:pt x="2301" y="4214"/>
                </a:lnTo>
                <a:lnTo>
                  <a:pt x="2196" y="4161"/>
                </a:lnTo>
                <a:lnTo>
                  <a:pt x="2096" y="4102"/>
                </a:lnTo>
                <a:lnTo>
                  <a:pt x="2004" y="4034"/>
                </a:lnTo>
                <a:lnTo>
                  <a:pt x="1917" y="3959"/>
                </a:lnTo>
                <a:lnTo>
                  <a:pt x="1834" y="3878"/>
                </a:lnTo>
                <a:lnTo>
                  <a:pt x="1759" y="3789"/>
                </a:lnTo>
                <a:lnTo>
                  <a:pt x="1693" y="3697"/>
                </a:lnTo>
                <a:lnTo>
                  <a:pt x="1632" y="3597"/>
                </a:lnTo>
                <a:lnTo>
                  <a:pt x="1581" y="3493"/>
                </a:lnTo>
                <a:lnTo>
                  <a:pt x="1538" y="3384"/>
                </a:lnTo>
                <a:lnTo>
                  <a:pt x="1503" y="3273"/>
                </a:lnTo>
                <a:lnTo>
                  <a:pt x="1478" y="3156"/>
                </a:lnTo>
                <a:lnTo>
                  <a:pt x="1463" y="3035"/>
                </a:lnTo>
                <a:lnTo>
                  <a:pt x="1457" y="2913"/>
                </a:lnTo>
                <a:lnTo>
                  <a:pt x="1463" y="2791"/>
                </a:lnTo>
                <a:lnTo>
                  <a:pt x="1478" y="2671"/>
                </a:lnTo>
                <a:lnTo>
                  <a:pt x="1503" y="2554"/>
                </a:lnTo>
                <a:lnTo>
                  <a:pt x="1538" y="2442"/>
                </a:lnTo>
                <a:lnTo>
                  <a:pt x="1581" y="2334"/>
                </a:lnTo>
                <a:lnTo>
                  <a:pt x="1632" y="2229"/>
                </a:lnTo>
                <a:lnTo>
                  <a:pt x="1693" y="2129"/>
                </a:lnTo>
                <a:lnTo>
                  <a:pt x="1759" y="2037"/>
                </a:lnTo>
                <a:lnTo>
                  <a:pt x="1834" y="1950"/>
                </a:lnTo>
                <a:lnTo>
                  <a:pt x="1917" y="1868"/>
                </a:lnTo>
                <a:lnTo>
                  <a:pt x="2004" y="1793"/>
                </a:lnTo>
                <a:lnTo>
                  <a:pt x="2096" y="1726"/>
                </a:lnTo>
                <a:lnTo>
                  <a:pt x="2196" y="1665"/>
                </a:lnTo>
                <a:lnTo>
                  <a:pt x="2301" y="1615"/>
                </a:lnTo>
                <a:lnTo>
                  <a:pt x="2409" y="1571"/>
                </a:lnTo>
                <a:lnTo>
                  <a:pt x="2522" y="1536"/>
                </a:lnTo>
                <a:lnTo>
                  <a:pt x="2637" y="1512"/>
                </a:lnTo>
                <a:lnTo>
                  <a:pt x="2758" y="1496"/>
                </a:lnTo>
                <a:lnTo>
                  <a:pt x="2880" y="1491"/>
                </a:lnTo>
                <a:close/>
                <a:moveTo>
                  <a:pt x="2583" y="155"/>
                </a:moveTo>
                <a:lnTo>
                  <a:pt x="2547" y="159"/>
                </a:lnTo>
                <a:lnTo>
                  <a:pt x="2512" y="171"/>
                </a:lnTo>
                <a:lnTo>
                  <a:pt x="2482" y="190"/>
                </a:lnTo>
                <a:lnTo>
                  <a:pt x="2456" y="216"/>
                </a:lnTo>
                <a:lnTo>
                  <a:pt x="2437" y="246"/>
                </a:lnTo>
                <a:lnTo>
                  <a:pt x="2424" y="281"/>
                </a:lnTo>
                <a:lnTo>
                  <a:pt x="2419" y="319"/>
                </a:lnTo>
                <a:lnTo>
                  <a:pt x="2419" y="742"/>
                </a:lnTo>
                <a:lnTo>
                  <a:pt x="2416" y="765"/>
                </a:lnTo>
                <a:lnTo>
                  <a:pt x="2407" y="785"/>
                </a:lnTo>
                <a:lnTo>
                  <a:pt x="2391" y="801"/>
                </a:lnTo>
                <a:lnTo>
                  <a:pt x="2376" y="812"/>
                </a:lnTo>
                <a:lnTo>
                  <a:pt x="2358" y="819"/>
                </a:lnTo>
                <a:lnTo>
                  <a:pt x="2220" y="859"/>
                </a:lnTo>
                <a:lnTo>
                  <a:pt x="2086" y="906"/>
                </a:lnTo>
                <a:lnTo>
                  <a:pt x="1955" y="963"/>
                </a:lnTo>
                <a:lnTo>
                  <a:pt x="1827" y="1030"/>
                </a:lnTo>
                <a:lnTo>
                  <a:pt x="1824" y="1037"/>
                </a:lnTo>
                <a:lnTo>
                  <a:pt x="1819" y="1046"/>
                </a:lnTo>
                <a:lnTo>
                  <a:pt x="1812" y="1053"/>
                </a:lnTo>
                <a:lnTo>
                  <a:pt x="1793" y="1066"/>
                </a:lnTo>
                <a:lnTo>
                  <a:pt x="1770" y="1073"/>
                </a:lnTo>
                <a:lnTo>
                  <a:pt x="1745" y="1073"/>
                </a:lnTo>
                <a:lnTo>
                  <a:pt x="1723" y="1066"/>
                </a:lnTo>
                <a:lnTo>
                  <a:pt x="1704" y="1053"/>
                </a:lnTo>
                <a:lnTo>
                  <a:pt x="1395" y="744"/>
                </a:lnTo>
                <a:lnTo>
                  <a:pt x="1365" y="721"/>
                </a:lnTo>
                <a:lnTo>
                  <a:pt x="1332" y="705"/>
                </a:lnTo>
                <a:lnTo>
                  <a:pt x="1297" y="696"/>
                </a:lnTo>
                <a:lnTo>
                  <a:pt x="1260" y="696"/>
                </a:lnTo>
                <a:lnTo>
                  <a:pt x="1225" y="705"/>
                </a:lnTo>
                <a:lnTo>
                  <a:pt x="1192" y="721"/>
                </a:lnTo>
                <a:lnTo>
                  <a:pt x="1162" y="744"/>
                </a:lnTo>
                <a:lnTo>
                  <a:pt x="744" y="1162"/>
                </a:lnTo>
                <a:lnTo>
                  <a:pt x="721" y="1192"/>
                </a:lnTo>
                <a:lnTo>
                  <a:pt x="705" y="1225"/>
                </a:lnTo>
                <a:lnTo>
                  <a:pt x="696" y="1260"/>
                </a:lnTo>
                <a:lnTo>
                  <a:pt x="696" y="1297"/>
                </a:lnTo>
                <a:lnTo>
                  <a:pt x="705" y="1332"/>
                </a:lnTo>
                <a:lnTo>
                  <a:pt x="721" y="1365"/>
                </a:lnTo>
                <a:lnTo>
                  <a:pt x="744" y="1395"/>
                </a:lnTo>
                <a:lnTo>
                  <a:pt x="1037" y="1688"/>
                </a:lnTo>
                <a:lnTo>
                  <a:pt x="1051" y="1711"/>
                </a:lnTo>
                <a:lnTo>
                  <a:pt x="1058" y="1733"/>
                </a:lnTo>
                <a:lnTo>
                  <a:pt x="1056" y="1759"/>
                </a:lnTo>
                <a:lnTo>
                  <a:pt x="1047" y="1782"/>
                </a:lnTo>
                <a:lnTo>
                  <a:pt x="984" y="1892"/>
                </a:lnTo>
                <a:lnTo>
                  <a:pt x="929" y="2004"/>
                </a:lnTo>
                <a:lnTo>
                  <a:pt x="880" y="2121"/>
                </a:lnTo>
                <a:lnTo>
                  <a:pt x="836" y="2238"/>
                </a:lnTo>
                <a:lnTo>
                  <a:pt x="801" y="2358"/>
                </a:lnTo>
                <a:lnTo>
                  <a:pt x="801" y="2362"/>
                </a:lnTo>
                <a:lnTo>
                  <a:pt x="799" y="2365"/>
                </a:lnTo>
                <a:lnTo>
                  <a:pt x="798" y="2369"/>
                </a:lnTo>
                <a:lnTo>
                  <a:pt x="787" y="2390"/>
                </a:lnTo>
                <a:lnTo>
                  <a:pt x="770" y="2405"/>
                </a:lnTo>
                <a:lnTo>
                  <a:pt x="749" y="2416"/>
                </a:lnTo>
                <a:lnTo>
                  <a:pt x="726" y="2419"/>
                </a:lnTo>
                <a:lnTo>
                  <a:pt x="319" y="2419"/>
                </a:lnTo>
                <a:lnTo>
                  <a:pt x="281" y="2424"/>
                </a:lnTo>
                <a:lnTo>
                  <a:pt x="246" y="2437"/>
                </a:lnTo>
                <a:lnTo>
                  <a:pt x="216" y="2456"/>
                </a:lnTo>
                <a:lnTo>
                  <a:pt x="190" y="2480"/>
                </a:lnTo>
                <a:lnTo>
                  <a:pt x="171" y="2512"/>
                </a:lnTo>
                <a:lnTo>
                  <a:pt x="159" y="2547"/>
                </a:lnTo>
                <a:lnTo>
                  <a:pt x="155" y="2583"/>
                </a:lnTo>
                <a:lnTo>
                  <a:pt x="155" y="3177"/>
                </a:lnTo>
                <a:lnTo>
                  <a:pt x="159" y="3213"/>
                </a:lnTo>
                <a:lnTo>
                  <a:pt x="171" y="3248"/>
                </a:lnTo>
                <a:lnTo>
                  <a:pt x="190" y="3278"/>
                </a:lnTo>
                <a:lnTo>
                  <a:pt x="216" y="3304"/>
                </a:lnTo>
                <a:lnTo>
                  <a:pt x="246" y="3323"/>
                </a:lnTo>
                <a:lnTo>
                  <a:pt x="281" y="3336"/>
                </a:lnTo>
                <a:lnTo>
                  <a:pt x="319" y="3341"/>
                </a:lnTo>
                <a:lnTo>
                  <a:pt x="716" y="3341"/>
                </a:lnTo>
                <a:lnTo>
                  <a:pt x="742" y="3344"/>
                </a:lnTo>
                <a:lnTo>
                  <a:pt x="765" y="3358"/>
                </a:lnTo>
                <a:lnTo>
                  <a:pt x="782" y="3377"/>
                </a:lnTo>
                <a:lnTo>
                  <a:pt x="787" y="3388"/>
                </a:lnTo>
                <a:lnTo>
                  <a:pt x="791" y="3400"/>
                </a:lnTo>
                <a:lnTo>
                  <a:pt x="824" y="3524"/>
                </a:lnTo>
                <a:lnTo>
                  <a:pt x="866" y="3646"/>
                </a:lnTo>
                <a:lnTo>
                  <a:pt x="913" y="3765"/>
                </a:lnTo>
                <a:lnTo>
                  <a:pt x="969" y="3882"/>
                </a:lnTo>
                <a:lnTo>
                  <a:pt x="1032" y="3994"/>
                </a:lnTo>
                <a:lnTo>
                  <a:pt x="1042" y="4018"/>
                </a:lnTo>
                <a:lnTo>
                  <a:pt x="1042" y="4044"/>
                </a:lnTo>
                <a:lnTo>
                  <a:pt x="1035" y="4067"/>
                </a:lnTo>
                <a:lnTo>
                  <a:pt x="1021" y="4090"/>
                </a:lnTo>
                <a:lnTo>
                  <a:pt x="744" y="4365"/>
                </a:lnTo>
                <a:lnTo>
                  <a:pt x="721" y="4395"/>
                </a:lnTo>
                <a:lnTo>
                  <a:pt x="705" y="4428"/>
                </a:lnTo>
                <a:lnTo>
                  <a:pt x="696" y="4463"/>
                </a:lnTo>
                <a:lnTo>
                  <a:pt x="696" y="4500"/>
                </a:lnTo>
                <a:lnTo>
                  <a:pt x="705" y="4535"/>
                </a:lnTo>
                <a:lnTo>
                  <a:pt x="721" y="4568"/>
                </a:lnTo>
                <a:lnTo>
                  <a:pt x="744" y="4598"/>
                </a:lnTo>
                <a:lnTo>
                  <a:pt x="1162" y="5016"/>
                </a:lnTo>
                <a:lnTo>
                  <a:pt x="1192" y="5039"/>
                </a:lnTo>
                <a:lnTo>
                  <a:pt x="1225" y="5055"/>
                </a:lnTo>
                <a:lnTo>
                  <a:pt x="1260" y="5064"/>
                </a:lnTo>
                <a:lnTo>
                  <a:pt x="1297" y="5064"/>
                </a:lnTo>
                <a:lnTo>
                  <a:pt x="1332" y="5055"/>
                </a:lnTo>
                <a:lnTo>
                  <a:pt x="1365" y="5039"/>
                </a:lnTo>
                <a:lnTo>
                  <a:pt x="1395" y="5016"/>
                </a:lnTo>
                <a:lnTo>
                  <a:pt x="1667" y="4744"/>
                </a:lnTo>
                <a:lnTo>
                  <a:pt x="1684" y="4732"/>
                </a:lnTo>
                <a:lnTo>
                  <a:pt x="1702" y="4723"/>
                </a:lnTo>
                <a:lnTo>
                  <a:pt x="1723" y="4721"/>
                </a:lnTo>
                <a:lnTo>
                  <a:pt x="1742" y="4723"/>
                </a:lnTo>
                <a:lnTo>
                  <a:pt x="1763" y="4732"/>
                </a:lnTo>
                <a:lnTo>
                  <a:pt x="1875" y="4797"/>
                </a:lnTo>
                <a:lnTo>
                  <a:pt x="1992" y="4854"/>
                </a:lnTo>
                <a:lnTo>
                  <a:pt x="2110" y="4903"/>
                </a:lnTo>
                <a:lnTo>
                  <a:pt x="2232" y="4947"/>
                </a:lnTo>
                <a:lnTo>
                  <a:pt x="2358" y="4982"/>
                </a:lnTo>
                <a:lnTo>
                  <a:pt x="2383" y="4992"/>
                </a:lnTo>
                <a:lnTo>
                  <a:pt x="2402" y="5009"/>
                </a:lnTo>
                <a:lnTo>
                  <a:pt x="2416" y="5032"/>
                </a:lnTo>
                <a:lnTo>
                  <a:pt x="2419" y="5057"/>
                </a:lnTo>
                <a:lnTo>
                  <a:pt x="2419" y="5441"/>
                </a:lnTo>
                <a:lnTo>
                  <a:pt x="2424" y="5479"/>
                </a:lnTo>
                <a:lnTo>
                  <a:pt x="2437" y="5514"/>
                </a:lnTo>
                <a:lnTo>
                  <a:pt x="2456" y="5544"/>
                </a:lnTo>
                <a:lnTo>
                  <a:pt x="2482" y="5570"/>
                </a:lnTo>
                <a:lnTo>
                  <a:pt x="2512" y="5589"/>
                </a:lnTo>
                <a:lnTo>
                  <a:pt x="2547" y="5601"/>
                </a:lnTo>
                <a:lnTo>
                  <a:pt x="2583" y="5605"/>
                </a:lnTo>
                <a:lnTo>
                  <a:pt x="3177" y="5605"/>
                </a:lnTo>
                <a:lnTo>
                  <a:pt x="3213" y="5601"/>
                </a:lnTo>
                <a:lnTo>
                  <a:pt x="3248" y="5589"/>
                </a:lnTo>
                <a:lnTo>
                  <a:pt x="3280" y="5570"/>
                </a:lnTo>
                <a:lnTo>
                  <a:pt x="3304" y="5544"/>
                </a:lnTo>
                <a:lnTo>
                  <a:pt x="3323" y="5514"/>
                </a:lnTo>
                <a:lnTo>
                  <a:pt x="3336" y="5479"/>
                </a:lnTo>
                <a:lnTo>
                  <a:pt x="3341" y="5441"/>
                </a:lnTo>
                <a:lnTo>
                  <a:pt x="3341" y="5058"/>
                </a:lnTo>
                <a:lnTo>
                  <a:pt x="3343" y="5037"/>
                </a:lnTo>
                <a:lnTo>
                  <a:pt x="3350" y="5018"/>
                </a:lnTo>
                <a:lnTo>
                  <a:pt x="3362" y="5001"/>
                </a:lnTo>
                <a:lnTo>
                  <a:pt x="3379" y="4989"/>
                </a:lnTo>
                <a:lnTo>
                  <a:pt x="3398" y="4980"/>
                </a:lnTo>
                <a:lnTo>
                  <a:pt x="3524" y="4945"/>
                </a:lnTo>
                <a:lnTo>
                  <a:pt x="3646" y="4903"/>
                </a:lnTo>
                <a:lnTo>
                  <a:pt x="3767" y="4852"/>
                </a:lnTo>
                <a:lnTo>
                  <a:pt x="3882" y="4795"/>
                </a:lnTo>
                <a:lnTo>
                  <a:pt x="3995" y="4730"/>
                </a:lnTo>
                <a:lnTo>
                  <a:pt x="4020" y="4720"/>
                </a:lnTo>
                <a:lnTo>
                  <a:pt x="4046" y="4718"/>
                </a:lnTo>
                <a:lnTo>
                  <a:pt x="4070" y="4725"/>
                </a:lnTo>
                <a:lnTo>
                  <a:pt x="4091" y="4741"/>
                </a:lnTo>
                <a:lnTo>
                  <a:pt x="4365" y="5016"/>
                </a:lnTo>
                <a:lnTo>
                  <a:pt x="4395" y="5041"/>
                </a:lnTo>
                <a:lnTo>
                  <a:pt x="4428" y="5055"/>
                </a:lnTo>
                <a:lnTo>
                  <a:pt x="4463" y="5064"/>
                </a:lnTo>
                <a:lnTo>
                  <a:pt x="4500" y="5064"/>
                </a:lnTo>
                <a:lnTo>
                  <a:pt x="4535" y="5055"/>
                </a:lnTo>
                <a:lnTo>
                  <a:pt x="4568" y="5039"/>
                </a:lnTo>
                <a:lnTo>
                  <a:pt x="4598" y="5016"/>
                </a:lnTo>
                <a:lnTo>
                  <a:pt x="5016" y="4598"/>
                </a:lnTo>
                <a:lnTo>
                  <a:pt x="5039" y="4568"/>
                </a:lnTo>
                <a:lnTo>
                  <a:pt x="5055" y="4535"/>
                </a:lnTo>
                <a:lnTo>
                  <a:pt x="5064" y="4500"/>
                </a:lnTo>
                <a:lnTo>
                  <a:pt x="5064" y="4463"/>
                </a:lnTo>
                <a:lnTo>
                  <a:pt x="5055" y="4428"/>
                </a:lnTo>
                <a:lnTo>
                  <a:pt x="5039" y="4395"/>
                </a:lnTo>
                <a:lnTo>
                  <a:pt x="5016" y="4365"/>
                </a:lnTo>
                <a:lnTo>
                  <a:pt x="4735" y="4086"/>
                </a:lnTo>
                <a:lnTo>
                  <a:pt x="4720" y="4065"/>
                </a:lnTo>
                <a:lnTo>
                  <a:pt x="4713" y="4041"/>
                </a:lnTo>
                <a:lnTo>
                  <a:pt x="4713" y="4016"/>
                </a:lnTo>
                <a:lnTo>
                  <a:pt x="4723" y="3992"/>
                </a:lnTo>
                <a:lnTo>
                  <a:pt x="4784" y="3878"/>
                </a:lnTo>
                <a:lnTo>
                  <a:pt x="4840" y="3763"/>
                </a:lnTo>
                <a:lnTo>
                  <a:pt x="4887" y="3645"/>
                </a:lnTo>
                <a:lnTo>
                  <a:pt x="4929" y="3524"/>
                </a:lnTo>
                <a:lnTo>
                  <a:pt x="4962" y="3400"/>
                </a:lnTo>
                <a:lnTo>
                  <a:pt x="4973" y="3376"/>
                </a:lnTo>
                <a:lnTo>
                  <a:pt x="4990" y="3357"/>
                </a:lnTo>
                <a:lnTo>
                  <a:pt x="5011" y="3344"/>
                </a:lnTo>
                <a:lnTo>
                  <a:pt x="5037" y="3341"/>
                </a:lnTo>
                <a:lnTo>
                  <a:pt x="5441" y="3341"/>
                </a:lnTo>
                <a:lnTo>
                  <a:pt x="5479" y="3336"/>
                </a:lnTo>
                <a:lnTo>
                  <a:pt x="5514" y="3323"/>
                </a:lnTo>
                <a:lnTo>
                  <a:pt x="5544" y="3304"/>
                </a:lnTo>
                <a:lnTo>
                  <a:pt x="5570" y="3278"/>
                </a:lnTo>
                <a:lnTo>
                  <a:pt x="5589" y="3248"/>
                </a:lnTo>
                <a:lnTo>
                  <a:pt x="5601" y="3213"/>
                </a:lnTo>
                <a:lnTo>
                  <a:pt x="5605" y="3177"/>
                </a:lnTo>
                <a:lnTo>
                  <a:pt x="5605" y="2583"/>
                </a:lnTo>
                <a:lnTo>
                  <a:pt x="5601" y="2547"/>
                </a:lnTo>
                <a:lnTo>
                  <a:pt x="5589" y="2512"/>
                </a:lnTo>
                <a:lnTo>
                  <a:pt x="5570" y="2480"/>
                </a:lnTo>
                <a:lnTo>
                  <a:pt x="5544" y="2456"/>
                </a:lnTo>
                <a:lnTo>
                  <a:pt x="5514" y="2437"/>
                </a:lnTo>
                <a:lnTo>
                  <a:pt x="5479" y="2424"/>
                </a:lnTo>
                <a:lnTo>
                  <a:pt x="5441" y="2419"/>
                </a:lnTo>
                <a:lnTo>
                  <a:pt x="5030" y="2419"/>
                </a:lnTo>
                <a:lnTo>
                  <a:pt x="5016" y="2419"/>
                </a:lnTo>
                <a:lnTo>
                  <a:pt x="4994" y="2410"/>
                </a:lnTo>
                <a:lnTo>
                  <a:pt x="4975" y="2397"/>
                </a:lnTo>
                <a:lnTo>
                  <a:pt x="4959" y="2377"/>
                </a:lnTo>
                <a:lnTo>
                  <a:pt x="4950" y="2355"/>
                </a:lnTo>
                <a:lnTo>
                  <a:pt x="4915" y="2236"/>
                </a:lnTo>
                <a:lnTo>
                  <a:pt x="4873" y="2119"/>
                </a:lnTo>
                <a:lnTo>
                  <a:pt x="4824" y="2004"/>
                </a:lnTo>
                <a:lnTo>
                  <a:pt x="4769" y="1892"/>
                </a:lnTo>
                <a:lnTo>
                  <a:pt x="4707" y="1784"/>
                </a:lnTo>
                <a:lnTo>
                  <a:pt x="4697" y="1759"/>
                </a:lnTo>
                <a:lnTo>
                  <a:pt x="4697" y="1733"/>
                </a:lnTo>
                <a:lnTo>
                  <a:pt x="4704" y="1709"/>
                </a:lnTo>
                <a:lnTo>
                  <a:pt x="4720" y="1688"/>
                </a:lnTo>
                <a:lnTo>
                  <a:pt x="5016" y="1395"/>
                </a:lnTo>
                <a:lnTo>
                  <a:pt x="5041" y="1365"/>
                </a:lnTo>
                <a:lnTo>
                  <a:pt x="5057" y="1332"/>
                </a:lnTo>
                <a:lnTo>
                  <a:pt x="5064" y="1297"/>
                </a:lnTo>
                <a:lnTo>
                  <a:pt x="5064" y="1260"/>
                </a:lnTo>
                <a:lnTo>
                  <a:pt x="5055" y="1225"/>
                </a:lnTo>
                <a:lnTo>
                  <a:pt x="5039" y="1192"/>
                </a:lnTo>
                <a:lnTo>
                  <a:pt x="5016" y="1162"/>
                </a:lnTo>
                <a:lnTo>
                  <a:pt x="4598" y="744"/>
                </a:lnTo>
                <a:lnTo>
                  <a:pt x="4568" y="721"/>
                </a:lnTo>
                <a:lnTo>
                  <a:pt x="4535" y="705"/>
                </a:lnTo>
                <a:lnTo>
                  <a:pt x="4500" y="696"/>
                </a:lnTo>
                <a:lnTo>
                  <a:pt x="4463" y="696"/>
                </a:lnTo>
                <a:lnTo>
                  <a:pt x="4428" y="705"/>
                </a:lnTo>
                <a:lnTo>
                  <a:pt x="4395" y="721"/>
                </a:lnTo>
                <a:lnTo>
                  <a:pt x="4365" y="744"/>
                </a:lnTo>
                <a:lnTo>
                  <a:pt x="4067" y="1042"/>
                </a:lnTo>
                <a:lnTo>
                  <a:pt x="4046" y="1058"/>
                </a:lnTo>
                <a:lnTo>
                  <a:pt x="4022" y="1066"/>
                </a:lnTo>
                <a:lnTo>
                  <a:pt x="3995" y="1065"/>
                </a:lnTo>
                <a:lnTo>
                  <a:pt x="3971" y="1056"/>
                </a:lnTo>
                <a:lnTo>
                  <a:pt x="3863" y="997"/>
                </a:lnTo>
                <a:lnTo>
                  <a:pt x="3751" y="943"/>
                </a:lnTo>
                <a:lnTo>
                  <a:pt x="3636" y="895"/>
                </a:lnTo>
                <a:lnTo>
                  <a:pt x="3519" y="854"/>
                </a:lnTo>
                <a:lnTo>
                  <a:pt x="3400" y="820"/>
                </a:lnTo>
                <a:lnTo>
                  <a:pt x="3377" y="812"/>
                </a:lnTo>
                <a:lnTo>
                  <a:pt x="3360" y="798"/>
                </a:lnTo>
                <a:lnTo>
                  <a:pt x="3348" y="778"/>
                </a:lnTo>
                <a:lnTo>
                  <a:pt x="3343" y="756"/>
                </a:lnTo>
                <a:lnTo>
                  <a:pt x="3341" y="752"/>
                </a:lnTo>
                <a:lnTo>
                  <a:pt x="3341" y="747"/>
                </a:lnTo>
                <a:lnTo>
                  <a:pt x="3341" y="744"/>
                </a:lnTo>
                <a:lnTo>
                  <a:pt x="3341" y="740"/>
                </a:lnTo>
                <a:lnTo>
                  <a:pt x="3341" y="319"/>
                </a:lnTo>
                <a:lnTo>
                  <a:pt x="3336" y="281"/>
                </a:lnTo>
                <a:lnTo>
                  <a:pt x="3323" y="246"/>
                </a:lnTo>
                <a:lnTo>
                  <a:pt x="3304" y="216"/>
                </a:lnTo>
                <a:lnTo>
                  <a:pt x="3280" y="190"/>
                </a:lnTo>
                <a:lnTo>
                  <a:pt x="3248" y="171"/>
                </a:lnTo>
                <a:lnTo>
                  <a:pt x="3213" y="159"/>
                </a:lnTo>
                <a:lnTo>
                  <a:pt x="3177" y="155"/>
                </a:lnTo>
                <a:lnTo>
                  <a:pt x="2583" y="155"/>
                </a:lnTo>
                <a:close/>
                <a:moveTo>
                  <a:pt x="2583" y="0"/>
                </a:moveTo>
                <a:lnTo>
                  <a:pt x="3177" y="0"/>
                </a:lnTo>
                <a:lnTo>
                  <a:pt x="3234" y="5"/>
                </a:lnTo>
                <a:lnTo>
                  <a:pt x="3288" y="19"/>
                </a:lnTo>
                <a:lnTo>
                  <a:pt x="3337" y="44"/>
                </a:lnTo>
                <a:lnTo>
                  <a:pt x="3381" y="75"/>
                </a:lnTo>
                <a:lnTo>
                  <a:pt x="3421" y="113"/>
                </a:lnTo>
                <a:lnTo>
                  <a:pt x="3453" y="159"/>
                </a:lnTo>
                <a:lnTo>
                  <a:pt x="3475" y="208"/>
                </a:lnTo>
                <a:lnTo>
                  <a:pt x="3491" y="262"/>
                </a:lnTo>
                <a:lnTo>
                  <a:pt x="3496" y="319"/>
                </a:lnTo>
                <a:lnTo>
                  <a:pt x="3496" y="686"/>
                </a:lnTo>
                <a:lnTo>
                  <a:pt x="3625" y="726"/>
                </a:lnTo>
                <a:lnTo>
                  <a:pt x="3753" y="773"/>
                </a:lnTo>
                <a:lnTo>
                  <a:pt x="3877" y="829"/>
                </a:lnTo>
                <a:lnTo>
                  <a:pt x="3997" y="892"/>
                </a:lnTo>
                <a:lnTo>
                  <a:pt x="4255" y="634"/>
                </a:lnTo>
                <a:lnTo>
                  <a:pt x="4296" y="600"/>
                </a:lnTo>
                <a:lnTo>
                  <a:pt x="4339" y="574"/>
                </a:lnTo>
                <a:lnTo>
                  <a:pt x="4385" y="555"/>
                </a:lnTo>
                <a:lnTo>
                  <a:pt x="4433" y="545"/>
                </a:lnTo>
                <a:lnTo>
                  <a:pt x="4482" y="541"/>
                </a:lnTo>
                <a:lnTo>
                  <a:pt x="4529" y="545"/>
                </a:lnTo>
                <a:lnTo>
                  <a:pt x="4578" y="555"/>
                </a:lnTo>
                <a:lnTo>
                  <a:pt x="4624" y="574"/>
                </a:lnTo>
                <a:lnTo>
                  <a:pt x="4667" y="600"/>
                </a:lnTo>
                <a:lnTo>
                  <a:pt x="4707" y="634"/>
                </a:lnTo>
                <a:lnTo>
                  <a:pt x="5126" y="1053"/>
                </a:lnTo>
                <a:lnTo>
                  <a:pt x="5160" y="1093"/>
                </a:lnTo>
                <a:lnTo>
                  <a:pt x="5186" y="1136"/>
                </a:lnTo>
                <a:lnTo>
                  <a:pt x="5205" y="1182"/>
                </a:lnTo>
                <a:lnTo>
                  <a:pt x="5215" y="1231"/>
                </a:lnTo>
                <a:lnTo>
                  <a:pt x="5219" y="1279"/>
                </a:lnTo>
                <a:lnTo>
                  <a:pt x="5215" y="1327"/>
                </a:lnTo>
                <a:lnTo>
                  <a:pt x="5205" y="1375"/>
                </a:lnTo>
                <a:lnTo>
                  <a:pt x="5186" y="1421"/>
                </a:lnTo>
                <a:lnTo>
                  <a:pt x="5160" y="1464"/>
                </a:lnTo>
                <a:lnTo>
                  <a:pt x="5126" y="1505"/>
                </a:lnTo>
                <a:lnTo>
                  <a:pt x="4872" y="1756"/>
                </a:lnTo>
                <a:lnTo>
                  <a:pt x="4936" y="1878"/>
                </a:lnTo>
                <a:lnTo>
                  <a:pt x="4994" y="2004"/>
                </a:lnTo>
                <a:lnTo>
                  <a:pt x="5044" y="2133"/>
                </a:lnTo>
                <a:lnTo>
                  <a:pt x="5086" y="2264"/>
                </a:lnTo>
                <a:lnTo>
                  <a:pt x="5441" y="2264"/>
                </a:lnTo>
                <a:lnTo>
                  <a:pt x="5498" y="2269"/>
                </a:lnTo>
                <a:lnTo>
                  <a:pt x="5552" y="2285"/>
                </a:lnTo>
                <a:lnTo>
                  <a:pt x="5601" y="2307"/>
                </a:lnTo>
                <a:lnTo>
                  <a:pt x="5647" y="2339"/>
                </a:lnTo>
                <a:lnTo>
                  <a:pt x="5685" y="2379"/>
                </a:lnTo>
                <a:lnTo>
                  <a:pt x="5716" y="2423"/>
                </a:lnTo>
                <a:lnTo>
                  <a:pt x="5741" y="2472"/>
                </a:lnTo>
                <a:lnTo>
                  <a:pt x="5755" y="2526"/>
                </a:lnTo>
                <a:lnTo>
                  <a:pt x="5760" y="2583"/>
                </a:lnTo>
                <a:lnTo>
                  <a:pt x="5760" y="3177"/>
                </a:lnTo>
                <a:lnTo>
                  <a:pt x="5755" y="3234"/>
                </a:lnTo>
                <a:lnTo>
                  <a:pt x="5741" y="3288"/>
                </a:lnTo>
                <a:lnTo>
                  <a:pt x="5716" y="3337"/>
                </a:lnTo>
                <a:lnTo>
                  <a:pt x="5685" y="3381"/>
                </a:lnTo>
                <a:lnTo>
                  <a:pt x="5647" y="3419"/>
                </a:lnTo>
                <a:lnTo>
                  <a:pt x="5601" y="3451"/>
                </a:lnTo>
                <a:lnTo>
                  <a:pt x="5552" y="3475"/>
                </a:lnTo>
                <a:lnTo>
                  <a:pt x="5498" y="3491"/>
                </a:lnTo>
                <a:lnTo>
                  <a:pt x="5441" y="3494"/>
                </a:lnTo>
                <a:lnTo>
                  <a:pt x="5098" y="3494"/>
                </a:lnTo>
                <a:lnTo>
                  <a:pt x="5057" y="3631"/>
                </a:lnTo>
                <a:lnTo>
                  <a:pt x="5008" y="3763"/>
                </a:lnTo>
                <a:lnTo>
                  <a:pt x="4952" y="3892"/>
                </a:lnTo>
                <a:lnTo>
                  <a:pt x="4886" y="4018"/>
                </a:lnTo>
                <a:lnTo>
                  <a:pt x="5126" y="4255"/>
                </a:lnTo>
                <a:lnTo>
                  <a:pt x="5160" y="4296"/>
                </a:lnTo>
                <a:lnTo>
                  <a:pt x="5186" y="4339"/>
                </a:lnTo>
                <a:lnTo>
                  <a:pt x="5205" y="4385"/>
                </a:lnTo>
                <a:lnTo>
                  <a:pt x="5215" y="4432"/>
                </a:lnTo>
                <a:lnTo>
                  <a:pt x="5219" y="4481"/>
                </a:lnTo>
                <a:lnTo>
                  <a:pt x="5215" y="4529"/>
                </a:lnTo>
                <a:lnTo>
                  <a:pt x="5205" y="4578"/>
                </a:lnTo>
                <a:lnTo>
                  <a:pt x="5186" y="4624"/>
                </a:lnTo>
                <a:lnTo>
                  <a:pt x="5160" y="4667"/>
                </a:lnTo>
                <a:lnTo>
                  <a:pt x="5126" y="4707"/>
                </a:lnTo>
                <a:lnTo>
                  <a:pt x="4707" y="5126"/>
                </a:lnTo>
                <a:lnTo>
                  <a:pt x="4667" y="5160"/>
                </a:lnTo>
                <a:lnTo>
                  <a:pt x="4624" y="5186"/>
                </a:lnTo>
                <a:lnTo>
                  <a:pt x="4578" y="5205"/>
                </a:lnTo>
                <a:lnTo>
                  <a:pt x="4529" y="5215"/>
                </a:lnTo>
                <a:lnTo>
                  <a:pt x="4482" y="5219"/>
                </a:lnTo>
                <a:lnTo>
                  <a:pt x="4433" y="5215"/>
                </a:lnTo>
                <a:lnTo>
                  <a:pt x="4385" y="5205"/>
                </a:lnTo>
                <a:lnTo>
                  <a:pt x="4339" y="5186"/>
                </a:lnTo>
                <a:lnTo>
                  <a:pt x="4296" y="5160"/>
                </a:lnTo>
                <a:lnTo>
                  <a:pt x="4255" y="5126"/>
                </a:lnTo>
                <a:lnTo>
                  <a:pt x="4023" y="4893"/>
                </a:lnTo>
                <a:lnTo>
                  <a:pt x="3898" y="4961"/>
                </a:lnTo>
                <a:lnTo>
                  <a:pt x="3767" y="5022"/>
                </a:lnTo>
                <a:lnTo>
                  <a:pt x="3632" y="5072"/>
                </a:lnTo>
                <a:lnTo>
                  <a:pt x="3496" y="5116"/>
                </a:lnTo>
                <a:lnTo>
                  <a:pt x="3496" y="5441"/>
                </a:lnTo>
                <a:lnTo>
                  <a:pt x="3491" y="5498"/>
                </a:lnTo>
                <a:lnTo>
                  <a:pt x="3475" y="5552"/>
                </a:lnTo>
                <a:lnTo>
                  <a:pt x="3453" y="5601"/>
                </a:lnTo>
                <a:lnTo>
                  <a:pt x="3421" y="5647"/>
                </a:lnTo>
                <a:lnTo>
                  <a:pt x="3381" y="5685"/>
                </a:lnTo>
                <a:lnTo>
                  <a:pt x="3337" y="5716"/>
                </a:lnTo>
                <a:lnTo>
                  <a:pt x="3288" y="5741"/>
                </a:lnTo>
                <a:lnTo>
                  <a:pt x="3234" y="5755"/>
                </a:lnTo>
                <a:lnTo>
                  <a:pt x="3177" y="5760"/>
                </a:lnTo>
                <a:lnTo>
                  <a:pt x="2583" y="5760"/>
                </a:lnTo>
                <a:lnTo>
                  <a:pt x="2526" y="5755"/>
                </a:lnTo>
                <a:lnTo>
                  <a:pt x="2472" y="5741"/>
                </a:lnTo>
                <a:lnTo>
                  <a:pt x="2423" y="5716"/>
                </a:lnTo>
                <a:lnTo>
                  <a:pt x="2379" y="5685"/>
                </a:lnTo>
                <a:lnTo>
                  <a:pt x="2341" y="5647"/>
                </a:lnTo>
                <a:lnTo>
                  <a:pt x="2309" y="5601"/>
                </a:lnTo>
                <a:lnTo>
                  <a:pt x="2285" y="5552"/>
                </a:lnTo>
                <a:lnTo>
                  <a:pt x="2269" y="5498"/>
                </a:lnTo>
                <a:lnTo>
                  <a:pt x="2266" y="5441"/>
                </a:lnTo>
                <a:lnTo>
                  <a:pt x="2266" y="5118"/>
                </a:lnTo>
                <a:lnTo>
                  <a:pt x="2126" y="5074"/>
                </a:lnTo>
                <a:lnTo>
                  <a:pt x="1992" y="5023"/>
                </a:lnTo>
                <a:lnTo>
                  <a:pt x="1861" y="4964"/>
                </a:lnTo>
                <a:lnTo>
                  <a:pt x="1735" y="4896"/>
                </a:lnTo>
                <a:lnTo>
                  <a:pt x="1505" y="5126"/>
                </a:lnTo>
                <a:lnTo>
                  <a:pt x="1464" y="5160"/>
                </a:lnTo>
                <a:lnTo>
                  <a:pt x="1421" y="5186"/>
                </a:lnTo>
                <a:lnTo>
                  <a:pt x="1375" y="5205"/>
                </a:lnTo>
                <a:lnTo>
                  <a:pt x="1327" y="5215"/>
                </a:lnTo>
                <a:lnTo>
                  <a:pt x="1279" y="5219"/>
                </a:lnTo>
                <a:lnTo>
                  <a:pt x="1231" y="5215"/>
                </a:lnTo>
                <a:lnTo>
                  <a:pt x="1182" y="5205"/>
                </a:lnTo>
                <a:lnTo>
                  <a:pt x="1136" y="5186"/>
                </a:lnTo>
                <a:lnTo>
                  <a:pt x="1093" y="5160"/>
                </a:lnTo>
                <a:lnTo>
                  <a:pt x="1053" y="5126"/>
                </a:lnTo>
                <a:lnTo>
                  <a:pt x="634" y="4707"/>
                </a:lnTo>
                <a:lnTo>
                  <a:pt x="600" y="4667"/>
                </a:lnTo>
                <a:lnTo>
                  <a:pt x="574" y="4624"/>
                </a:lnTo>
                <a:lnTo>
                  <a:pt x="555" y="4578"/>
                </a:lnTo>
                <a:lnTo>
                  <a:pt x="545" y="4529"/>
                </a:lnTo>
                <a:lnTo>
                  <a:pt x="541" y="4481"/>
                </a:lnTo>
                <a:lnTo>
                  <a:pt x="545" y="4433"/>
                </a:lnTo>
                <a:lnTo>
                  <a:pt x="555" y="4385"/>
                </a:lnTo>
                <a:lnTo>
                  <a:pt x="574" y="4339"/>
                </a:lnTo>
                <a:lnTo>
                  <a:pt x="600" y="4296"/>
                </a:lnTo>
                <a:lnTo>
                  <a:pt x="634" y="4255"/>
                </a:lnTo>
                <a:lnTo>
                  <a:pt x="869" y="4022"/>
                </a:lnTo>
                <a:lnTo>
                  <a:pt x="803" y="3894"/>
                </a:lnTo>
                <a:lnTo>
                  <a:pt x="745" y="3765"/>
                </a:lnTo>
                <a:lnTo>
                  <a:pt x="696" y="3631"/>
                </a:lnTo>
                <a:lnTo>
                  <a:pt x="655" y="3494"/>
                </a:lnTo>
                <a:lnTo>
                  <a:pt x="319" y="3494"/>
                </a:lnTo>
                <a:lnTo>
                  <a:pt x="262" y="3491"/>
                </a:lnTo>
                <a:lnTo>
                  <a:pt x="208" y="3475"/>
                </a:lnTo>
                <a:lnTo>
                  <a:pt x="159" y="3451"/>
                </a:lnTo>
                <a:lnTo>
                  <a:pt x="113" y="3419"/>
                </a:lnTo>
                <a:lnTo>
                  <a:pt x="75" y="3381"/>
                </a:lnTo>
                <a:lnTo>
                  <a:pt x="44" y="3337"/>
                </a:lnTo>
                <a:lnTo>
                  <a:pt x="19" y="3288"/>
                </a:lnTo>
                <a:lnTo>
                  <a:pt x="5" y="3234"/>
                </a:lnTo>
                <a:lnTo>
                  <a:pt x="0" y="3177"/>
                </a:lnTo>
                <a:lnTo>
                  <a:pt x="0" y="2583"/>
                </a:lnTo>
                <a:lnTo>
                  <a:pt x="5" y="2526"/>
                </a:lnTo>
                <a:lnTo>
                  <a:pt x="19" y="2472"/>
                </a:lnTo>
                <a:lnTo>
                  <a:pt x="44" y="2423"/>
                </a:lnTo>
                <a:lnTo>
                  <a:pt x="75" y="2379"/>
                </a:lnTo>
                <a:lnTo>
                  <a:pt x="113" y="2339"/>
                </a:lnTo>
                <a:lnTo>
                  <a:pt x="159" y="2307"/>
                </a:lnTo>
                <a:lnTo>
                  <a:pt x="208" y="2285"/>
                </a:lnTo>
                <a:lnTo>
                  <a:pt x="262" y="2269"/>
                </a:lnTo>
                <a:lnTo>
                  <a:pt x="319" y="2264"/>
                </a:lnTo>
                <a:lnTo>
                  <a:pt x="667" y="2264"/>
                </a:lnTo>
                <a:lnTo>
                  <a:pt x="709" y="2133"/>
                </a:lnTo>
                <a:lnTo>
                  <a:pt x="759" y="2004"/>
                </a:lnTo>
                <a:lnTo>
                  <a:pt x="817" y="1876"/>
                </a:lnTo>
                <a:lnTo>
                  <a:pt x="883" y="1754"/>
                </a:lnTo>
                <a:lnTo>
                  <a:pt x="634" y="1505"/>
                </a:lnTo>
                <a:lnTo>
                  <a:pt x="600" y="1464"/>
                </a:lnTo>
                <a:lnTo>
                  <a:pt x="574" y="1421"/>
                </a:lnTo>
                <a:lnTo>
                  <a:pt x="555" y="1375"/>
                </a:lnTo>
                <a:lnTo>
                  <a:pt x="545" y="1327"/>
                </a:lnTo>
                <a:lnTo>
                  <a:pt x="541" y="1279"/>
                </a:lnTo>
                <a:lnTo>
                  <a:pt x="545" y="1231"/>
                </a:lnTo>
                <a:lnTo>
                  <a:pt x="555" y="1182"/>
                </a:lnTo>
                <a:lnTo>
                  <a:pt x="574" y="1136"/>
                </a:lnTo>
                <a:lnTo>
                  <a:pt x="600" y="1093"/>
                </a:lnTo>
                <a:lnTo>
                  <a:pt x="634" y="1053"/>
                </a:lnTo>
                <a:lnTo>
                  <a:pt x="1053" y="634"/>
                </a:lnTo>
                <a:lnTo>
                  <a:pt x="1093" y="600"/>
                </a:lnTo>
                <a:lnTo>
                  <a:pt x="1136" y="574"/>
                </a:lnTo>
                <a:lnTo>
                  <a:pt x="1182" y="555"/>
                </a:lnTo>
                <a:lnTo>
                  <a:pt x="1231" y="545"/>
                </a:lnTo>
                <a:lnTo>
                  <a:pt x="1279" y="541"/>
                </a:lnTo>
                <a:lnTo>
                  <a:pt x="1327" y="545"/>
                </a:lnTo>
                <a:lnTo>
                  <a:pt x="1375" y="555"/>
                </a:lnTo>
                <a:lnTo>
                  <a:pt x="1421" y="574"/>
                </a:lnTo>
                <a:lnTo>
                  <a:pt x="1464" y="600"/>
                </a:lnTo>
                <a:lnTo>
                  <a:pt x="1505" y="634"/>
                </a:lnTo>
                <a:lnTo>
                  <a:pt x="1759" y="890"/>
                </a:lnTo>
                <a:lnTo>
                  <a:pt x="1882" y="827"/>
                </a:lnTo>
                <a:lnTo>
                  <a:pt x="2006" y="771"/>
                </a:lnTo>
                <a:lnTo>
                  <a:pt x="2135" y="724"/>
                </a:lnTo>
                <a:lnTo>
                  <a:pt x="2266" y="684"/>
                </a:lnTo>
                <a:lnTo>
                  <a:pt x="2266" y="319"/>
                </a:lnTo>
                <a:lnTo>
                  <a:pt x="2269" y="262"/>
                </a:lnTo>
                <a:lnTo>
                  <a:pt x="2285" y="208"/>
                </a:lnTo>
                <a:lnTo>
                  <a:pt x="2309" y="159"/>
                </a:lnTo>
                <a:lnTo>
                  <a:pt x="2341" y="113"/>
                </a:lnTo>
                <a:lnTo>
                  <a:pt x="2379" y="75"/>
                </a:lnTo>
                <a:lnTo>
                  <a:pt x="2423" y="44"/>
                </a:lnTo>
                <a:lnTo>
                  <a:pt x="2472" y="19"/>
                </a:lnTo>
                <a:lnTo>
                  <a:pt x="2526" y="5"/>
                </a:lnTo>
                <a:lnTo>
                  <a:pt x="2583"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39" name="Text Placeholder 57"/>
          <p:cNvSpPr txBox="1">
            <a:spLocks/>
          </p:cNvSpPr>
          <p:nvPr userDrawn="1"/>
        </p:nvSpPr>
        <p:spPr>
          <a:xfrm>
            <a:off x="965796" y="1464155"/>
            <a:ext cx="2280324" cy="304336"/>
          </a:xfrm>
          <a:prstGeom prst="rect">
            <a:avLst/>
          </a:prstGeom>
        </p:spPr>
        <p:txBody>
          <a:bodyPr>
            <a:noAutofit/>
          </a:bodyPr>
          <a:lstStyle>
            <a:lvl1pPr marL="0" indent="0" algn="l" defTabSz="365760" rtl="0" eaLnBrk="1" latinLnBrk="0" hangingPunct="1">
              <a:lnSpc>
                <a:spcPct val="85000"/>
              </a:lnSpc>
              <a:spcBef>
                <a:spcPts val="800"/>
              </a:spcBef>
              <a:spcAft>
                <a:spcPts val="0"/>
              </a:spcAft>
              <a:buClr>
                <a:schemeClr val="accent1"/>
              </a:buClr>
              <a:buSzPct val="80000"/>
              <a:buFont typeface="Arial" pitchFamily="34" charset="0"/>
              <a:buNone/>
              <a:defRPr sz="1500" b="0" kern="1200" cap="none" baseline="0">
                <a:solidFill>
                  <a:schemeClr val="bg1"/>
                </a:solidFill>
                <a:latin typeface="+mn-lt"/>
                <a:ea typeface="+mn-ea"/>
                <a:cs typeface="+mn-cs"/>
              </a:defRPr>
            </a:lvl1pPr>
            <a:lvl2pPr marL="342900" indent="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None/>
              <a:tabLst/>
              <a:defRPr sz="1800" kern="1200" baseline="0">
                <a:solidFill>
                  <a:schemeClr val="bg1"/>
                </a:solidFill>
                <a:latin typeface="+mn-lt"/>
                <a:ea typeface="+mn-ea"/>
                <a:cs typeface="+mn-cs"/>
              </a:defRPr>
            </a:lvl2pPr>
            <a:lvl3pPr marL="685800" indent="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None/>
              <a:defRPr sz="1400" kern="1200" baseline="0">
                <a:solidFill>
                  <a:schemeClr val="bg1"/>
                </a:solidFill>
                <a:latin typeface="+mn-lt"/>
                <a:ea typeface="+mn-ea"/>
                <a:cs typeface="+mn-cs"/>
              </a:defRPr>
            </a:lvl3pPr>
            <a:lvl4pPr marL="1028700" indent="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None/>
              <a:defRPr sz="1200" kern="1200" baseline="0">
                <a:solidFill>
                  <a:schemeClr val="bg1"/>
                </a:solidFill>
                <a:latin typeface="+mn-lt"/>
                <a:ea typeface="+mn-ea"/>
                <a:cs typeface="+mn-cs"/>
              </a:defRPr>
            </a:lvl4pPr>
            <a:lvl5pPr marL="1371600" indent="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None/>
              <a:defRPr sz="1000" kern="1200" baseline="0">
                <a:solidFill>
                  <a:schemeClr val="bg1"/>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r>
              <a:rPr lang="en-US" sz="2000" dirty="0"/>
              <a:t>Key Challenges</a:t>
            </a:r>
          </a:p>
        </p:txBody>
      </p:sp>
      <p:sp>
        <p:nvSpPr>
          <p:cNvPr id="28" name="Text Placeholder 51"/>
          <p:cNvSpPr>
            <a:spLocks noGrp="1"/>
          </p:cNvSpPr>
          <p:nvPr>
            <p:ph type="body" sz="quarter" idx="25" hasCustomPrompt="1"/>
          </p:nvPr>
        </p:nvSpPr>
        <p:spPr>
          <a:xfrm>
            <a:off x="524377" y="951824"/>
            <a:ext cx="4106465" cy="411062"/>
          </a:xfrm>
          <a:ln>
            <a:noFill/>
          </a:ln>
        </p:spPr>
        <p:txBody>
          <a:bodyPr>
            <a:noAutofit/>
          </a:bodyPr>
          <a:lstStyle>
            <a:lvl1pPr marL="0" indent="0">
              <a:buNone/>
              <a:defRPr sz="1200" baseline="0">
                <a:solidFill>
                  <a:schemeClr val="bg1"/>
                </a:solidFill>
                <a:latin typeface="+mj-lt"/>
              </a:defRPr>
            </a:lvl1pPr>
            <a:lvl2pPr marL="342900" indent="0">
              <a:buNone/>
              <a:defRPr sz="1050">
                <a:solidFill>
                  <a:schemeClr val="bg1"/>
                </a:solidFill>
              </a:defRPr>
            </a:lvl2pPr>
            <a:lvl3pPr marL="685800" indent="0">
              <a:buNone/>
              <a:defRPr sz="1050">
                <a:solidFill>
                  <a:schemeClr val="bg1"/>
                </a:solidFill>
              </a:defRPr>
            </a:lvl3pPr>
            <a:lvl4pPr marL="1028700" indent="0">
              <a:buNone/>
              <a:defRPr sz="1050">
                <a:solidFill>
                  <a:schemeClr val="bg1"/>
                </a:solidFill>
              </a:defRPr>
            </a:lvl4pPr>
            <a:lvl5pPr marL="1371600" indent="0">
              <a:buNone/>
              <a:defRPr sz="1050">
                <a:solidFill>
                  <a:schemeClr val="bg1"/>
                </a:solidFill>
              </a:defRPr>
            </a:lvl5pPr>
          </a:lstStyle>
          <a:p>
            <a:pPr lvl="0"/>
            <a:r>
              <a:rPr lang="en-US" dirty="0"/>
              <a:t>Click to add customer description</a:t>
            </a:r>
          </a:p>
        </p:txBody>
      </p:sp>
    </p:spTree>
    <p:extLst>
      <p:ext uri="{BB962C8B-B14F-4D97-AF65-F5344CB8AC3E}">
        <p14:creationId xmlns:p14="http://schemas.microsoft.com/office/powerpoint/2010/main" val="358375625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AS - Content with Image">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5D6492C8-F2B6-994C-93E7-13EF75C493AC}"/>
              </a:ext>
            </a:extLst>
          </p:cNvPr>
          <p:cNvSpPr>
            <a:spLocks noGrp="1"/>
          </p:cNvSpPr>
          <p:nvPr>
            <p:ph type="body" sz="quarter" idx="11"/>
          </p:nvPr>
        </p:nvSpPr>
        <p:spPr>
          <a:xfrm>
            <a:off x="5394152" y="1751961"/>
            <a:ext cx="3357562" cy="1022310"/>
          </a:xfrm>
        </p:spPr>
        <p:txBody>
          <a:bodyPr/>
          <a:lstStyle>
            <a:lvl1pPr marL="0" indent="0">
              <a:buNone/>
              <a:defRPr/>
            </a:lvl1pPr>
            <a:lvl2pPr marL="182880" indent="0">
              <a:buNone/>
              <a:defRPr/>
            </a:lvl2pPr>
            <a:lvl3pPr marL="365760" indent="0">
              <a:buNone/>
              <a:defRPr/>
            </a:lvl3pPr>
            <a:lvl4pPr marL="1028700" indent="0">
              <a:buNone/>
              <a:defRPr/>
            </a:lvl4pPr>
            <a:lvl5pPr marL="1371600" indent="0">
              <a:buNone/>
              <a:defRPr/>
            </a:lvl5pPr>
          </a:lstStyle>
          <a:p>
            <a:pPr lvl="0"/>
            <a:r>
              <a:rPr lang="fr-FR"/>
              <a:t>Cliquez pour modifier les styles du texte du masque</a:t>
            </a:r>
          </a:p>
        </p:txBody>
      </p:sp>
      <p:sp>
        <p:nvSpPr>
          <p:cNvPr id="17" name="Freeform 16">
            <a:extLst>
              <a:ext uri="{FF2B5EF4-FFF2-40B4-BE49-F238E27FC236}">
                <a16:creationId xmlns:a16="http://schemas.microsoft.com/office/drawing/2014/main" id="{B28BF588-A539-E84D-BAE7-8D1EE1761D7B}"/>
              </a:ext>
            </a:extLst>
          </p:cNvPr>
          <p:cNvSpPr/>
          <p:nvPr/>
        </p:nvSpPr>
        <p:spPr>
          <a:xfrm>
            <a:off x="3125188" y="-1"/>
            <a:ext cx="3004957" cy="5143500"/>
          </a:xfrm>
          <a:custGeom>
            <a:avLst/>
            <a:gdLst>
              <a:gd name="connsiteX0" fmla="*/ 2952243 w 3004957"/>
              <a:gd name="connsiteY0" fmla="*/ 0 h 5143500"/>
              <a:gd name="connsiteX1" fmla="*/ 3004957 w 3004957"/>
              <a:gd name="connsiteY1" fmla="*/ 0 h 5143500"/>
              <a:gd name="connsiteX2" fmla="*/ 52714 w 3004957"/>
              <a:gd name="connsiteY2" fmla="*/ 5143500 h 5143500"/>
              <a:gd name="connsiteX3" fmla="*/ 0 w 3004957"/>
              <a:gd name="connsiteY3" fmla="*/ 5143500 h 5143500"/>
              <a:gd name="connsiteX4" fmla="*/ 2952243 w 3004957"/>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04957" h="5143500">
                <a:moveTo>
                  <a:pt x="2952243" y="0"/>
                </a:moveTo>
                <a:lnTo>
                  <a:pt x="3004957" y="0"/>
                </a:lnTo>
                <a:lnTo>
                  <a:pt x="52714" y="5143500"/>
                </a:lnTo>
                <a:lnTo>
                  <a:pt x="0" y="5143500"/>
                </a:lnTo>
                <a:lnTo>
                  <a:pt x="2952243" y="0"/>
                </a:lnTo>
                <a:close/>
              </a:path>
            </a:pathLst>
          </a:custGeom>
          <a:gradFill flip="none" rotWithShape="1">
            <a:gsLst>
              <a:gs pos="30000">
                <a:srgbClr val="3D5AAE"/>
              </a:gs>
              <a:gs pos="100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6">
            <a:extLst>
              <a:ext uri="{FF2B5EF4-FFF2-40B4-BE49-F238E27FC236}">
                <a16:creationId xmlns:a16="http://schemas.microsoft.com/office/drawing/2014/main" id="{2E8F94DC-1ACF-544C-BF1F-4C5126BC465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411892" y="4746756"/>
            <a:ext cx="558779" cy="253991"/>
          </a:xfrm>
          <a:prstGeom prst="rect">
            <a:avLst/>
          </a:prstGeom>
        </p:spPr>
      </p:pic>
      <p:sp>
        <p:nvSpPr>
          <p:cNvPr id="6" name="TextBox 4">
            <a:extLst>
              <a:ext uri="{FF2B5EF4-FFF2-40B4-BE49-F238E27FC236}">
                <a16:creationId xmlns:a16="http://schemas.microsoft.com/office/drawing/2014/main" id="{310B4187-0EBC-5A45-8561-21E3AF78A755}"/>
              </a:ext>
            </a:extLst>
          </p:cNvPr>
          <p:cNvSpPr txBox="1"/>
          <p:nvPr userDrawn="1"/>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bg1"/>
                </a:solidFill>
                <a:effectLst/>
                <a:uLnTx/>
                <a:uFillTx/>
                <a:latin typeface="+mn-lt"/>
                <a:ea typeface="Calibri" charset="0"/>
                <a:cs typeface="Arial" panose="020B0604020202020204" pitchFamily="34" charset="0"/>
              </a:rPr>
              <a:t>Copyright © SAS Institute Inc. All rights reserved.</a:t>
            </a:r>
          </a:p>
        </p:txBody>
      </p:sp>
      <p:sp>
        <p:nvSpPr>
          <p:cNvPr id="3" name="Picture Placeholder 2">
            <a:extLst>
              <a:ext uri="{FF2B5EF4-FFF2-40B4-BE49-F238E27FC236}">
                <a16:creationId xmlns:a16="http://schemas.microsoft.com/office/drawing/2014/main" id="{9290C0E4-ECBA-5946-9BAC-DC37C672894D}"/>
              </a:ext>
            </a:extLst>
          </p:cNvPr>
          <p:cNvSpPr>
            <a:spLocks noGrp="1"/>
          </p:cNvSpPr>
          <p:nvPr>
            <p:ph type="pic" sz="quarter" idx="12"/>
          </p:nvPr>
        </p:nvSpPr>
        <p:spPr>
          <a:xfrm>
            <a:off x="-7058" y="0"/>
            <a:ext cx="6081885" cy="5143500"/>
          </a:xfrm>
          <a:custGeom>
            <a:avLst/>
            <a:gdLst>
              <a:gd name="connsiteX0" fmla="*/ 0 w 3125788"/>
              <a:gd name="connsiteY0" fmla="*/ 5143500 h 5143500"/>
              <a:gd name="connsiteX1" fmla="*/ 781447 w 3125788"/>
              <a:gd name="connsiteY1" fmla="*/ 0 h 5143500"/>
              <a:gd name="connsiteX2" fmla="*/ 2344341 w 3125788"/>
              <a:gd name="connsiteY2" fmla="*/ 0 h 5143500"/>
              <a:gd name="connsiteX3" fmla="*/ 3125788 w 3125788"/>
              <a:gd name="connsiteY3" fmla="*/ 5143500 h 5143500"/>
              <a:gd name="connsiteX4" fmla="*/ 0 w 3125788"/>
              <a:gd name="connsiteY4" fmla="*/ 5143500 h 5143500"/>
              <a:gd name="connsiteX0" fmla="*/ 0 w 6074828"/>
              <a:gd name="connsiteY0" fmla="*/ 5143500 h 5143500"/>
              <a:gd name="connsiteX1" fmla="*/ 781447 w 6074828"/>
              <a:gd name="connsiteY1" fmla="*/ 0 h 5143500"/>
              <a:gd name="connsiteX2" fmla="*/ 6074828 w 6074828"/>
              <a:gd name="connsiteY2" fmla="*/ 0 h 5143500"/>
              <a:gd name="connsiteX3" fmla="*/ 3125788 w 6074828"/>
              <a:gd name="connsiteY3" fmla="*/ 5143500 h 5143500"/>
              <a:gd name="connsiteX4" fmla="*/ 0 w 6074828"/>
              <a:gd name="connsiteY4" fmla="*/ 5143500 h 5143500"/>
              <a:gd name="connsiteX0" fmla="*/ 7057 w 6081885"/>
              <a:gd name="connsiteY0" fmla="*/ 5143500 h 5143500"/>
              <a:gd name="connsiteX1" fmla="*/ 0 w 6081885"/>
              <a:gd name="connsiteY1" fmla="*/ 0 h 5143500"/>
              <a:gd name="connsiteX2" fmla="*/ 6081885 w 6081885"/>
              <a:gd name="connsiteY2" fmla="*/ 0 h 5143500"/>
              <a:gd name="connsiteX3" fmla="*/ 3132845 w 6081885"/>
              <a:gd name="connsiteY3" fmla="*/ 5143500 h 5143500"/>
              <a:gd name="connsiteX4" fmla="*/ 7057 w 6081885"/>
              <a:gd name="connsiteY4" fmla="*/ 514350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1885" h="5143500">
                <a:moveTo>
                  <a:pt x="7057" y="5143500"/>
                </a:moveTo>
                <a:cubicBezTo>
                  <a:pt x="4705" y="3429000"/>
                  <a:pt x="2352" y="1714500"/>
                  <a:pt x="0" y="0"/>
                </a:cubicBezTo>
                <a:lnTo>
                  <a:pt x="6081885" y="0"/>
                </a:lnTo>
                <a:lnTo>
                  <a:pt x="3132845" y="5143500"/>
                </a:lnTo>
                <a:lnTo>
                  <a:pt x="7057" y="5143500"/>
                </a:lnTo>
                <a:close/>
              </a:path>
            </a:pathLst>
          </a:custGeom>
        </p:spPr>
        <p:txBody>
          <a:bodyPr/>
          <a:lstStyle/>
          <a:p>
            <a:r>
              <a:rPr lang="fr-FR"/>
              <a:t>Cliquez sur l'icône pour ajouter une image</a:t>
            </a:r>
            <a:endParaRPr lang="en-US"/>
          </a:p>
        </p:txBody>
      </p:sp>
    </p:spTree>
    <p:custDataLst>
      <p:tags r:id="rId1"/>
    </p:custDataLst>
    <p:extLst>
      <p:ext uri="{BB962C8B-B14F-4D97-AF65-F5344CB8AC3E}">
        <p14:creationId xmlns:p14="http://schemas.microsoft.com/office/powerpoint/2010/main" val="1969013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9485DC0-C399-4290-906A-7FE62381CE9E}"/>
              </a:ext>
            </a:extLst>
          </p:cNvPr>
          <p:cNvGrpSpPr/>
          <p:nvPr userDrawn="1"/>
        </p:nvGrpSpPr>
        <p:grpSpPr>
          <a:xfrm>
            <a:off x="-1931" y="0"/>
            <a:ext cx="9144000" cy="5143503"/>
            <a:chOff x="-4657" y="-3"/>
            <a:chExt cx="9144000" cy="5143503"/>
          </a:xfrm>
        </p:grpSpPr>
        <p:sp>
          <p:nvSpPr>
            <p:cNvPr id="8" name="Rectangle 7">
              <a:extLst>
                <a:ext uri="{FF2B5EF4-FFF2-40B4-BE49-F238E27FC236}">
                  <a16:creationId xmlns:a16="http://schemas.microsoft.com/office/drawing/2014/main" id="{9D08E41B-F394-4D7B-9C79-9F8F15E3C4B3}"/>
                </a:ext>
              </a:extLst>
            </p:cNvPr>
            <p:cNvSpPr/>
            <p:nvPr/>
          </p:nvSpPr>
          <p:spPr>
            <a:xfrm>
              <a:off x="-4657" y="-3"/>
              <a:ext cx="9144000" cy="5143500"/>
            </a:xfrm>
            <a:prstGeom prst="rect">
              <a:avLst/>
            </a:prstGeom>
            <a:solidFill>
              <a:srgbClr val="00233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dirty="0">
                <a:solidFill>
                  <a:schemeClr val="accent1"/>
                </a:solidFill>
              </a:endParaRPr>
            </a:p>
          </p:txBody>
        </p:sp>
        <p:pic>
          <p:nvPicPr>
            <p:cNvPr id="9" name="Picture 8" descr="A close up of a logo&#10;&#10;Description automatically generated">
              <a:extLst>
                <a:ext uri="{FF2B5EF4-FFF2-40B4-BE49-F238E27FC236}">
                  <a16:creationId xmlns:a16="http://schemas.microsoft.com/office/drawing/2014/main" id="{6FC26874-D1F4-48DC-8BA1-16DEC130E847}"/>
                </a:ext>
              </a:extLst>
            </p:cNvPr>
            <p:cNvPicPr>
              <a:picLocks noChangeAspect="1"/>
            </p:cNvPicPr>
            <p:nvPr/>
          </p:nvPicPr>
          <p:blipFill rotWithShape="1">
            <a:blip r:embed="rId2" cstate="print">
              <a:alphaModFix amt="20000"/>
              <a:extLst>
                <a:ext uri="{28A0092B-C50C-407E-A947-70E740481C1C}">
                  <a14:useLocalDpi xmlns:a14="http://schemas.microsoft.com/office/drawing/2010/main" val="0"/>
                </a:ext>
              </a:extLst>
            </a:blip>
            <a:srcRect l="19283" b="12812"/>
            <a:stretch/>
          </p:blipFill>
          <p:spPr>
            <a:xfrm>
              <a:off x="4657" y="3237978"/>
              <a:ext cx="5292246" cy="1905522"/>
            </a:xfrm>
            <a:prstGeom prst="rect">
              <a:avLst/>
            </a:prstGeom>
          </p:spPr>
        </p:pic>
        <p:sp>
          <p:nvSpPr>
            <p:cNvPr id="12" name="TextBox 4">
              <a:extLst>
                <a:ext uri="{FF2B5EF4-FFF2-40B4-BE49-F238E27FC236}">
                  <a16:creationId xmlns:a16="http://schemas.microsoft.com/office/drawing/2014/main" id="{8EEC03AF-A175-4822-9B18-DD2E574D7CB5}"/>
                </a:ext>
              </a:extLst>
            </p:cNvPr>
            <p:cNvSpPr txBox="1"/>
            <p:nvPr/>
          </p:nvSpPr>
          <p:spPr>
            <a:xfrm>
              <a:off x="3310128" y="4941553"/>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alpha val="50000"/>
                    </a:schemeClr>
                  </a:solidFill>
                  <a:effectLst/>
                  <a:uLnTx/>
                  <a:uFillTx/>
                  <a:latin typeface="+mn-lt"/>
                  <a:ea typeface="Calibri" charset="0"/>
                  <a:cs typeface="Arial" panose="020B0604020202020204" pitchFamily="34" charset="0"/>
                </a:rPr>
                <a:t>Copyright © SAS Institute Inc. All rights reserved.</a:t>
              </a:r>
            </a:p>
          </p:txBody>
        </p:sp>
        <p:pic>
          <p:nvPicPr>
            <p:cNvPr id="13" name="Picture 12">
              <a:extLst>
                <a:ext uri="{FF2B5EF4-FFF2-40B4-BE49-F238E27FC236}">
                  <a16:creationId xmlns:a16="http://schemas.microsoft.com/office/drawing/2014/main" id="{4C071CEA-AE98-44D3-A3F3-7DF9329B9B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98951" y="4750173"/>
              <a:ext cx="436472" cy="180671"/>
            </a:xfrm>
            <a:prstGeom prst="rect">
              <a:avLst/>
            </a:prstGeom>
          </p:spPr>
        </p:pic>
      </p:grpSp>
      <p:sp>
        <p:nvSpPr>
          <p:cNvPr id="63" name="Text Placeholder 62">
            <a:extLst>
              <a:ext uri="{FF2B5EF4-FFF2-40B4-BE49-F238E27FC236}">
                <a16:creationId xmlns:a16="http://schemas.microsoft.com/office/drawing/2014/main" id="{2E5D70AF-E7F0-2E44-896B-A1AA972D1BEB}"/>
              </a:ext>
            </a:extLst>
          </p:cNvPr>
          <p:cNvSpPr>
            <a:spLocks noGrp="1"/>
          </p:cNvSpPr>
          <p:nvPr>
            <p:ph type="body" sz="quarter" idx="15" hasCustomPrompt="1"/>
          </p:nvPr>
        </p:nvSpPr>
        <p:spPr>
          <a:xfrm>
            <a:off x="344591" y="268428"/>
            <a:ext cx="8573691" cy="472678"/>
          </a:xfrm>
        </p:spPr>
        <p:txBody>
          <a:bodyPr/>
          <a:lstStyle>
            <a:lvl1pPr marL="0" indent="0">
              <a:buNone/>
              <a:defRPr sz="2400" b="1">
                <a:solidFill>
                  <a:schemeClr val="bg1"/>
                </a:solidFill>
              </a:defRPr>
            </a:lvl1pPr>
          </a:lstStyle>
          <a:p>
            <a:pPr lvl="0"/>
            <a:r>
              <a:rPr lang="en-US" dirty="0"/>
              <a:t>Company Name</a:t>
            </a:r>
          </a:p>
        </p:txBody>
      </p:sp>
      <p:sp>
        <p:nvSpPr>
          <p:cNvPr id="55" name="Rectangle: Top Corners Rounded 57">
            <a:extLst>
              <a:ext uri="{FF2B5EF4-FFF2-40B4-BE49-F238E27FC236}">
                <a16:creationId xmlns:a16="http://schemas.microsoft.com/office/drawing/2014/main" id="{5E28E649-30B4-FA45-8B3E-9E0F87C27356}"/>
              </a:ext>
            </a:extLst>
          </p:cNvPr>
          <p:cNvSpPr/>
          <p:nvPr userDrawn="1"/>
        </p:nvSpPr>
        <p:spPr>
          <a:xfrm rot="16200000" flipH="1">
            <a:off x="6129676" y="-161653"/>
            <a:ext cx="285124" cy="1143636"/>
          </a:xfrm>
          <a:prstGeom prst="round2SameRect">
            <a:avLst/>
          </a:prstGeom>
          <a:solidFill>
            <a:schemeClr val="bg1"/>
          </a:solidFill>
          <a:ln>
            <a:solidFill>
              <a:schemeClr val="bg1">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580" tIns="34290" rIns="68580" bIns="34290" numCol="1" spcCol="0" rtlCol="0" fromWordArt="0" anchor="ctr" anchorCtr="0" forceAA="0" compatLnSpc="1">
            <a:prstTxWarp prst="textNoShape">
              <a:avLst/>
            </a:prstTxWarp>
            <a:noAutofit/>
          </a:bodyPr>
          <a:lstStyle/>
          <a:p>
            <a:pPr algn="ctr"/>
            <a:r>
              <a:rPr lang="en-GB" sz="1200" dirty="0">
                <a:solidFill>
                  <a:srgbClr val="084164"/>
                </a:solidFill>
                <a:ea typeface="Roboto" panose="02000000000000000000" pitchFamily="2" charset="0"/>
                <a:cs typeface="Calibri" panose="020F0502020204030204" pitchFamily="34" charset="0"/>
              </a:rPr>
              <a:t>Key Capability:</a:t>
            </a:r>
          </a:p>
        </p:txBody>
      </p:sp>
      <p:cxnSp>
        <p:nvCxnSpPr>
          <p:cNvPr id="57" name="Straight Connector 56">
            <a:extLst>
              <a:ext uri="{FF2B5EF4-FFF2-40B4-BE49-F238E27FC236}">
                <a16:creationId xmlns:a16="http://schemas.microsoft.com/office/drawing/2014/main" id="{FBB97904-FF54-B845-AD94-E83133C280FB}"/>
              </a:ext>
            </a:extLst>
          </p:cNvPr>
          <p:cNvCxnSpPr>
            <a:cxnSpLocks/>
          </p:cNvCxnSpPr>
          <p:nvPr userDrawn="1"/>
        </p:nvCxnSpPr>
        <p:spPr>
          <a:xfrm flipV="1">
            <a:off x="398774" y="1577076"/>
            <a:ext cx="8348336"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38EF49A5-9AC8-0347-B1F1-C2371E71FFF5}"/>
              </a:ext>
            </a:extLst>
          </p:cNvPr>
          <p:cNvSpPr/>
          <p:nvPr userDrawn="1"/>
        </p:nvSpPr>
        <p:spPr>
          <a:xfrm>
            <a:off x="624000" y="1824055"/>
            <a:ext cx="1080000" cy="1080000"/>
          </a:xfrm>
          <a:prstGeom prst="ellipse">
            <a:avLst/>
          </a:prstGeom>
          <a:gradFill>
            <a:gsLst>
              <a:gs pos="100000">
                <a:schemeClr val="accent4"/>
              </a:gs>
              <a:gs pos="0">
                <a:schemeClr val="accent6">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ea typeface="+mn-ea"/>
              <a:cs typeface="+mn-cs"/>
            </a:endParaRPr>
          </a:p>
        </p:txBody>
      </p:sp>
      <p:sp>
        <p:nvSpPr>
          <p:cNvPr id="59" name="Oval 58">
            <a:extLst>
              <a:ext uri="{FF2B5EF4-FFF2-40B4-BE49-F238E27FC236}">
                <a16:creationId xmlns:a16="http://schemas.microsoft.com/office/drawing/2014/main" id="{015136F0-B4E4-5C48-BDA1-69C95852B702}"/>
              </a:ext>
            </a:extLst>
          </p:cNvPr>
          <p:cNvSpPr/>
          <p:nvPr userDrawn="1"/>
        </p:nvSpPr>
        <p:spPr>
          <a:xfrm>
            <a:off x="4032000" y="1824055"/>
            <a:ext cx="1080000" cy="1080000"/>
          </a:xfrm>
          <a:prstGeom prst="ellipse">
            <a:avLst/>
          </a:prstGeom>
          <a:gradFill>
            <a:gsLst>
              <a:gs pos="100000">
                <a:srgbClr val="5447AE"/>
              </a:gs>
              <a:gs pos="8000">
                <a:srgbClr val="DB3856"/>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ea typeface="+mn-ea"/>
              <a:cs typeface="+mn-cs"/>
            </a:endParaRPr>
          </a:p>
        </p:txBody>
      </p:sp>
      <p:sp>
        <p:nvSpPr>
          <p:cNvPr id="60" name="Oval 59">
            <a:extLst>
              <a:ext uri="{FF2B5EF4-FFF2-40B4-BE49-F238E27FC236}">
                <a16:creationId xmlns:a16="http://schemas.microsoft.com/office/drawing/2014/main" id="{1697770E-B0E0-C94C-90F7-662B2DD4ECD6}"/>
              </a:ext>
            </a:extLst>
          </p:cNvPr>
          <p:cNvSpPr/>
          <p:nvPr userDrawn="1"/>
        </p:nvSpPr>
        <p:spPr>
          <a:xfrm>
            <a:off x="2328000" y="1824055"/>
            <a:ext cx="1080000" cy="1080000"/>
          </a:xfrm>
          <a:prstGeom prst="ellipse">
            <a:avLst/>
          </a:prstGeom>
          <a:gradFill flip="none" rotWithShape="1">
            <a:gsLst>
              <a:gs pos="0">
                <a:schemeClr val="accent4"/>
              </a:gs>
              <a:gs pos="94000">
                <a:srgbClr val="DB3856"/>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ea typeface="+mn-ea"/>
              <a:cs typeface="+mn-cs"/>
            </a:endParaRPr>
          </a:p>
        </p:txBody>
      </p:sp>
      <p:sp>
        <p:nvSpPr>
          <p:cNvPr id="68" name="Content Placeholder 67">
            <a:extLst>
              <a:ext uri="{FF2B5EF4-FFF2-40B4-BE49-F238E27FC236}">
                <a16:creationId xmlns:a16="http://schemas.microsoft.com/office/drawing/2014/main" id="{8DAA14FF-D78C-EC48-BDE7-92FFEDE2BB9B}"/>
              </a:ext>
            </a:extLst>
          </p:cNvPr>
          <p:cNvSpPr>
            <a:spLocks noGrp="1"/>
          </p:cNvSpPr>
          <p:nvPr>
            <p:ph sz="quarter" idx="16" hasCustomPrompt="1"/>
          </p:nvPr>
        </p:nvSpPr>
        <p:spPr>
          <a:xfrm>
            <a:off x="6857685" y="267891"/>
            <a:ext cx="1903810" cy="284559"/>
          </a:xfrm>
          <a:prstGeom prst="roundRect">
            <a:avLst/>
          </a:prstGeom>
          <a:ln cap="rnd">
            <a:noFill/>
            <a:miter lim="800000"/>
          </a:ln>
        </p:spPr>
        <p:txBody>
          <a:bodyPr anchor="ctr" anchorCtr="0">
            <a:normAutofit/>
          </a:bodyPr>
          <a:lstStyle>
            <a:lvl1pPr marL="0" indent="0" algn="ctr">
              <a:buNone/>
              <a:defRPr sz="1200">
                <a:solidFill>
                  <a:schemeClr val="bg1"/>
                </a:solidFill>
              </a:defRPr>
            </a:lvl1pPr>
          </a:lstStyle>
          <a:p>
            <a:pPr lvl="0"/>
            <a:r>
              <a:rPr lang="en-US" sz="1200" dirty="0"/>
              <a:t>Add Capability</a:t>
            </a:r>
            <a:endParaRPr lang="en-US" dirty="0"/>
          </a:p>
        </p:txBody>
      </p:sp>
      <p:sp>
        <p:nvSpPr>
          <p:cNvPr id="70" name="Content Placeholder 69">
            <a:extLst>
              <a:ext uri="{FF2B5EF4-FFF2-40B4-BE49-F238E27FC236}">
                <a16:creationId xmlns:a16="http://schemas.microsoft.com/office/drawing/2014/main" id="{484829BB-47D4-6B4E-ADB9-78D613A73780}"/>
              </a:ext>
            </a:extLst>
          </p:cNvPr>
          <p:cNvSpPr>
            <a:spLocks noGrp="1"/>
          </p:cNvSpPr>
          <p:nvPr>
            <p:ph sz="quarter" idx="17" hasCustomPrompt="1"/>
          </p:nvPr>
        </p:nvSpPr>
        <p:spPr>
          <a:xfrm>
            <a:off x="398860" y="817960"/>
            <a:ext cx="8346366" cy="759619"/>
          </a:xfrm>
        </p:spPr>
        <p:txBody>
          <a:bodyPr numCol="2">
            <a:normAutofit/>
          </a:bodyPr>
          <a:lstStyle>
            <a:lvl1pPr marL="0" indent="0">
              <a:buNone/>
              <a:defRPr sz="1050">
                <a:solidFill>
                  <a:schemeClr val="bg1"/>
                </a:solidFill>
              </a:defRPr>
            </a:lvl1pPr>
          </a:lstStyle>
          <a:p>
            <a:pPr lvl="0"/>
            <a:r>
              <a:rPr lang="en-US" sz="1050" dirty="0"/>
              <a:t>Company description and business challenges</a:t>
            </a:r>
            <a:endParaRPr lang="en-US" dirty="0"/>
          </a:p>
        </p:txBody>
      </p:sp>
      <p:sp>
        <p:nvSpPr>
          <p:cNvPr id="71" name="Rounded Rectangle 70">
            <a:extLst>
              <a:ext uri="{FF2B5EF4-FFF2-40B4-BE49-F238E27FC236}">
                <a16:creationId xmlns:a16="http://schemas.microsoft.com/office/drawing/2014/main" id="{F9D05494-22EC-654E-9FAB-984585990FCE}"/>
              </a:ext>
            </a:extLst>
          </p:cNvPr>
          <p:cNvSpPr/>
          <p:nvPr userDrawn="1"/>
        </p:nvSpPr>
        <p:spPr>
          <a:xfrm>
            <a:off x="6684746" y="267603"/>
            <a:ext cx="2062364" cy="285125"/>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4" name="Text Placeholder 73">
            <a:extLst>
              <a:ext uri="{FF2B5EF4-FFF2-40B4-BE49-F238E27FC236}">
                <a16:creationId xmlns:a16="http://schemas.microsoft.com/office/drawing/2014/main" id="{D0BB9CF9-FB85-A34A-95FC-BF902B3D5A29}"/>
              </a:ext>
            </a:extLst>
          </p:cNvPr>
          <p:cNvSpPr>
            <a:spLocks noGrp="1"/>
          </p:cNvSpPr>
          <p:nvPr>
            <p:ph type="body" sz="quarter" idx="19" hasCustomPrompt="1"/>
          </p:nvPr>
        </p:nvSpPr>
        <p:spPr>
          <a:xfrm>
            <a:off x="511156" y="3084968"/>
            <a:ext cx="1215413" cy="873919"/>
          </a:xfrm>
        </p:spPr>
        <p:txBody>
          <a:bodyPr>
            <a:normAutofit/>
          </a:bodyPr>
          <a:lstStyle>
            <a:lvl1pPr marL="0" indent="0" algn="ctr">
              <a:buNone/>
              <a:defRPr sz="1200">
                <a:solidFill>
                  <a:schemeClr val="bg1"/>
                </a:solidFill>
                <a:latin typeface="+mj-lt"/>
              </a:defRPr>
            </a:lvl1pPr>
          </a:lstStyle>
          <a:p>
            <a:pPr lvl="0"/>
            <a:r>
              <a:rPr lang="en-US" dirty="0"/>
              <a:t>Bullet 1</a:t>
            </a:r>
          </a:p>
        </p:txBody>
      </p:sp>
      <p:sp>
        <p:nvSpPr>
          <p:cNvPr id="75" name="Text Placeholder 73">
            <a:extLst>
              <a:ext uri="{FF2B5EF4-FFF2-40B4-BE49-F238E27FC236}">
                <a16:creationId xmlns:a16="http://schemas.microsoft.com/office/drawing/2014/main" id="{2FFE5D8F-F425-7B49-ABA6-4168D820586E}"/>
              </a:ext>
            </a:extLst>
          </p:cNvPr>
          <p:cNvSpPr>
            <a:spLocks noGrp="1"/>
          </p:cNvSpPr>
          <p:nvPr>
            <p:ph type="body" sz="quarter" idx="20" hasCustomPrompt="1"/>
          </p:nvPr>
        </p:nvSpPr>
        <p:spPr>
          <a:xfrm>
            <a:off x="2237725" y="3084967"/>
            <a:ext cx="1215413" cy="873919"/>
          </a:xfrm>
        </p:spPr>
        <p:txBody>
          <a:bodyPr>
            <a:normAutofit/>
          </a:bodyPr>
          <a:lstStyle>
            <a:lvl1pPr marL="0" indent="0" algn="ctr">
              <a:buNone/>
              <a:defRPr sz="1200">
                <a:solidFill>
                  <a:schemeClr val="bg1"/>
                </a:solidFill>
                <a:latin typeface="+mj-lt"/>
              </a:defRPr>
            </a:lvl1pPr>
          </a:lstStyle>
          <a:p>
            <a:pPr lvl="0"/>
            <a:r>
              <a:rPr lang="en-US" dirty="0"/>
              <a:t>Bullet 2</a:t>
            </a:r>
          </a:p>
        </p:txBody>
      </p:sp>
      <p:sp>
        <p:nvSpPr>
          <p:cNvPr id="76" name="Text Placeholder 73">
            <a:extLst>
              <a:ext uri="{FF2B5EF4-FFF2-40B4-BE49-F238E27FC236}">
                <a16:creationId xmlns:a16="http://schemas.microsoft.com/office/drawing/2014/main" id="{00E09992-9B6C-8148-981D-5D68A663785F}"/>
              </a:ext>
            </a:extLst>
          </p:cNvPr>
          <p:cNvSpPr>
            <a:spLocks noGrp="1"/>
          </p:cNvSpPr>
          <p:nvPr>
            <p:ph type="body" sz="quarter" idx="21" hasCustomPrompt="1"/>
          </p:nvPr>
        </p:nvSpPr>
        <p:spPr>
          <a:xfrm>
            <a:off x="3964294" y="3081695"/>
            <a:ext cx="1215413" cy="873919"/>
          </a:xfrm>
        </p:spPr>
        <p:txBody>
          <a:bodyPr>
            <a:normAutofit/>
          </a:bodyPr>
          <a:lstStyle>
            <a:lvl1pPr marL="0" indent="0" algn="ctr">
              <a:buNone/>
              <a:defRPr sz="1200">
                <a:solidFill>
                  <a:schemeClr val="bg1"/>
                </a:solidFill>
                <a:latin typeface="+mj-lt"/>
              </a:defRPr>
            </a:lvl1pPr>
          </a:lstStyle>
          <a:p>
            <a:pPr lvl="0"/>
            <a:r>
              <a:rPr lang="en-US" dirty="0"/>
              <a:t>Bullet 3</a:t>
            </a:r>
          </a:p>
        </p:txBody>
      </p:sp>
      <p:sp>
        <p:nvSpPr>
          <p:cNvPr id="78" name="Content Placeholder 77">
            <a:extLst>
              <a:ext uri="{FF2B5EF4-FFF2-40B4-BE49-F238E27FC236}">
                <a16:creationId xmlns:a16="http://schemas.microsoft.com/office/drawing/2014/main" id="{3A8E2DBD-B0F6-594B-A0C6-0EC1F88827D8}"/>
              </a:ext>
            </a:extLst>
          </p:cNvPr>
          <p:cNvSpPr>
            <a:spLocks noGrp="1"/>
          </p:cNvSpPr>
          <p:nvPr>
            <p:ph sz="quarter" idx="22" hasCustomPrompt="1"/>
          </p:nvPr>
        </p:nvSpPr>
        <p:spPr>
          <a:xfrm>
            <a:off x="1108702" y="4353174"/>
            <a:ext cx="7045469" cy="230897"/>
          </a:xfrm>
        </p:spPr>
        <p:txBody>
          <a:bodyPr anchor="ctr" anchorCtr="0">
            <a:spAutoFit/>
          </a:bodyPr>
          <a:lstStyle>
            <a:lvl1pPr marL="0" indent="0" algn="ctr">
              <a:buNone/>
              <a:defRPr sz="1050">
                <a:solidFill>
                  <a:schemeClr val="bg1"/>
                </a:solidFill>
              </a:defRPr>
            </a:lvl1pPr>
          </a:lstStyle>
          <a:p>
            <a:pPr lvl="0"/>
            <a:r>
              <a:rPr lang="en-US" sz="1050" dirty="0"/>
              <a:t>Add customer quote</a:t>
            </a:r>
            <a:endParaRPr lang="en-US" dirty="0"/>
          </a:p>
        </p:txBody>
      </p:sp>
      <p:sp>
        <p:nvSpPr>
          <p:cNvPr id="79" name="Content Placeholder 77">
            <a:extLst>
              <a:ext uri="{FF2B5EF4-FFF2-40B4-BE49-F238E27FC236}">
                <a16:creationId xmlns:a16="http://schemas.microsoft.com/office/drawing/2014/main" id="{AD6540DC-4312-764B-9E23-59F314C67A82}"/>
              </a:ext>
            </a:extLst>
          </p:cNvPr>
          <p:cNvSpPr>
            <a:spLocks noGrp="1"/>
          </p:cNvSpPr>
          <p:nvPr>
            <p:ph sz="quarter" idx="23" hasCustomPrompt="1"/>
          </p:nvPr>
        </p:nvSpPr>
        <p:spPr>
          <a:xfrm>
            <a:off x="1108702" y="4562809"/>
            <a:ext cx="7045469" cy="257975"/>
          </a:xfrm>
        </p:spPr>
        <p:txBody>
          <a:bodyPr anchor="ctr" anchorCtr="0">
            <a:noAutofit/>
          </a:bodyPr>
          <a:lstStyle>
            <a:lvl1pPr marL="0" indent="0" algn="ctr">
              <a:buNone/>
              <a:defRPr sz="975" i="1">
                <a:solidFill>
                  <a:schemeClr val="bg1"/>
                </a:solidFill>
              </a:defRPr>
            </a:lvl1pPr>
          </a:lstStyle>
          <a:p>
            <a:pPr lvl="0"/>
            <a:r>
              <a:rPr lang="en-US" sz="1050" dirty="0"/>
              <a:t>Add customer name</a:t>
            </a:r>
            <a:endParaRPr lang="en-US" dirty="0"/>
          </a:p>
        </p:txBody>
      </p:sp>
      <p:sp>
        <p:nvSpPr>
          <p:cNvPr id="80" name="Oval 79">
            <a:extLst>
              <a:ext uri="{FF2B5EF4-FFF2-40B4-BE49-F238E27FC236}">
                <a16:creationId xmlns:a16="http://schemas.microsoft.com/office/drawing/2014/main" id="{64A2A0F8-D0FF-1344-9EA0-8EED7AFC24A7}"/>
              </a:ext>
            </a:extLst>
          </p:cNvPr>
          <p:cNvSpPr/>
          <p:nvPr userDrawn="1"/>
        </p:nvSpPr>
        <p:spPr>
          <a:xfrm>
            <a:off x="7440000" y="1824055"/>
            <a:ext cx="1080000" cy="1080000"/>
          </a:xfrm>
          <a:prstGeom prst="ellipse">
            <a:avLst/>
          </a:prstGeom>
          <a:gradFill flip="none" rotWithShape="1">
            <a:gsLst>
              <a:gs pos="100000">
                <a:srgbClr val="2F90EC"/>
              </a:gs>
              <a:gs pos="0">
                <a:srgbClr val="5447A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ea typeface="+mn-ea"/>
              <a:cs typeface="+mn-cs"/>
            </a:endParaRPr>
          </a:p>
        </p:txBody>
      </p:sp>
      <p:sp>
        <p:nvSpPr>
          <p:cNvPr id="82" name="Text Placeholder 73">
            <a:extLst>
              <a:ext uri="{FF2B5EF4-FFF2-40B4-BE49-F238E27FC236}">
                <a16:creationId xmlns:a16="http://schemas.microsoft.com/office/drawing/2014/main" id="{E3809F1B-1503-374C-B026-DDF08E610381}"/>
              </a:ext>
            </a:extLst>
          </p:cNvPr>
          <p:cNvSpPr>
            <a:spLocks noGrp="1"/>
          </p:cNvSpPr>
          <p:nvPr>
            <p:ph type="body" sz="quarter" idx="24" hasCustomPrompt="1"/>
          </p:nvPr>
        </p:nvSpPr>
        <p:spPr>
          <a:xfrm>
            <a:off x="5690863" y="3069093"/>
            <a:ext cx="1215413" cy="885218"/>
          </a:xfrm>
        </p:spPr>
        <p:txBody>
          <a:bodyPr>
            <a:normAutofit/>
          </a:bodyPr>
          <a:lstStyle>
            <a:lvl1pPr marL="0" indent="0" algn="ctr">
              <a:buNone/>
              <a:defRPr sz="1200">
                <a:solidFill>
                  <a:schemeClr val="bg1"/>
                </a:solidFill>
                <a:latin typeface="+mj-lt"/>
              </a:defRPr>
            </a:lvl1pPr>
          </a:lstStyle>
          <a:p>
            <a:pPr lvl="0"/>
            <a:r>
              <a:rPr lang="en-US" dirty="0"/>
              <a:t>Bullet 4</a:t>
            </a:r>
          </a:p>
        </p:txBody>
      </p:sp>
      <p:sp>
        <p:nvSpPr>
          <p:cNvPr id="83" name="Oval 82">
            <a:extLst>
              <a:ext uri="{FF2B5EF4-FFF2-40B4-BE49-F238E27FC236}">
                <a16:creationId xmlns:a16="http://schemas.microsoft.com/office/drawing/2014/main" id="{BE92F7DD-FBFC-B84C-B876-17F476E56952}"/>
              </a:ext>
            </a:extLst>
          </p:cNvPr>
          <p:cNvSpPr/>
          <p:nvPr userDrawn="1"/>
        </p:nvSpPr>
        <p:spPr>
          <a:xfrm>
            <a:off x="5736000" y="1824055"/>
            <a:ext cx="1080000" cy="1080000"/>
          </a:xfrm>
          <a:prstGeom prst="ellipse">
            <a:avLst/>
          </a:prstGeom>
          <a:gradFill>
            <a:gsLst>
              <a:gs pos="0">
                <a:srgbClr val="8E2F8A"/>
              </a:gs>
              <a:gs pos="100000">
                <a:srgbClr val="5447AE"/>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74BE"/>
              </a:solidFill>
              <a:effectLst/>
              <a:uLnTx/>
              <a:uFillTx/>
              <a:ea typeface="+mn-ea"/>
              <a:cs typeface="+mn-cs"/>
            </a:endParaRPr>
          </a:p>
        </p:txBody>
      </p:sp>
      <p:sp>
        <p:nvSpPr>
          <p:cNvPr id="84" name="Text Placeholder 73">
            <a:extLst>
              <a:ext uri="{FF2B5EF4-FFF2-40B4-BE49-F238E27FC236}">
                <a16:creationId xmlns:a16="http://schemas.microsoft.com/office/drawing/2014/main" id="{90E325DB-2FC5-4645-9257-DE3B383D6034}"/>
              </a:ext>
            </a:extLst>
          </p:cNvPr>
          <p:cNvSpPr>
            <a:spLocks noGrp="1"/>
          </p:cNvSpPr>
          <p:nvPr>
            <p:ph type="body" sz="quarter" idx="25" hasCustomPrompt="1"/>
          </p:nvPr>
        </p:nvSpPr>
        <p:spPr>
          <a:xfrm>
            <a:off x="7417432" y="3082705"/>
            <a:ext cx="1215413" cy="885218"/>
          </a:xfrm>
        </p:spPr>
        <p:txBody>
          <a:bodyPr>
            <a:normAutofit/>
          </a:bodyPr>
          <a:lstStyle>
            <a:lvl1pPr marL="0" indent="0" algn="ctr">
              <a:buNone/>
              <a:defRPr sz="1200">
                <a:solidFill>
                  <a:schemeClr val="bg1"/>
                </a:solidFill>
                <a:latin typeface="+mj-lt"/>
              </a:defRPr>
            </a:lvl1pPr>
          </a:lstStyle>
          <a:p>
            <a:pPr lvl="0"/>
            <a:r>
              <a:rPr lang="en-US" dirty="0"/>
              <a:t>Bullet 5</a:t>
            </a:r>
          </a:p>
        </p:txBody>
      </p:sp>
    </p:spTree>
    <p:extLst>
      <p:ext uri="{BB962C8B-B14F-4D97-AF65-F5344CB8AC3E}">
        <p14:creationId xmlns:p14="http://schemas.microsoft.com/office/powerpoint/2010/main" val="627619138"/>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9485DC0-C399-4290-906A-7FE62381CE9E}"/>
              </a:ext>
            </a:extLst>
          </p:cNvPr>
          <p:cNvGrpSpPr/>
          <p:nvPr userDrawn="1"/>
        </p:nvGrpSpPr>
        <p:grpSpPr>
          <a:xfrm>
            <a:off x="-1931" y="0"/>
            <a:ext cx="9144000" cy="5143503"/>
            <a:chOff x="-4657" y="-3"/>
            <a:chExt cx="9144000" cy="5143503"/>
          </a:xfrm>
        </p:grpSpPr>
        <p:sp>
          <p:nvSpPr>
            <p:cNvPr id="8" name="Rectangle 7">
              <a:extLst>
                <a:ext uri="{FF2B5EF4-FFF2-40B4-BE49-F238E27FC236}">
                  <a16:creationId xmlns:a16="http://schemas.microsoft.com/office/drawing/2014/main" id="{9D08E41B-F394-4D7B-9C79-9F8F15E3C4B3}"/>
                </a:ext>
              </a:extLst>
            </p:cNvPr>
            <p:cNvSpPr/>
            <p:nvPr/>
          </p:nvSpPr>
          <p:spPr>
            <a:xfrm>
              <a:off x="-4657" y="-3"/>
              <a:ext cx="9144000" cy="5143500"/>
            </a:xfrm>
            <a:prstGeom prst="rect">
              <a:avLst/>
            </a:prstGeom>
            <a:solidFill>
              <a:srgbClr val="00233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dirty="0">
                <a:solidFill>
                  <a:schemeClr val="accent1"/>
                </a:solidFill>
              </a:endParaRPr>
            </a:p>
          </p:txBody>
        </p:sp>
        <p:pic>
          <p:nvPicPr>
            <p:cNvPr id="9" name="Picture 8" descr="A close up of a logo&#10;&#10;Description automatically generated">
              <a:extLst>
                <a:ext uri="{FF2B5EF4-FFF2-40B4-BE49-F238E27FC236}">
                  <a16:creationId xmlns:a16="http://schemas.microsoft.com/office/drawing/2014/main" id="{6FC26874-D1F4-48DC-8BA1-16DEC130E847}"/>
                </a:ext>
              </a:extLst>
            </p:cNvPr>
            <p:cNvPicPr>
              <a:picLocks noChangeAspect="1"/>
            </p:cNvPicPr>
            <p:nvPr/>
          </p:nvPicPr>
          <p:blipFill rotWithShape="1">
            <a:blip r:embed="rId2" cstate="print">
              <a:alphaModFix amt="20000"/>
              <a:extLst>
                <a:ext uri="{28A0092B-C50C-407E-A947-70E740481C1C}">
                  <a14:useLocalDpi xmlns:a14="http://schemas.microsoft.com/office/drawing/2010/main" val="0"/>
                </a:ext>
              </a:extLst>
            </a:blip>
            <a:srcRect l="19283" b="12812"/>
            <a:stretch/>
          </p:blipFill>
          <p:spPr>
            <a:xfrm>
              <a:off x="4657" y="3237978"/>
              <a:ext cx="5292246" cy="1905522"/>
            </a:xfrm>
            <a:prstGeom prst="rect">
              <a:avLst/>
            </a:prstGeom>
          </p:spPr>
        </p:pic>
        <p:sp>
          <p:nvSpPr>
            <p:cNvPr id="12" name="TextBox 4">
              <a:extLst>
                <a:ext uri="{FF2B5EF4-FFF2-40B4-BE49-F238E27FC236}">
                  <a16:creationId xmlns:a16="http://schemas.microsoft.com/office/drawing/2014/main" id="{8EEC03AF-A175-4822-9B18-DD2E574D7CB5}"/>
                </a:ext>
              </a:extLst>
            </p:cNvPr>
            <p:cNvSpPr txBox="1"/>
            <p:nvPr/>
          </p:nvSpPr>
          <p:spPr>
            <a:xfrm>
              <a:off x="3310128" y="4941553"/>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alpha val="50000"/>
                    </a:schemeClr>
                  </a:solidFill>
                  <a:effectLst/>
                  <a:uLnTx/>
                  <a:uFillTx/>
                  <a:latin typeface="+mn-lt"/>
                  <a:ea typeface="Calibri" charset="0"/>
                  <a:cs typeface="Arial" panose="020B0604020202020204" pitchFamily="34" charset="0"/>
                </a:rPr>
                <a:t>Copyright © SAS Institute Inc. All rights reserved.</a:t>
              </a:r>
            </a:p>
          </p:txBody>
        </p:sp>
        <p:pic>
          <p:nvPicPr>
            <p:cNvPr id="13" name="Picture 12">
              <a:extLst>
                <a:ext uri="{FF2B5EF4-FFF2-40B4-BE49-F238E27FC236}">
                  <a16:creationId xmlns:a16="http://schemas.microsoft.com/office/drawing/2014/main" id="{4C071CEA-AE98-44D3-A3F3-7DF9329B9B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98951" y="4750173"/>
              <a:ext cx="436472" cy="180671"/>
            </a:xfrm>
            <a:prstGeom prst="rect">
              <a:avLst/>
            </a:prstGeom>
          </p:spPr>
        </p:pic>
      </p:grpSp>
      <p:sp>
        <p:nvSpPr>
          <p:cNvPr id="63" name="Text Placeholder 62">
            <a:extLst>
              <a:ext uri="{FF2B5EF4-FFF2-40B4-BE49-F238E27FC236}">
                <a16:creationId xmlns:a16="http://schemas.microsoft.com/office/drawing/2014/main" id="{2E5D70AF-E7F0-2E44-896B-A1AA972D1BEB}"/>
              </a:ext>
            </a:extLst>
          </p:cNvPr>
          <p:cNvSpPr>
            <a:spLocks noGrp="1"/>
          </p:cNvSpPr>
          <p:nvPr>
            <p:ph type="body" sz="quarter" idx="15" hasCustomPrompt="1"/>
          </p:nvPr>
        </p:nvSpPr>
        <p:spPr>
          <a:xfrm>
            <a:off x="344591" y="268428"/>
            <a:ext cx="8573691" cy="472678"/>
          </a:xfrm>
        </p:spPr>
        <p:txBody>
          <a:bodyPr/>
          <a:lstStyle>
            <a:lvl1pPr marL="0" indent="0">
              <a:buNone/>
              <a:defRPr sz="2400" b="1">
                <a:solidFill>
                  <a:schemeClr val="bg1"/>
                </a:solidFill>
              </a:defRPr>
            </a:lvl1pPr>
          </a:lstStyle>
          <a:p>
            <a:pPr lvl="0"/>
            <a:r>
              <a:rPr lang="en-US" dirty="0"/>
              <a:t>Company Name</a:t>
            </a:r>
          </a:p>
        </p:txBody>
      </p:sp>
      <p:sp>
        <p:nvSpPr>
          <p:cNvPr id="55" name="Rectangle: Top Corners Rounded 57">
            <a:extLst>
              <a:ext uri="{FF2B5EF4-FFF2-40B4-BE49-F238E27FC236}">
                <a16:creationId xmlns:a16="http://schemas.microsoft.com/office/drawing/2014/main" id="{5E28E649-30B4-FA45-8B3E-9E0F87C27356}"/>
              </a:ext>
            </a:extLst>
          </p:cNvPr>
          <p:cNvSpPr/>
          <p:nvPr userDrawn="1"/>
        </p:nvSpPr>
        <p:spPr>
          <a:xfrm rot="16200000" flipH="1">
            <a:off x="6129676" y="-161653"/>
            <a:ext cx="285124" cy="1143636"/>
          </a:xfrm>
          <a:prstGeom prst="round2SameRect">
            <a:avLst/>
          </a:prstGeom>
          <a:solidFill>
            <a:schemeClr val="bg1"/>
          </a:solidFill>
          <a:ln>
            <a:solidFill>
              <a:schemeClr val="bg1">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580" tIns="34290" rIns="68580" bIns="34290" numCol="1" spcCol="0" rtlCol="0" fromWordArt="0" anchor="ctr" anchorCtr="0" forceAA="0" compatLnSpc="1">
            <a:prstTxWarp prst="textNoShape">
              <a:avLst/>
            </a:prstTxWarp>
            <a:noAutofit/>
          </a:bodyPr>
          <a:lstStyle/>
          <a:p>
            <a:pPr algn="ctr"/>
            <a:r>
              <a:rPr lang="en-GB" sz="1200" dirty="0">
                <a:solidFill>
                  <a:srgbClr val="084164"/>
                </a:solidFill>
                <a:ea typeface="Roboto" panose="02000000000000000000" pitchFamily="2" charset="0"/>
                <a:cs typeface="Calibri" panose="020F0502020204030204" pitchFamily="34" charset="0"/>
              </a:rPr>
              <a:t>Key Capability:</a:t>
            </a:r>
          </a:p>
        </p:txBody>
      </p:sp>
      <p:cxnSp>
        <p:nvCxnSpPr>
          <p:cNvPr id="57" name="Straight Connector 56">
            <a:extLst>
              <a:ext uri="{FF2B5EF4-FFF2-40B4-BE49-F238E27FC236}">
                <a16:creationId xmlns:a16="http://schemas.microsoft.com/office/drawing/2014/main" id="{FBB97904-FF54-B845-AD94-E83133C280FB}"/>
              </a:ext>
            </a:extLst>
          </p:cNvPr>
          <p:cNvCxnSpPr>
            <a:cxnSpLocks/>
          </p:cNvCxnSpPr>
          <p:nvPr userDrawn="1"/>
        </p:nvCxnSpPr>
        <p:spPr>
          <a:xfrm flipV="1">
            <a:off x="398774" y="1577076"/>
            <a:ext cx="8348336" cy="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Oval 57">
            <a:extLst>
              <a:ext uri="{FF2B5EF4-FFF2-40B4-BE49-F238E27FC236}">
                <a16:creationId xmlns:a16="http://schemas.microsoft.com/office/drawing/2014/main" id="{38EF49A5-9AC8-0347-B1F1-C2371E71FFF5}"/>
              </a:ext>
            </a:extLst>
          </p:cNvPr>
          <p:cNvSpPr/>
          <p:nvPr userDrawn="1"/>
        </p:nvSpPr>
        <p:spPr>
          <a:xfrm>
            <a:off x="624000" y="1824055"/>
            <a:ext cx="1080000" cy="1080000"/>
          </a:xfrm>
          <a:prstGeom prst="ellipse">
            <a:avLst/>
          </a:prstGeom>
          <a:gradFill>
            <a:gsLst>
              <a:gs pos="100000">
                <a:schemeClr val="accent4"/>
              </a:gs>
              <a:gs pos="0">
                <a:schemeClr val="accent6">
                  <a:lumMod val="75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ea typeface="+mn-ea"/>
              <a:cs typeface="+mn-cs"/>
            </a:endParaRPr>
          </a:p>
        </p:txBody>
      </p:sp>
      <p:sp>
        <p:nvSpPr>
          <p:cNvPr id="59" name="Oval 58">
            <a:extLst>
              <a:ext uri="{FF2B5EF4-FFF2-40B4-BE49-F238E27FC236}">
                <a16:creationId xmlns:a16="http://schemas.microsoft.com/office/drawing/2014/main" id="{015136F0-B4E4-5C48-BDA1-69C95852B702}"/>
              </a:ext>
            </a:extLst>
          </p:cNvPr>
          <p:cNvSpPr/>
          <p:nvPr userDrawn="1"/>
        </p:nvSpPr>
        <p:spPr>
          <a:xfrm>
            <a:off x="4032000" y="1824055"/>
            <a:ext cx="1080000" cy="1080000"/>
          </a:xfrm>
          <a:prstGeom prst="ellipse">
            <a:avLst/>
          </a:prstGeom>
          <a:gradFill>
            <a:gsLst>
              <a:gs pos="100000">
                <a:srgbClr val="5447AE"/>
              </a:gs>
              <a:gs pos="8000">
                <a:srgbClr val="DB3856"/>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ea typeface="+mn-ea"/>
              <a:cs typeface="+mn-cs"/>
            </a:endParaRPr>
          </a:p>
        </p:txBody>
      </p:sp>
      <p:sp>
        <p:nvSpPr>
          <p:cNvPr id="60" name="Oval 59">
            <a:extLst>
              <a:ext uri="{FF2B5EF4-FFF2-40B4-BE49-F238E27FC236}">
                <a16:creationId xmlns:a16="http://schemas.microsoft.com/office/drawing/2014/main" id="{1697770E-B0E0-C94C-90F7-662B2DD4ECD6}"/>
              </a:ext>
            </a:extLst>
          </p:cNvPr>
          <p:cNvSpPr/>
          <p:nvPr userDrawn="1"/>
        </p:nvSpPr>
        <p:spPr>
          <a:xfrm>
            <a:off x="2328000" y="1824055"/>
            <a:ext cx="1080000" cy="1080000"/>
          </a:xfrm>
          <a:prstGeom prst="ellipse">
            <a:avLst/>
          </a:prstGeom>
          <a:gradFill flip="none" rotWithShape="1">
            <a:gsLst>
              <a:gs pos="0">
                <a:schemeClr val="accent4"/>
              </a:gs>
              <a:gs pos="94000">
                <a:srgbClr val="DB3856"/>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ea typeface="+mn-ea"/>
              <a:cs typeface="+mn-cs"/>
            </a:endParaRPr>
          </a:p>
        </p:txBody>
      </p:sp>
      <p:sp>
        <p:nvSpPr>
          <p:cNvPr id="68" name="Content Placeholder 67">
            <a:extLst>
              <a:ext uri="{FF2B5EF4-FFF2-40B4-BE49-F238E27FC236}">
                <a16:creationId xmlns:a16="http://schemas.microsoft.com/office/drawing/2014/main" id="{8DAA14FF-D78C-EC48-BDE7-92FFEDE2BB9B}"/>
              </a:ext>
            </a:extLst>
          </p:cNvPr>
          <p:cNvSpPr>
            <a:spLocks noGrp="1"/>
          </p:cNvSpPr>
          <p:nvPr>
            <p:ph sz="quarter" idx="16" hasCustomPrompt="1"/>
          </p:nvPr>
        </p:nvSpPr>
        <p:spPr>
          <a:xfrm>
            <a:off x="6857685" y="267891"/>
            <a:ext cx="1903810" cy="284559"/>
          </a:xfrm>
          <a:prstGeom prst="roundRect">
            <a:avLst/>
          </a:prstGeom>
          <a:ln cap="rnd">
            <a:noFill/>
            <a:miter lim="800000"/>
          </a:ln>
        </p:spPr>
        <p:txBody>
          <a:bodyPr anchor="ctr" anchorCtr="0">
            <a:normAutofit/>
          </a:bodyPr>
          <a:lstStyle>
            <a:lvl1pPr marL="0" indent="0" algn="ctr">
              <a:buNone/>
              <a:defRPr sz="1200">
                <a:solidFill>
                  <a:schemeClr val="bg1"/>
                </a:solidFill>
              </a:defRPr>
            </a:lvl1pPr>
          </a:lstStyle>
          <a:p>
            <a:pPr lvl="0"/>
            <a:r>
              <a:rPr lang="en-US" sz="1200" dirty="0"/>
              <a:t>Add Capability</a:t>
            </a:r>
            <a:endParaRPr lang="en-US" dirty="0"/>
          </a:p>
        </p:txBody>
      </p:sp>
      <p:sp>
        <p:nvSpPr>
          <p:cNvPr id="70" name="Content Placeholder 69">
            <a:extLst>
              <a:ext uri="{FF2B5EF4-FFF2-40B4-BE49-F238E27FC236}">
                <a16:creationId xmlns:a16="http://schemas.microsoft.com/office/drawing/2014/main" id="{484829BB-47D4-6B4E-ADB9-78D613A73780}"/>
              </a:ext>
            </a:extLst>
          </p:cNvPr>
          <p:cNvSpPr>
            <a:spLocks noGrp="1"/>
          </p:cNvSpPr>
          <p:nvPr>
            <p:ph sz="quarter" idx="17" hasCustomPrompt="1"/>
          </p:nvPr>
        </p:nvSpPr>
        <p:spPr>
          <a:xfrm>
            <a:off x="398860" y="817960"/>
            <a:ext cx="8346366" cy="759619"/>
          </a:xfrm>
        </p:spPr>
        <p:txBody>
          <a:bodyPr numCol="2">
            <a:normAutofit/>
          </a:bodyPr>
          <a:lstStyle>
            <a:lvl1pPr marL="0" indent="0">
              <a:buNone/>
              <a:defRPr sz="1050">
                <a:solidFill>
                  <a:schemeClr val="bg1"/>
                </a:solidFill>
              </a:defRPr>
            </a:lvl1pPr>
          </a:lstStyle>
          <a:p>
            <a:pPr lvl="0"/>
            <a:r>
              <a:rPr lang="en-US" sz="1050" dirty="0"/>
              <a:t>Company description and business challenges</a:t>
            </a:r>
            <a:endParaRPr lang="en-US" dirty="0"/>
          </a:p>
        </p:txBody>
      </p:sp>
      <p:sp>
        <p:nvSpPr>
          <p:cNvPr id="71" name="Rounded Rectangle 70">
            <a:extLst>
              <a:ext uri="{FF2B5EF4-FFF2-40B4-BE49-F238E27FC236}">
                <a16:creationId xmlns:a16="http://schemas.microsoft.com/office/drawing/2014/main" id="{F9D05494-22EC-654E-9FAB-984585990FCE}"/>
              </a:ext>
            </a:extLst>
          </p:cNvPr>
          <p:cNvSpPr/>
          <p:nvPr userDrawn="1"/>
        </p:nvSpPr>
        <p:spPr>
          <a:xfrm>
            <a:off x="6684746" y="267603"/>
            <a:ext cx="2062364" cy="285125"/>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74" name="Text Placeholder 73">
            <a:extLst>
              <a:ext uri="{FF2B5EF4-FFF2-40B4-BE49-F238E27FC236}">
                <a16:creationId xmlns:a16="http://schemas.microsoft.com/office/drawing/2014/main" id="{D0BB9CF9-FB85-A34A-95FC-BF902B3D5A29}"/>
              </a:ext>
            </a:extLst>
          </p:cNvPr>
          <p:cNvSpPr>
            <a:spLocks noGrp="1"/>
          </p:cNvSpPr>
          <p:nvPr>
            <p:ph type="body" sz="quarter" idx="19" hasCustomPrompt="1"/>
          </p:nvPr>
        </p:nvSpPr>
        <p:spPr>
          <a:xfrm>
            <a:off x="511156" y="3084968"/>
            <a:ext cx="1215413" cy="873919"/>
          </a:xfrm>
        </p:spPr>
        <p:txBody>
          <a:bodyPr>
            <a:normAutofit/>
          </a:bodyPr>
          <a:lstStyle>
            <a:lvl1pPr marL="0" indent="0" algn="ctr">
              <a:buNone/>
              <a:defRPr sz="1200">
                <a:solidFill>
                  <a:schemeClr val="bg1"/>
                </a:solidFill>
                <a:latin typeface="+mj-lt"/>
              </a:defRPr>
            </a:lvl1pPr>
          </a:lstStyle>
          <a:p>
            <a:pPr lvl="0"/>
            <a:r>
              <a:rPr lang="en-US" dirty="0"/>
              <a:t>Bullet 1</a:t>
            </a:r>
          </a:p>
        </p:txBody>
      </p:sp>
      <p:sp>
        <p:nvSpPr>
          <p:cNvPr id="75" name="Text Placeholder 73">
            <a:extLst>
              <a:ext uri="{FF2B5EF4-FFF2-40B4-BE49-F238E27FC236}">
                <a16:creationId xmlns:a16="http://schemas.microsoft.com/office/drawing/2014/main" id="{2FFE5D8F-F425-7B49-ABA6-4168D820586E}"/>
              </a:ext>
            </a:extLst>
          </p:cNvPr>
          <p:cNvSpPr>
            <a:spLocks noGrp="1"/>
          </p:cNvSpPr>
          <p:nvPr>
            <p:ph type="body" sz="quarter" idx="20" hasCustomPrompt="1"/>
          </p:nvPr>
        </p:nvSpPr>
        <p:spPr>
          <a:xfrm>
            <a:off x="2237725" y="3084967"/>
            <a:ext cx="1215413" cy="873919"/>
          </a:xfrm>
        </p:spPr>
        <p:txBody>
          <a:bodyPr>
            <a:normAutofit/>
          </a:bodyPr>
          <a:lstStyle>
            <a:lvl1pPr marL="0" indent="0" algn="ctr">
              <a:buNone/>
              <a:defRPr sz="1200">
                <a:solidFill>
                  <a:schemeClr val="bg1"/>
                </a:solidFill>
                <a:latin typeface="+mj-lt"/>
              </a:defRPr>
            </a:lvl1pPr>
          </a:lstStyle>
          <a:p>
            <a:pPr lvl="0"/>
            <a:r>
              <a:rPr lang="en-US" dirty="0"/>
              <a:t>Bullet 2</a:t>
            </a:r>
          </a:p>
        </p:txBody>
      </p:sp>
      <p:sp>
        <p:nvSpPr>
          <p:cNvPr id="76" name="Text Placeholder 73">
            <a:extLst>
              <a:ext uri="{FF2B5EF4-FFF2-40B4-BE49-F238E27FC236}">
                <a16:creationId xmlns:a16="http://schemas.microsoft.com/office/drawing/2014/main" id="{00E09992-9B6C-8148-981D-5D68A663785F}"/>
              </a:ext>
            </a:extLst>
          </p:cNvPr>
          <p:cNvSpPr>
            <a:spLocks noGrp="1"/>
          </p:cNvSpPr>
          <p:nvPr>
            <p:ph type="body" sz="quarter" idx="21" hasCustomPrompt="1"/>
          </p:nvPr>
        </p:nvSpPr>
        <p:spPr>
          <a:xfrm>
            <a:off x="3964294" y="3081695"/>
            <a:ext cx="1215413" cy="873919"/>
          </a:xfrm>
        </p:spPr>
        <p:txBody>
          <a:bodyPr>
            <a:normAutofit/>
          </a:bodyPr>
          <a:lstStyle>
            <a:lvl1pPr marL="0" indent="0" algn="ctr">
              <a:buNone/>
              <a:defRPr sz="1200">
                <a:solidFill>
                  <a:schemeClr val="bg1"/>
                </a:solidFill>
                <a:latin typeface="+mj-lt"/>
              </a:defRPr>
            </a:lvl1pPr>
          </a:lstStyle>
          <a:p>
            <a:pPr lvl="0"/>
            <a:r>
              <a:rPr lang="en-US" dirty="0"/>
              <a:t>Bullet 3</a:t>
            </a:r>
          </a:p>
        </p:txBody>
      </p:sp>
      <p:sp>
        <p:nvSpPr>
          <p:cNvPr id="78" name="Content Placeholder 77">
            <a:extLst>
              <a:ext uri="{FF2B5EF4-FFF2-40B4-BE49-F238E27FC236}">
                <a16:creationId xmlns:a16="http://schemas.microsoft.com/office/drawing/2014/main" id="{3A8E2DBD-B0F6-594B-A0C6-0EC1F88827D8}"/>
              </a:ext>
            </a:extLst>
          </p:cNvPr>
          <p:cNvSpPr>
            <a:spLocks noGrp="1"/>
          </p:cNvSpPr>
          <p:nvPr>
            <p:ph sz="quarter" idx="22" hasCustomPrompt="1"/>
          </p:nvPr>
        </p:nvSpPr>
        <p:spPr>
          <a:xfrm>
            <a:off x="1108702" y="4349744"/>
            <a:ext cx="7045469" cy="237757"/>
          </a:xfrm>
        </p:spPr>
        <p:txBody>
          <a:bodyPr anchor="ctr" anchorCtr="0">
            <a:spAutoFit/>
          </a:bodyPr>
          <a:lstStyle>
            <a:lvl1pPr marL="0" indent="0" algn="ctr">
              <a:buNone/>
              <a:defRPr sz="1050">
                <a:solidFill>
                  <a:schemeClr val="bg1"/>
                </a:solidFill>
              </a:defRPr>
            </a:lvl1pPr>
          </a:lstStyle>
          <a:p>
            <a:pPr lvl="0"/>
            <a:r>
              <a:rPr lang="en-US" sz="1050" dirty="0"/>
              <a:t>Add customer quote</a:t>
            </a:r>
            <a:endParaRPr lang="en-US" dirty="0"/>
          </a:p>
        </p:txBody>
      </p:sp>
      <p:sp>
        <p:nvSpPr>
          <p:cNvPr id="79" name="Content Placeholder 77">
            <a:extLst>
              <a:ext uri="{FF2B5EF4-FFF2-40B4-BE49-F238E27FC236}">
                <a16:creationId xmlns:a16="http://schemas.microsoft.com/office/drawing/2014/main" id="{AD6540DC-4312-764B-9E23-59F314C67A82}"/>
              </a:ext>
            </a:extLst>
          </p:cNvPr>
          <p:cNvSpPr>
            <a:spLocks noGrp="1"/>
          </p:cNvSpPr>
          <p:nvPr>
            <p:ph sz="quarter" idx="23" hasCustomPrompt="1"/>
          </p:nvPr>
        </p:nvSpPr>
        <p:spPr>
          <a:xfrm>
            <a:off x="1108702" y="4562809"/>
            <a:ext cx="7045469" cy="257975"/>
          </a:xfrm>
        </p:spPr>
        <p:txBody>
          <a:bodyPr anchor="ctr" anchorCtr="0">
            <a:noAutofit/>
          </a:bodyPr>
          <a:lstStyle>
            <a:lvl1pPr marL="0" indent="0" algn="ctr">
              <a:buNone/>
              <a:defRPr sz="975" i="1">
                <a:solidFill>
                  <a:schemeClr val="bg1"/>
                </a:solidFill>
              </a:defRPr>
            </a:lvl1pPr>
          </a:lstStyle>
          <a:p>
            <a:pPr lvl="0"/>
            <a:r>
              <a:rPr lang="en-US" sz="1050" dirty="0"/>
              <a:t>Add customer name</a:t>
            </a:r>
            <a:endParaRPr lang="en-US" dirty="0"/>
          </a:p>
        </p:txBody>
      </p:sp>
      <p:sp>
        <p:nvSpPr>
          <p:cNvPr id="80" name="Oval 79">
            <a:extLst>
              <a:ext uri="{FF2B5EF4-FFF2-40B4-BE49-F238E27FC236}">
                <a16:creationId xmlns:a16="http://schemas.microsoft.com/office/drawing/2014/main" id="{64A2A0F8-D0FF-1344-9EA0-8EED7AFC24A7}"/>
              </a:ext>
            </a:extLst>
          </p:cNvPr>
          <p:cNvSpPr/>
          <p:nvPr userDrawn="1"/>
        </p:nvSpPr>
        <p:spPr>
          <a:xfrm>
            <a:off x="7440000" y="1824055"/>
            <a:ext cx="1080000" cy="1080000"/>
          </a:xfrm>
          <a:prstGeom prst="ellipse">
            <a:avLst/>
          </a:prstGeom>
          <a:gradFill flip="none" rotWithShape="1">
            <a:gsLst>
              <a:gs pos="100000">
                <a:srgbClr val="2F90EC"/>
              </a:gs>
              <a:gs pos="0">
                <a:srgbClr val="5447A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dirty="0">
              <a:ln>
                <a:noFill/>
              </a:ln>
              <a:solidFill>
                <a:srgbClr val="FFFFFF"/>
              </a:solidFill>
              <a:effectLst/>
              <a:uLnTx/>
              <a:uFillTx/>
              <a:ea typeface="+mn-ea"/>
              <a:cs typeface="+mn-cs"/>
            </a:endParaRPr>
          </a:p>
        </p:txBody>
      </p:sp>
      <p:sp>
        <p:nvSpPr>
          <p:cNvPr id="82" name="Text Placeholder 73">
            <a:extLst>
              <a:ext uri="{FF2B5EF4-FFF2-40B4-BE49-F238E27FC236}">
                <a16:creationId xmlns:a16="http://schemas.microsoft.com/office/drawing/2014/main" id="{E3809F1B-1503-374C-B026-DDF08E610381}"/>
              </a:ext>
            </a:extLst>
          </p:cNvPr>
          <p:cNvSpPr>
            <a:spLocks noGrp="1"/>
          </p:cNvSpPr>
          <p:nvPr>
            <p:ph type="body" sz="quarter" idx="24" hasCustomPrompt="1"/>
          </p:nvPr>
        </p:nvSpPr>
        <p:spPr>
          <a:xfrm>
            <a:off x="5690863" y="3069093"/>
            <a:ext cx="1215413" cy="885218"/>
          </a:xfrm>
        </p:spPr>
        <p:txBody>
          <a:bodyPr>
            <a:normAutofit/>
          </a:bodyPr>
          <a:lstStyle>
            <a:lvl1pPr marL="0" indent="0" algn="ctr">
              <a:buNone/>
              <a:defRPr sz="1200">
                <a:solidFill>
                  <a:schemeClr val="bg1"/>
                </a:solidFill>
                <a:latin typeface="+mj-lt"/>
              </a:defRPr>
            </a:lvl1pPr>
          </a:lstStyle>
          <a:p>
            <a:pPr lvl="0"/>
            <a:r>
              <a:rPr lang="en-US" dirty="0"/>
              <a:t>Bullet 4</a:t>
            </a:r>
          </a:p>
        </p:txBody>
      </p:sp>
      <p:sp>
        <p:nvSpPr>
          <p:cNvPr id="83" name="Oval 82">
            <a:extLst>
              <a:ext uri="{FF2B5EF4-FFF2-40B4-BE49-F238E27FC236}">
                <a16:creationId xmlns:a16="http://schemas.microsoft.com/office/drawing/2014/main" id="{BE92F7DD-FBFC-B84C-B876-17F476E56952}"/>
              </a:ext>
            </a:extLst>
          </p:cNvPr>
          <p:cNvSpPr/>
          <p:nvPr userDrawn="1"/>
        </p:nvSpPr>
        <p:spPr>
          <a:xfrm>
            <a:off x="5736000" y="1824055"/>
            <a:ext cx="1080000" cy="1080000"/>
          </a:xfrm>
          <a:prstGeom prst="ellipse">
            <a:avLst/>
          </a:prstGeom>
          <a:gradFill>
            <a:gsLst>
              <a:gs pos="0">
                <a:srgbClr val="8E2F8A"/>
              </a:gs>
              <a:gs pos="100000">
                <a:srgbClr val="5447AE"/>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74BE"/>
              </a:solidFill>
              <a:effectLst/>
              <a:uLnTx/>
              <a:uFillTx/>
              <a:ea typeface="+mn-ea"/>
              <a:cs typeface="+mn-cs"/>
            </a:endParaRPr>
          </a:p>
        </p:txBody>
      </p:sp>
      <p:sp>
        <p:nvSpPr>
          <p:cNvPr id="84" name="Text Placeholder 73">
            <a:extLst>
              <a:ext uri="{FF2B5EF4-FFF2-40B4-BE49-F238E27FC236}">
                <a16:creationId xmlns:a16="http://schemas.microsoft.com/office/drawing/2014/main" id="{90E325DB-2FC5-4645-9257-DE3B383D6034}"/>
              </a:ext>
            </a:extLst>
          </p:cNvPr>
          <p:cNvSpPr>
            <a:spLocks noGrp="1"/>
          </p:cNvSpPr>
          <p:nvPr>
            <p:ph type="body" sz="quarter" idx="25" hasCustomPrompt="1"/>
          </p:nvPr>
        </p:nvSpPr>
        <p:spPr>
          <a:xfrm>
            <a:off x="7417432" y="3082705"/>
            <a:ext cx="1215413" cy="885218"/>
          </a:xfrm>
        </p:spPr>
        <p:txBody>
          <a:bodyPr>
            <a:normAutofit/>
          </a:bodyPr>
          <a:lstStyle>
            <a:lvl1pPr marL="0" indent="0" algn="ctr">
              <a:buNone/>
              <a:defRPr sz="1200">
                <a:solidFill>
                  <a:schemeClr val="bg1"/>
                </a:solidFill>
                <a:latin typeface="+mj-lt"/>
              </a:defRPr>
            </a:lvl1pPr>
          </a:lstStyle>
          <a:p>
            <a:pPr lvl="0"/>
            <a:r>
              <a:rPr lang="en-US" dirty="0"/>
              <a:t>Bullet 5</a:t>
            </a:r>
          </a:p>
        </p:txBody>
      </p:sp>
    </p:spTree>
    <p:extLst>
      <p:ext uri="{BB962C8B-B14F-4D97-AF65-F5344CB8AC3E}">
        <p14:creationId xmlns:p14="http://schemas.microsoft.com/office/powerpoint/2010/main" val="53269092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SAS - Blue Backgroun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744843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image" Target="../media/image1.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theme" Target="../theme/theme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image" Target="../media/image14.png"/><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image" Target="../media/image1.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ags" Target="../tags/tag47.xml"/><Relationship Id="rId2" Type="http://schemas.openxmlformats.org/officeDocument/2006/relationships/slideLayout" Target="../slideLayouts/slideLayout65.xml"/><Relationship Id="rId16" Type="http://schemas.openxmlformats.org/officeDocument/2006/relationships/theme" Target="../theme/theme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80.xml"/><Relationship Id="rId1"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12" name="Picture 6">
            <a:extLst>
              <a:ext uri="{FF2B5EF4-FFF2-40B4-BE49-F238E27FC236}">
                <a16:creationId xmlns:a16="http://schemas.microsoft.com/office/drawing/2014/main" id="{50908C7C-E096-4B50-9AD8-7AF3F5E717F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411892" y="4746756"/>
            <a:ext cx="558779" cy="253991"/>
          </a:xfrm>
          <a:prstGeom prst="rect">
            <a:avLst/>
          </a:prstGeom>
        </p:spPr>
      </p:pic>
      <p:sp>
        <p:nvSpPr>
          <p:cNvPr id="17" name="TextBox 4">
            <a:extLst>
              <a:ext uri="{FF2B5EF4-FFF2-40B4-BE49-F238E27FC236}">
                <a16:creationId xmlns:a16="http://schemas.microsoft.com/office/drawing/2014/main" id="{1E37FEA7-CA51-4399-92F6-AB705B7FF650}"/>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dirty="0">
                <a:ln>
                  <a:noFill/>
                </a:ln>
                <a:solidFill>
                  <a:schemeClr val="bg1"/>
                </a:solidFill>
                <a:effectLst/>
                <a:uLnTx/>
                <a:uFillTx/>
                <a:latin typeface="+mn-lt"/>
                <a:ea typeface="Calibri" charset="0"/>
                <a:cs typeface="Arial" panose="020B0604020202020204" pitchFamily="34" charset="0"/>
              </a:rPr>
              <a:t>Copyright © SAS Institute Inc. All rights reserved.</a:t>
            </a:r>
          </a:p>
        </p:txBody>
      </p:sp>
      <p:sp>
        <p:nvSpPr>
          <p:cNvPr id="81" name="Freeform 80">
            <a:extLst>
              <a:ext uri="{FF2B5EF4-FFF2-40B4-BE49-F238E27FC236}">
                <a16:creationId xmlns:a16="http://schemas.microsoft.com/office/drawing/2014/main" id="{28E9C9DB-EB60-FD4A-AB5D-86A6DDF93363}"/>
              </a:ext>
            </a:extLst>
          </p:cNvPr>
          <p:cNvSpPr/>
          <p:nvPr/>
        </p:nvSpPr>
        <p:spPr>
          <a:xfrm>
            <a:off x="6717170"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3" name="Freeform 82">
            <a:extLst>
              <a:ext uri="{FF2B5EF4-FFF2-40B4-BE49-F238E27FC236}">
                <a16:creationId xmlns:a16="http://schemas.microsoft.com/office/drawing/2014/main" id="{72DA3650-6307-5742-A8B7-F65D2E045EF9}"/>
              </a:ext>
            </a:extLst>
          </p:cNvPr>
          <p:cNvSpPr/>
          <p:nvPr/>
        </p:nvSpPr>
        <p:spPr>
          <a:xfrm>
            <a:off x="6966332"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4" name="Freeform 83">
            <a:extLst>
              <a:ext uri="{FF2B5EF4-FFF2-40B4-BE49-F238E27FC236}">
                <a16:creationId xmlns:a16="http://schemas.microsoft.com/office/drawing/2014/main" id="{5D71E475-0C72-0A4B-9E83-D4F8682CCF9E}"/>
              </a:ext>
            </a:extLst>
          </p:cNvPr>
          <p:cNvSpPr/>
          <p:nvPr/>
        </p:nvSpPr>
        <p:spPr>
          <a:xfrm>
            <a:off x="7215493"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5" name="Freeform 84">
            <a:extLst>
              <a:ext uri="{FF2B5EF4-FFF2-40B4-BE49-F238E27FC236}">
                <a16:creationId xmlns:a16="http://schemas.microsoft.com/office/drawing/2014/main" id="{119E67ED-5612-6E4C-9FEB-97F8BF6D2FB2}"/>
              </a:ext>
            </a:extLst>
          </p:cNvPr>
          <p:cNvSpPr/>
          <p:nvPr/>
        </p:nvSpPr>
        <p:spPr>
          <a:xfrm>
            <a:off x="7464654"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86" name="Freeform 85">
            <a:extLst>
              <a:ext uri="{FF2B5EF4-FFF2-40B4-BE49-F238E27FC236}">
                <a16:creationId xmlns:a16="http://schemas.microsoft.com/office/drawing/2014/main" id="{7F786CC9-2F25-734F-983E-AFCA587D626B}"/>
              </a:ext>
            </a:extLst>
          </p:cNvPr>
          <p:cNvSpPr/>
          <p:nvPr/>
        </p:nvSpPr>
        <p:spPr>
          <a:xfrm>
            <a:off x="6966332"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7" name="Freeform 86">
            <a:extLst>
              <a:ext uri="{FF2B5EF4-FFF2-40B4-BE49-F238E27FC236}">
                <a16:creationId xmlns:a16="http://schemas.microsoft.com/office/drawing/2014/main" id="{259F8CA0-60EE-8647-AF4F-6B77D6C4B963}"/>
              </a:ext>
            </a:extLst>
          </p:cNvPr>
          <p:cNvSpPr/>
          <p:nvPr/>
        </p:nvSpPr>
        <p:spPr>
          <a:xfrm>
            <a:off x="7464654"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8" name="Freeform 87">
            <a:extLst>
              <a:ext uri="{FF2B5EF4-FFF2-40B4-BE49-F238E27FC236}">
                <a16:creationId xmlns:a16="http://schemas.microsoft.com/office/drawing/2014/main" id="{F02A52DA-8B8C-264F-877F-42F66B1C30F6}"/>
              </a:ext>
            </a:extLst>
          </p:cNvPr>
          <p:cNvSpPr/>
          <p:nvPr/>
        </p:nvSpPr>
        <p:spPr>
          <a:xfrm rot="16753102">
            <a:off x="7713703" y="329004"/>
            <a:ext cx="99460" cy="99461"/>
          </a:xfrm>
          <a:custGeom>
            <a:avLst/>
            <a:gdLst>
              <a:gd name="connsiteX0" fmla="*/ 99461 w 99460"/>
              <a:gd name="connsiteY0" fmla="*/ 49731 h 99461"/>
              <a:gd name="connsiteX1" fmla="*/ 49730 w 99460"/>
              <a:gd name="connsiteY1" fmla="*/ 99462 h 99461"/>
              <a:gd name="connsiteX2" fmla="*/ 0 w 99460"/>
              <a:gd name="connsiteY2" fmla="*/ 49731 h 99461"/>
              <a:gd name="connsiteX3" fmla="*/ 49730 w 99460"/>
              <a:gd name="connsiteY3" fmla="*/ 0 h 99461"/>
              <a:gd name="connsiteX4" fmla="*/ 99461 w 99460"/>
              <a:gd name="connsiteY4" fmla="*/ 49731 h 9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0" h="99461">
                <a:moveTo>
                  <a:pt x="99461" y="49731"/>
                </a:moveTo>
                <a:cubicBezTo>
                  <a:pt x="99461" y="77196"/>
                  <a:pt x="77196" y="99462"/>
                  <a:pt x="49730" y="99462"/>
                </a:cubicBezTo>
                <a:cubicBezTo>
                  <a:pt x="22265" y="99462"/>
                  <a:pt x="0" y="77196"/>
                  <a:pt x="0" y="49731"/>
                </a:cubicBezTo>
                <a:cubicBezTo>
                  <a:pt x="0" y="22265"/>
                  <a:pt x="22265" y="0"/>
                  <a:pt x="49730" y="0"/>
                </a:cubicBezTo>
                <a:cubicBezTo>
                  <a:pt x="77196" y="0"/>
                  <a:pt x="99461" y="22265"/>
                  <a:pt x="99461" y="49731"/>
                </a:cubicBezTo>
                <a:close/>
              </a:path>
            </a:pathLst>
          </a:custGeom>
          <a:solidFill>
            <a:srgbClr val="5CB5FF">
              <a:alpha val="14000"/>
            </a:srgbClr>
          </a:solidFill>
          <a:ln w="2052" cap="flat">
            <a:noFill/>
            <a:prstDash val="solid"/>
            <a:miter/>
          </a:ln>
        </p:spPr>
        <p:txBody>
          <a:bodyPr rtlCol="0" anchor="ctr"/>
          <a:lstStyle/>
          <a:p>
            <a:endParaRPr lang="en-US"/>
          </a:p>
        </p:txBody>
      </p:sp>
      <p:sp>
        <p:nvSpPr>
          <p:cNvPr id="89" name="Freeform 88">
            <a:extLst>
              <a:ext uri="{FF2B5EF4-FFF2-40B4-BE49-F238E27FC236}">
                <a16:creationId xmlns:a16="http://schemas.microsoft.com/office/drawing/2014/main" id="{D2036A5F-121A-E149-BAB9-6E06E0E39343}"/>
              </a:ext>
            </a:extLst>
          </p:cNvPr>
          <p:cNvSpPr/>
          <p:nvPr/>
        </p:nvSpPr>
        <p:spPr>
          <a:xfrm>
            <a:off x="7464654"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0" name="Freeform 89">
            <a:extLst>
              <a:ext uri="{FF2B5EF4-FFF2-40B4-BE49-F238E27FC236}">
                <a16:creationId xmlns:a16="http://schemas.microsoft.com/office/drawing/2014/main" id="{BCF0DED3-D5D0-CF4A-9C2B-7DFE2A602AEE}"/>
              </a:ext>
            </a:extLst>
          </p:cNvPr>
          <p:cNvSpPr/>
          <p:nvPr/>
        </p:nvSpPr>
        <p:spPr>
          <a:xfrm rot="16753102">
            <a:off x="7713706" y="578170"/>
            <a:ext cx="99460" cy="99461"/>
          </a:xfrm>
          <a:custGeom>
            <a:avLst/>
            <a:gdLst>
              <a:gd name="connsiteX0" fmla="*/ 99461 w 99460"/>
              <a:gd name="connsiteY0" fmla="*/ 49731 h 99461"/>
              <a:gd name="connsiteX1" fmla="*/ 49730 w 99460"/>
              <a:gd name="connsiteY1" fmla="*/ 99462 h 99461"/>
              <a:gd name="connsiteX2" fmla="*/ 0 w 99460"/>
              <a:gd name="connsiteY2" fmla="*/ 49731 h 99461"/>
              <a:gd name="connsiteX3" fmla="*/ 49730 w 99460"/>
              <a:gd name="connsiteY3" fmla="*/ 0 h 99461"/>
              <a:gd name="connsiteX4" fmla="*/ 99461 w 99460"/>
              <a:gd name="connsiteY4" fmla="*/ 49731 h 9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0" h="99461">
                <a:moveTo>
                  <a:pt x="99461" y="49731"/>
                </a:moveTo>
                <a:cubicBezTo>
                  <a:pt x="99461" y="77196"/>
                  <a:pt x="77196" y="99462"/>
                  <a:pt x="49730" y="99462"/>
                </a:cubicBezTo>
                <a:cubicBezTo>
                  <a:pt x="22265" y="99462"/>
                  <a:pt x="0" y="77196"/>
                  <a:pt x="0" y="49731"/>
                </a:cubicBezTo>
                <a:cubicBezTo>
                  <a:pt x="0" y="22265"/>
                  <a:pt x="22265" y="0"/>
                  <a:pt x="49730" y="0"/>
                </a:cubicBezTo>
                <a:cubicBezTo>
                  <a:pt x="77196" y="0"/>
                  <a:pt x="99461" y="22265"/>
                  <a:pt x="99461" y="49731"/>
                </a:cubicBezTo>
                <a:close/>
              </a:path>
            </a:pathLst>
          </a:custGeom>
          <a:solidFill>
            <a:srgbClr val="5CB5FF">
              <a:alpha val="14000"/>
            </a:srgbClr>
          </a:solidFill>
          <a:ln w="2052" cap="flat">
            <a:noFill/>
            <a:prstDash val="solid"/>
            <a:miter/>
          </a:ln>
        </p:spPr>
        <p:txBody>
          <a:bodyPr rtlCol="0" anchor="ctr"/>
          <a:lstStyle/>
          <a:p>
            <a:endParaRPr lang="en-US"/>
          </a:p>
        </p:txBody>
      </p:sp>
      <p:sp>
        <p:nvSpPr>
          <p:cNvPr id="91" name="Freeform 90">
            <a:extLst>
              <a:ext uri="{FF2B5EF4-FFF2-40B4-BE49-F238E27FC236}">
                <a16:creationId xmlns:a16="http://schemas.microsoft.com/office/drawing/2014/main" id="{45B174D9-5533-0241-B420-5CDE83187945}"/>
              </a:ext>
            </a:extLst>
          </p:cNvPr>
          <p:cNvSpPr/>
          <p:nvPr/>
        </p:nvSpPr>
        <p:spPr>
          <a:xfrm>
            <a:off x="7962977"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2" name="Freeform 91">
            <a:extLst>
              <a:ext uri="{FF2B5EF4-FFF2-40B4-BE49-F238E27FC236}">
                <a16:creationId xmlns:a16="http://schemas.microsoft.com/office/drawing/2014/main" id="{E5E8A156-1317-3742-B05E-569311DF62A5}"/>
              </a:ext>
            </a:extLst>
          </p:cNvPr>
          <p:cNvSpPr/>
          <p:nvPr/>
        </p:nvSpPr>
        <p:spPr>
          <a:xfrm>
            <a:off x="8212138"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3" name="Freeform 92">
            <a:extLst>
              <a:ext uri="{FF2B5EF4-FFF2-40B4-BE49-F238E27FC236}">
                <a16:creationId xmlns:a16="http://schemas.microsoft.com/office/drawing/2014/main" id="{ED64574D-EFC6-364B-997D-3822C78B7DDA}"/>
              </a:ext>
            </a:extLst>
          </p:cNvPr>
          <p:cNvSpPr/>
          <p:nvPr/>
        </p:nvSpPr>
        <p:spPr>
          <a:xfrm>
            <a:off x="8710461"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4" name="Freeform 93">
            <a:extLst>
              <a:ext uri="{FF2B5EF4-FFF2-40B4-BE49-F238E27FC236}">
                <a16:creationId xmlns:a16="http://schemas.microsoft.com/office/drawing/2014/main" id="{2E32684E-45ED-F540-B6E1-CA9A46C85404}"/>
              </a:ext>
            </a:extLst>
          </p:cNvPr>
          <p:cNvSpPr/>
          <p:nvPr/>
        </p:nvSpPr>
        <p:spPr>
          <a:xfrm>
            <a:off x="8461299"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4"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5" name="Freeform 94">
            <a:extLst>
              <a:ext uri="{FF2B5EF4-FFF2-40B4-BE49-F238E27FC236}">
                <a16:creationId xmlns:a16="http://schemas.microsoft.com/office/drawing/2014/main" id="{FAF9B900-34B5-D04E-A2B0-680BCAE79708}"/>
              </a:ext>
            </a:extLst>
          </p:cNvPr>
          <p:cNvSpPr/>
          <p:nvPr/>
        </p:nvSpPr>
        <p:spPr>
          <a:xfrm>
            <a:off x="8212138"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6" name="Freeform 95">
            <a:extLst>
              <a:ext uri="{FF2B5EF4-FFF2-40B4-BE49-F238E27FC236}">
                <a16:creationId xmlns:a16="http://schemas.microsoft.com/office/drawing/2014/main" id="{69BB02AA-00B1-4D4A-AFD8-68A4BE0B04FE}"/>
              </a:ext>
            </a:extLst>
          </p:cNvPr>
          <p:cNvSpPr/>
          <p:nvPr/>
        </p:nvSpPr>
        <p:spPr>
          <a:xfrm>
            <a:off x="8212138"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97" name="Freeform 96">
            <a:extLst>
              <a:ext uri="{FF2B5EF4-FFF2-40B4-BE49-F238E27FC236}">
                <a16:creationId xmlns:a16="http://schemas.microsoft.com/office/drawing/2014/main" id="{C04F0CC8-D44B-AB45-AA17-D3AD761A08A8}"/>
              </a:ext>
            </a:extLst>
          </p:cNvPr>
          <p:cNvSpPr/>
          <p:nvPr/>
        </p:nvSpPr>
        <p:spPr>
          <a:xfrm>
            <a:off x="8461299"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4"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8" name="Freeform 97">
            <a:extLst>
              <a:ext uri="{FF2B5EF4-FFF2-40B4-BE49-F238E27FC236}">
                <a16:creationId xmlns:a16="http://schemas.microsoft.com/office/drawing/2014/main" id="{1773D5B2-17F9-3F4D-8BBE-C2EA05C60813}"/>
              </a:ext>
            </a:extLst>
          </p:cNvPr>
          <p:cNvSpPr/>
          <p:nvPr/>
        </p:nvSpPr>
        <p:spPr>
          <a:xfrm>
            <a:off x="8710461"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9" name="Freeform 98">
            <a:extLst>
              <a:ext uri="{FF2B5EF4-FFF2-40B4-BE49-F238E27FC236}">
                <a16:creationId xmlns:a16="http://schemas.microsoft.com/office/drawing/2014/main" id="{F398E671-8204-9D4A-B924-0745B00504F1}"/>
              </a:ext>
            </a:extLst>
          </p:cNvPr>
          <p:cNvSpPr/>
          <p:nvPr/>
        </p:nvSpPr>
        <p:spPr>
          <a:xfrm>
            <a:off x="8212138" y="82729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00" name="Freeform 99">
            <a:extLst>
              <a:ext uri="{FF2B5EF4-FFF2-40B4-BE49-F238E27FC236}">
                <a16:creationId xmlns:a16="http://schemas.microsoft.com/office/drawing/2014/main" id="{DA042452-BCFC-5F46-ABEF-0923CA3AF459}"/>
              </a:ext>
            </a:extLst>
          </p:cNvPr>
          <p:cNvSpPr/>
          <p:nvPr/>
        </p:nvSpPr>
        <p:spPr>
          <a:xfrm>
            <a:off x="8212138" y="107645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01" name="Freeform 100">
            <a:extLst>
              <a:ext uri="{FF2B5EF4-FFF2-40B4-BE49-F238E27FC236}">
                <a16:creationId xmlns:a16="http://schemas.microsoft.com/office/drawing/2014/main" id="{06351593-861B-E04C-B112-38D55ED1A2EE}"/>
              </a:ext>
            </a:extLst>
          </p:cNvPr>
          <p:cNvSpPr/>
          <p:nvPr/>
        </p:nvSpPr>
        <p:spPr>
          <a:xfrm>
            <a:off x="8698156" y="814990"/>
            <a:ext cx="124067" cy="124068"/>
          </a:xfrm>
          <a:custGeom>
            <a:avLst/>
            <a:gdLst>
              <a:gd name="connsiteX0" fmla="*/ 124068 w 124067"/>
              <a:gd name="connsiteY0" fmla="*/ 62034 h 124068"/>
              <a:gd name="connsiteX1" fmla="*/ 62034 w 124067"/>
              <a:gd name="connsiteY1" fmla="*/ 124069 h 124068"/>
              <a:gd name="connsiteX2" fmla="*/ 0 w 124067"/>
              <a:gd name="connsiteY2" fmla="*/ 62034 h 124068"/>
              <a:gd name="connsiteX3" fmla="*/ 62034 w 124067"/>
              <a:gd name="connsiteY3" fmla="*/ 0 h 124068"/>
              <a:gd name="connsiteX4" fmla="*/ 124068 w 124067"/>
              <a:gd name="connsiteY4" fmla="*/ 62034 h 124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67" h="124068">
                <a:moveTo>
                  <a:pt x="124068" y="62034"/>
                </a:moveTo>
                <a:cubicBezTo>
                  <a:pt x="124068" y="96295"/>
                  <a:pt x="96294" y="124069"/>
                  <a:pt x="62034" y="124069"/>
                </a:cubicBezTo>
                <a:cubicBezTo>
                  <a:pt x="27773" y="124069"/>
                  <a:pt x="0" y="96295"/>
                  <a:pt x="0" y="62034"/>
                </a:cubicBezTo>
                <a:cubicBezTo>
                  <a:pt x="0" y="27774"/>
                  <a:pt x="27773" y="0"/>
                  <a:pt x="62034" y="0"/>
                </a:cubicBezTo>
                <a:cubicBezTo>
                  <a:pt x="96294" y="0"/>
                  <a:pt x="124068" y="27774"/>
                  <a:pt x="124068" y="62034"/>
                </a:cubicBezTo>
                <a:close/>
              </a:path>
            </a:pathLst>
          </a:custGeom>
          <a:solidFill>
            <a:srgbClr val="5CB5FF">
              <a:alpha val="10000"/>
            </a:srgbClr>
          </a:solidFill>
          <a:ln w="2052" cap="flat">
            <a:noFill/>
            <a:prstDash val="solid"/>
            <a:miter/>
          </a:ln>
        </p:spPr>
        <p:txBody>
          <a:bodyPr rtlCol="0" anchor="ctr"/>
          <a:lstStyle/>
          <a:p>
            <a:endParaRPr lang="en-US"/>
          </a:p>
        </p:txBody>
      </p:sp>
      <p:sp>
        <p:nvSpPr>
          <p:cNvPr id="102" name="Freeform 101">
            <a:extLst>
              <a:ext uri="{FF2B5EF4-FFF2-40B4-BE49-F238E27FC236}">
                <a16:creationId xmlns:a16="http://schemas.microsoft.com/office/drawing/2014/main" id="{D3399C5D-791D-8C43-8239-04E408AB56AA}"/>
              </a:ext>
            </a:extLst>
          </p:cNvPr>
          <p:cNvSpPr/>
          <p:nvPr/>
        </p:nvSpPr>
        <p:spPr>
          <a:xfrm>
            <a:off x="7962977" y="82729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07" name="Freeform 106">
            <a:extLst>
              <a:ext uri="{FF2B5EF4-FFF2-40B4-BE49-F238E27FC236}">
                <a16:creationId xmlns:a16="http://schemas.microsoft.com/office/drawing/2014/main" id="{99F779EA-6472-FF42-885F-A0B8DB934CC7}"/>
              </a:ext>
            </a:extLst>
          </p:cNvPr>
          <p:cNvSpPr/>
          <p:nvPr/>
        </p:nvSpPr>
        <p:spPr>
          <a:xfrm>
            <a:off x="7700999" y="66989"/>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10000"/>
            </a:srgbClr>
          </a:solidFill>
          <a:ln w="2052" cap="flat">
            <a:noFill/>
            <a:prstDash val="solid"/>
            <a:miter/>
          </a:ln>
        </p:spPr>
        <p:txBody>
          <a:bodyPr rtlCol="0" anchor="ctr"/>
          <a:lstStyle/>
          <a:p>
            <a:endParaRPr lang="en-US"/>
          </a:p>
        </p:txBody>
      </p:sp>
      <p:sp>
        <p:nvSpPr>
          <p:cNvPr id="124" name="Freeform 123">
            <a:extLst>
              <a:ext uri="{FF2B5EF4-FFF2-40B4-BE49-F238E27FC236}">
                <a16:creationId xmlns:a16="http://schemas.microsoft.com/office/drawing/2014/main" id="{FC8CCAED-F8CD-AE4A-86B3-CF9C9523B962}"/>
              </a:ext>
            </a:extLst>
          </p:cNvPr>
          <p:cNvSpPr/>
          <p:nvPr/>
        </p:nvSpPr>
        <p:spPr>
          <a:xfrm>
            <a:off x="8934501"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29" name="Freeform 128">
            <a:extLst>
              <a:ext uri="{FF2B5EF4-FFF2-40B4-BE49-F238E27FC236}">
                <a16:creationId xmlns:a16="http://schemas.microsoft.com/office/drawing/2014/main" id="{C7E879DF-EE44-AA45-AE05-DD5B4FA49205}"/>
              </a:ext>
            </a:extLst>
          </p:cNvPr>
          <p:cNvSpPr/>
          <p:nvPr/>
        </p:nvSpPr>
        <p:spPr>
          <a:xfrm>
            <a:off x="8934501"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78" name="Freeform 177">
            <a:extLst>
              <a:ext uri="{FF2B5EF4-FFF2-40B4-BE49-F238E27FC236}">
                <a16:creationId xmlns:a16="http://schemas.microsoft.com/office/drawing/2014/main" id="{285D0C28-DCE9-1946-93BF-94EBD76B7959}"/>
              </a:ext>
            </a:extLst>
          </p:cNvPr>
          <p:cNvSpPr/>
          <p:nvPr/>
        </p:nvSpPr>
        <p:spPr>
          <a:xfrm>
            <a:off x="1844259" y="4899787"/>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80" name="Freeform 179">
            <a:extLst>
              <a:ext uri="{FF2B5EF4-FFF2-40B4-BE49-F238E27FC236}">
                <a16:creationId xmlns:a16="http://schemas.microsoft.com/office/drawing/2014/main" id="{293133EB-DE7C-8D41-8FFA-DD26B577D8C1}"/>
              </a:ext>
            </a:extLst>
          </p:cNvPr>
          <p:cNvSpPr/>
          <p:nvPr/>
        </p:nvSpPr>
        <p:spPr>
          <a:xfrm>
            <a:off x="1595097" y="489978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1" name="Freeform 180">
            <a:extLst>
              <a:ext uri="{FF2B5EF4-FFF2-40B4-BE49-F238E27FC236}">
                <a16:creationId xmlns:a16="http://schemas.microsoft.com/office/drawing/2014/main" id="{34550379-B92D-8241-B540-0627AA0A921B}"/>
              </a:ext>
            </a:extLst>
          </p:cNvPr>
          <p:cNvSpPr/>
          <p:nvPr/>
        </p:nvSpPr>
        <p:spPr>
          <a:xfrm>
            <a:off x="1345936" y="489978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2" name="Freeform 181">
            <a:extLst>
              <a:ext uri="{FF2B5EF4-FFF2-40B4-BE49-F238E27FC236}">
                <a16:creationId xmlns:a16="http://schemas.microsoft.com/office/drawing/2014/main" id="{C33ECA2F-821B-5F44-80D3-EA291967F056}"/>
              </a:ext>
            </a:extLst>
          </p:cNvPr>
          <p:cNvSpPr/>
          <p:nvPr/>
        </p:nvSpPr>
        <p:spPr>
          <a:xfrm>
            <a:off x="1096775" y="489978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3" name="Freeform 182">
            <a:extLst>
              <a:ext uri="{FF2B5EF4-FFF2-40B4-BE49-F238E27FC236}">
                <a16:creationId xmlns:a16="http://schemas.microsoft.com/office/drawing/2014/main" id="{DF4643A6-1BE6-854C-9B0E-F821AD1BA95B}"/>
              </a:ext>
            </a:extLst>
          </p:cNvPr>
          <p:cNvSpPr/>
          <p:nvPr/>
        </p:nvSpPr>
        <p:spPr>
          <a:xfrm>
            <a:off x="1096775"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4" name="Freeform 183">
            <a:extLst>
              <a:ext uri="{FF2B5EF4-FFF2-40B4-BE49-F238E27FC236}">
                <a16:creationId xmlns:a16="http://schemas.microsoft.com/office/drawing/2014/main" id="{6EE82805-A90B-A042-95FE-EDAEC75607FC}"/>
              </a:ext>
            </a:extLst>
          </p:cNvPr>
          <p:cNvSpPr/>
          <p:nvPr/>
        </p:nvSpPr>
        <p:spPr>
          <a:xfrm>
            <a:off x="847614"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5" name="Freeform 184">
            <a:extLst>
              <a:ext uri="{FF2B5EF4-FFF2-40B4-BE49-F238E27FC236}">
                <a16:creationId xmlns:a16="http://schemas.microsoft.com/office/drawing/2014/main" id="{E0F43706-4963-5541-8BA1-5360C57199BD}"/>
              </a:ext>
            </a:extLst>
          </p:cNvPr>
          <p:cNvSpPr/>
          <p:nvPr/>
        </p:nvSpPr>
        <p:spPr>
          <a:xfrm>
            <a:off x="1096775" y="4401461"/>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86" name="Freeform 185">
            <a:extLst>
              <a:ext uri="{FF2B5EF4-FFF2-40B4-BE49-F238E27FC236}">
                <a16:creationId xmlns:a16="http://schemas.microsoft.com/office/drawing/2014/main" id="{9CF17A4F-24D1-414E-85A4-79CAB802EDFE}"/>
              </a:ext>
            </a:extLst>
          </p:cNvPr>
          <p:cNvSpPr/>
          <p:nvPr/>
        </p:nvSpPr>
        <p:spPr>
          <a:xfrm>
            <a:off x="847614" y="4401461"/>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7" name="Freeform 186">
            <a:extLst>
              <a:ext uri="{FF2B5EF4-FFF2-40B4-BE49-F238E27FC236}">
                <a16:creationId xmlns:a16="http://schemas.microsoft.com/office/drawing/2014/main" id="{F8D99D0D-2A3B-754A-909E-B11A8D9C982E}"/>
              </a:ext>
            </a:extLst>
          </p:cNvPr>
          <p:cNvSpPr/>
          <p:nvPr/>
        </p:nvSpPr>
        <p:spPr>
          <a:xfrm>
            <a:off x="598452" y="4899787"/>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8" name="Freeform 187">
            <a:extLst>
              <a:ext uri="{FF2B5EF4-FFF2-40B4-BE49-F238E27FC236}">
                <a16:creationId xmlns:a16="http://schemas.microsoft.com/office/drawing/2014/main" id="{7A063DF6-3D26-8746-96A9-A68F23AC46EB}"/>
              </a:ext>
            </a:extLst>
          </p:cNvPr>
          <p:cNvSpPr/>
          <p:nvPr/>
        </p:nvSpPr>
        <p:spPr>
          <a:xfrm>
            <a:off x="349291" y="489978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0" name="Freeform 189">
            <a:extLst>
              <a:ext uri="{FF2B5EF4-FFF2-40B4-BE49-F238E27FC236}">
                <a16:creationId xmlns:a16="http://schemas.microsoft.com/office/drawing/2014/main" id="{BFBD2FDE-BC73-8A4B-9055-8144DB5167A6}"/>
              </a:ext>
            </a:extLst>
          </p:cNvPr>
          <p:cNvSpPr/>
          <p:nvPr/>
        </p:nvSpPr>
        <p:spPr>
          <a:xfrm>
            <a:off x="100130"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91" name="Freeform 190">
            <a:extLst>
              <a:ext uri="{FF2B5EF4-FFF2-40B4-BE49-F238E27FC236}">
                <a16:creationId xmlns:a16="http://schemas.microsoft.com/office/drawing/2014/main" id="{F21114F7-8C53-0C46-8032-4A441EFEC029}"/>
              </a:ext>
            </a:extLst>
          </p:cNvPr>
          <p:cNvSpPr/>
          <p:nvPr/>
        </p:nvSpPr>
        <p:spPr>
          <a:xfrm>
            <a:off x="349291"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2" name="Freeform 191">
            <a:extLst>
              <a:ext uri="{FF2B5EF4-FFF2-40B4-BE49-F238E27FC236}">
                <a16:creationId xmlns:a16="http://schemas.microsoft.com/office/drawing/2014/main" id="{802624AF-2E76-4848-B378-0F6CA56E5D64}"/>
              </a:ext>
            </a:extLst>
          </p:cNvPr>
          <p:cNvSpPr/>
          <p:nvPr/>
        </p:nvSpPr>
        <p:spPr>
          <a:xfrm>
            <a:off x="349291" y="4401461"/>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3" name="Freeform 192">
            <a:extLst>
              <a:ext uri="{FF2B5EF4-FFF2-40B4-BE49-F238E27FC236}">
                <a16:creationId xmlns:a16="http://schemas.microsoft.com/office/drawing/2014/main" id="{8D92ACBB-C8A4-F041-8849-AA788332613E}"/>
              </a:ext>
            </a:extLst>
          </p:cNvPr>
          <p:cNvSpPr/>
          <p:nvPr/>
        </p:nvSpPr>
        <p:spPr>
          <a:xfrm>
            <a:off x="100130" y="4401461"/>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48879B34-D83A-D449-BC84-AF089636A307}"/>
              </a:ext>
            </a:extLst>
          </p:cNvPr>
          <p:cNvSpPr/>
          <p:nvPr/>
        </p:nvSpPr>
        <p:spPr>
          <a:xfrm>
            <a:off x="349291" y="4152298"/>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96" name="Freeform 195">
            <a:extLst>
              <a:ext uri="{FF2B5EF4-FFF2-40B4-BE49-F238E27FC236}">
                <a16:creationId xmlns:a16="http://schemas.microsoft.com/office/drawing/2014/main" id="{6C9D0334-9555-DC43-96F0-34E1A057E2AC}"/>
              </a:ext>
            </a:extLst>
          </p:cNvPr>
          <p:cNvSpPr/>
          <p:nvPr/>
        </p:nvSpPr>
        <p:spPr>
          <a:xfrm>
            <a:off x="349291" y="390313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885549F4-767E-C847-874B-3624FA050C9A}"/>
              </a:ext>
            </a:extLst>
          </p:cNvPr>
          <p:cNvSpPr/>
          <p:nvPr/>
        </p:nvSpPr>
        <p:spPr>
          <a:xfrm>
            <a:off x="598452" y="4152298"/>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E078AB53-08B6-5D4B-949A-B8FE2F42C2EB}"/>
              </a:ext>
            </a:extLst>
          </p:cNvPr>
          <p:cNvSpPr/>
          <p:nvPr/>
        </p:nvSpPr>
        <p:spPr>
          <a:xfrm>
            <a:off x="834797" y="4886970"/>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10000"/>
            </a:srgbClr>
          </a:solidFill>
          <a:ln w="2052" cap="flat">
            <a:noFill/>
            <a:prstDash val="solid"/>
            <a:miter/>
          </a:ln>
        </p:spPr>
        <p:txBody>
          <a:bodyPr rtlCol="0" anchor="ctr"/>
          <a:lstStyle/>
          <a:p>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2" name="Title Placeholder 1"/>
          <p:cNvSpPr>
            <a:spLocks noGrp="1"/>
          </p:cNvSpPr>
          <p:nvPr>
            <p:ph type="title"/>
          </p:nvPr>
        </p:nvSpPr>
        <p:spPr>
          <a:xfrm>
            <a:off x="628650" y="273844"/>
            <a:ext cx="7886700" cy="457200"/>
          </a:xfrm>
          <a:prstGeom prst="rect">
            <a:avLst/>
          </a:prstGeom>
        </p:spPr>
        <p:txBody>
          <a:bodyPr vert="horz" lIns="91440" tIns="45720" rIns="91440" bIns="45720" rtlCol="0" anchor="ctr">
            <a:normAutofit/>
          </a:bodyPr>
          <a:lstStyle/>
          <a:p>
            <a:r>
              <a:rPr lang="fr-FR"/>
              <a:t>Modifiez le style du titre</a:t>
            </a:r>
            <a:endParaRPr lang="en-US"/>
          </a:p>
        </p:txBody>
      </p:sp>
    </p:spTree>
    <p:custDataLst>
      <p:tags r:id="rId14"/>
    </p:custDataLst>
    <p:extLst>
      <p:ext uri="{BB962C8B-B14F-4D97-AF65-F5344CB8AC3E}">
        <p14:creationId xmlns:p14="http://schemas.microsoft.com/office/powerpoint/2010/main" val="304231658"/>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685800" rtl="0" eaLnBrk="1" latinLnBrk="0" hangingPunct="1">
        <a:lnSpc>
          <a:spcPct val="90000"/>
        </a:lnSpc>
        <a:spcBef>
          <a:spcPct val="0"/>
        </a:spcBef>
        <a:buNone/>
        <a:defRPr sz="2800" b="1" kern="1200">
          <a:solidFill>
            <a:schemeClr val="bg1"/>
          </a:solidFill>
          <a:latin typeface="+mn-lt"/>
          <a:ea typeface="+mj-ea"/>
          <a:cs typeface="+mj-cs"/>
        </a:defRPr>
      </a:lvl1pPr>
    </p:titleStyle>
    <p:bodyStyle>
      <a:lvl1pPr marL="182880" indent="-182880" algn="l" defTabSz="685800" rtl="0" eaLnBrk="1" latinLnBrk="0" hangingPunct="1">
        <a:lnSpc>
          <a:spcPct val="85000"/>
        </a:lnSpc>
        <a:spcBef>
          <a:spcPts val="800"/>
        </a:spcBef>
        <a:buFont typeface="Arial" panose="020B0604020202020204" pitchFamily="34" charset="0"/>
        <a:buChar char="•"/>
        <a:defRPr sz="2100" kern="1200">
          <a:solidFill>
            <a:schemeClr val="bg1"/>
          </a:solidFill>
          <a:latin typeface="+mj-lt"/>
          <a:ea typeface="+mn-ea"/>
          <a:cs typeface="+mn-cs"/>
        </a:defRPr>
      </a:lvl1pPr>
      <a:lvl2pPr marL="365760" indent="-182880" algn="l" defTabSz="685800" rtl="0" eaLnBrk="1" latinLnBrk="0" hangingPunct="1">
        <a:lnSpc>
          <a:spcPct val="85000"/>
        </a:lnSpc>
        <a:spcBef>
          <a:spcPts val="800"/>
        </a:spcBef>
        <a:buFont typeface="Calibri Light" panose="020F0302020204030204" pitchFamily="34" charset="0"/>
        <a:buChar char="–"/>
        <a:defRPr sz="1800" kern="1200">
          <a:solidFill>
            <a:schemeClr val="bg1"/>
          </a:solidFill>
          <a:latin typeface="+mj-lt"/>
          <a:ea typeface="+mn-ea"/>
          <a:cs typeface="+mn-cs"/>
        </a:defRPr>
      </a:lvl2pPr>
      <a:lvl3pPr marL="548640" indent="-182880" algn="l" defTabSz="685800" rtl="0" eaLnBrk="1" latinLnBrk="0" hangingPunct="1">
        <a:lnSpc>
          <a:spcPct val="85000"/>
        </a:lnSpc>
        <a:spcBef>
          <a:spcPts val="800"/>
        </a:spcBef>
        <a:buFont typeface="Arial" panose="020B0604020202020204" pitchFamily="34" charset="0"/>
        <a:buChar char="•"/>
        <a:defRPr sz="1500" kern="1200">
          <a:solidFill>
            <a:schemeClr val="bg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32010F-8301-433C-B0B4-B249A9403DAC}"/>
              </a:ext>
            </a:extLst>
          </p:cNvPr>
          <p:cNvSpPr/>
          <p:nvPr/>
        </p:nvSpPr>
        <p:spPr>
          <a:xfrm>
            <a:off x="0" y="4650624"/>
            <a:ext cx="9144000" cy="4928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6">
            <a:extLst>
              <a:ext uri="{FF2B5EF4-FFF2-40B4-BE49-F238E27FC236}">
                <a16:creationId xmlns:a16="http://schemas.microsoft.com/office/drawing/2014/main" id="{50908C7C-E096-4B50-9AD8-7AF3F5E717F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411892" y="4746756"/>
            <a:ext cx="558779" cy="253991"/>
          </a:xfrm>
          <a:prstGeom prst="rect">
            <a:avLst/>
          </a:prstGeom>
        </p:spPr>
      </p:pic>
      <p:sp>
        <p:nvSpPr>
          <p:cNvPr id="17" name="TextBox 4">
            <a:extLst>
              <a:ext uri="{FF2B5EF4-FFF2-40B4-BE49-F238E27FC236}">
                <a16:creationId xmlns:a16="http://schemas.microsoft.com/office/drawing/2014/main" id="{1E37FEA7-CA51-4399-92F6-AB705B7FF650}"/>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grpSp>
        <p:nvGrpSpPr>
          <p:cNvPr id="205" name="Group 204">
            <a:extLst>
              <a:ext uri="{FF2B5EF4-FFF2-40B4-BE49-F238E27FC236}">
                <a16:creationId xmlns:a16="http://schemas.microsoft.com/office/drawing/2014/main" id="{CEEE07FD-FB9A-5146-86A7-7AE8BC7B637F}"/>
              </a:ext>
            </a:extLst>
          </p:cNvPr>
          <p:cNvGrpSpPr/>
          <p:nvPr/>
        </p:nvGrpSpPr>
        <p:grpSpPr>
          <a:xfrm>
            <a:off x="6717170" y="66989"/>
            <a:ext cx="2316790" cy="1108928"/>
            <a:chOff x="6717170" y="66989"/>
            <a:chExt cx="2316790" cy="1108928"/>
          </a:xfrm>
        </p:grpSpPr>
        <p:sp>
          <p:nvSpPr>
            <p:cNvPr id="81" name="Freeform 80">
              <a:extLst>
                <a:ext uri="{FF2B5EF4-FFF2-40B4-BE49-F238E27FC236}">
                  <a16:creationId xmlns:a16="http://schemas.microsoft.com/office/drawing/2014/main" id="{28E9C9DB-EB60-FD4A-AB5D-86A6DDF93363}"/>
                </a:ext>
              </a:extLst>
            </p:cNvPr>
            <p:cNvSpPr/>
            <p:nvPr/>
          </p:nvSpPr>
          <p:spPr>
            <a:xfrm>
              <a:off x="6717170"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83" name="Freeform 82">
              <a:extLst>
                <a:ext uri="{FF2B5EF4-FFF2-40B4-BE49-F238E27FC236}">
                  <a16:creationId xmlns:a16="http://schemas.microsoft.com/office/drawing/2014/main" id="{72DA3650-6307-5742-A8B7-F65D2E045EF9}"/>
                </a:ext>
              </a:extLst>
            </p:cNvPr>
            <p:cNvSpPr/>
            <p:nvPr/>
          </p:nvSpPr>
          <p:spPr>
            <a:xfrm>
              <a:off x="6966332"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5000"/>
              </a:srgbClr>
            </a:solidFill>
            <a:ln w="2052" cap="flat">
              <a:noFill/>
              <a:prstDash val="solid"/>
              <a:miter/>
            </a:ln>
          </p:spPr>
          <p:txBody>
            <a:bodyPr rtlCol="0" anchor="ctr"/>
            <a:lstStyle/>
            <a:p>
              <a:endParaRPr lang="en-US"/>
            </a:p>
          </p:txBody>
        </p:sp>
        <p:sp>
          <p:nvSpPr>
            <p:cNvPr id="84" name="Freeform 83">
              <a:extLst>
                <a:ext uri="{FF2B5EF4-FFF2-40B4-BE49-F238E27FC236}">
                  <a16:creationId xmlns:a16="http://schemas.microsoft.com/office/drawing/2014/main" id="{5D71E475-0C72-0A4B-9E83-D4F8682CCF9E}"/>
                </a:ext>
              </a:extLst>
            </p:cNvPr>
            <p:cNvSpPr/>
            <p:nvPr/>
          </p:nvSpPr>
          <p:spPr>
            <a:xfrm>
              <a:off x="7215493"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5000"/>
              </a:srgbClr>
            </a:solidFill>
            <a:ln w="2052" cap="flat">
              <a:noFill/>
              <a:prstDash val="solid"/>
              <a:miter/>
            </a:ln>
          </p:spPr>
          <p:txBody>
            <a:bodyPr rtlCol="0" anchor="ctr"/>
            <a:lstStyle/>
            <a:p>
              <a:endParaRPr lang="en-US"/>
            </a:p>
          </p:txBody>
        </p:sp>
        <p:sp>
          <p:nvSpPr>
            <p:cNvPr id="85" name="Freeform 84">
              <a:extLst>
                <a:ext uri="{FF2B5EF4-FFF2-40B4-BE49-F238E27FC236}">
                  <a16:creationId xmlns:a16="http://schemas.microsoft.com/office/drawing/2014/main" id="{119E67ED-5612-6E4C-9FEB-97F8BF6D2FB2}"/>
                </a:ext>
              </a:extLst>
            </p:cNvPr>
            <p:cNvSpPr/>
            <p:nvPr/>
          </p:nvSpPr>
          <p:spPr>
            <a:xfrm>
              <a:off x="7464654"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5000"/>
              </a:srgbClr>
            </a:solidFill>
            <a:ln w="2052" cap="flat">
              <a:noFill/>
              <a:prstDash val="solid"/>
              <a:miter/>
            </a:ln>
          </p:spPr>
          <p:txBody>
            <a:bodyPr rtlCol="0" anchor="ctr"/>
            <a:lstStyle/>
            <a:p>
              <a:endParaRPr lang="en-US"/>
            </a:p>
          </p:txBody>
        </p:sp>
        <p:sp>
          <p:nvSpPr>
            <p:cNvPr id="86" name="Freeform 85">
              <a:extLst>
                <a:ext uri="{FF2B5EF4-FFF2-40B4-BE49-F238E27FC236}">
                  <a16:creationId xmlns:a16="http://schemas.microsoft.com/office/drawing/2014/main" id="{7F786CC9-2F25-734F-983E-AFCA587D626B}"/>
                </a:ext>
              </a:extLst>
            </p:cNvPr>
            <p:cNvSpPr/>
            <p:nvPr/>
          </p:nvSpPr>
          <p:spPr>
            <a:xfrm>
              <a:off x="6966332"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87" name="Freeform 86">
              <a:extLst>
                <a:ext uri="{FF2B5EF4-FFF2-40B4-BE49-F238E27FC236}">
                  <a16:creationId xmlns:a16="http://schemas.microsoft.com/office/drawing/2014/main" id="{259F8CA0-60EE-8647-AF4F-6B77D6C4B963}"/>
                </a:ext>
              </a:extLst>
            </p:cNvPr>
            <p:cNvSpPr/>
            <p:nvPr/>
          </p:nvSpPr>
          <p:spPr>
            <a:xfrm>
              <a:off x="7464654"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5000"/>
              </a:srgbClr>
            </a:solidFill>
            <a:ln w="2052" cap="flat">
              <a:noFill/>
              <a:prstDash val="solid"/>
              <a:miter/>
            </a:ln>
          </p:spPr>
          <p:txBody>
            <a:bodyPr rtlCol="0" anchor="ctr"/>
            <a:lstStyle/>
            <a:p>
              <a:endParaRPr lang="en-US"/>
            </a:p>
          </p:txBody>
        </p:sp>
        <p:sp>
          <p:nvSpPr>
            <p:cNvPr id="88" name="Freeform 87">
              <a:extLst>
                <a:ext uri="{FF2B5EF4-FFF2-40B4-BE49-F238E27FC236}">
                  <a16:creationId xmlns:a16="http://schemas.microsoft.com/office/drawing/2014/main" id="{F02A52DA-8B8C-264F-877F-42F66B1C30F6}"/>
                </a:ext>
              </a:extLst>
            </p:cNvPr>
            <p:cNvSpPr/>
            <p:nvPr/>
          </p:nvSpPr>
          <p:spPr>
            <a:xfrm rot="16753102">
              <a:off x="7713703" y="329004"/>
              <a:ext cx="99460" cy="99461"/>
            </a:xfrm>
            <a:custGeom>
              <a:avLst/>
              <a:gdLst>
                <a:gd name="connsiteX0" fmla="*/ 99461 w 99460"/>
                <a:gd name="connsiteY0" fmla="*/ 49731 h 99461"/>
                <a:gd name="connsiteX1" fmla="*/ 49730 w 99460"/>
                <a:gd name="connsiteY1" fmla="*/ 99462 h 99461"/>
                <a:gd name="connsiteX2" fmla="*/ 0 w 99460"/>
                <a:gd name="connsiteY2" fmla="*/ 49731 h 99461"/>
                <a:gd name="connsiteX3" fmla="*/ 49730 w 99460"/>
                <a:gd name="connsiteY3" fmla="*/ 0 h 99461"/>
                <a:gd name="connsiteX4" fmla="*/ 99461 w 99460"/>
                <a:gd name="connsiteY4" fmla="*/ 49731 h 9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0" h="99461">
                  <a:moveTo>
                    <a:pt x="99461" y="49731"/>
                  </a:moveTo>
                  <a:cubicBezTo>
                    <a:pt x="99461" y="77196"/>
                    <a:pt x="77196" y="99462"/>
                    <a:pt x="49730" y="99462"/>
                  </a:cubicBezTo>
                  <a:cubicBezTo>
                    <a:pt x="22265" y="99462"/>
                    <a:pt x="0" y="77196"/>
                    <a:pt x="0" y="49731"/>
                  </a:cubicBezTo>
                  <a:cubicBezTo>
                    <a:pt x="0" y="22265"/>
                    <a:pt x="22265" y="0"/>
                    <a:pt x="49730" y="0"/>
                  </a:cubicBezTo>
                  <a:cubicBezTo>
                    <a:pt x="77196" y="0"/>
                    <a:pt x="99461" y="22265"/>
                    <a:pt x="99461" y="49731"/>
                  </a:cubicBezTo>
                  <a:close/>
                </a:path>
              </a:pathLst>
            </a:custGeom>
            <a:solidFill>
              <a:srgbClr val="5CB5FF">
                <a:alpha val="6000"/>
              </a:srgbClr>
            </a:solidFill>
            <a:ln w="2052" cap="flat">
              <a:noFill/>
              <a:prstDash val="solid"/>
              <a:miter/>
            </a:ln>
          </p:spPr>
          <p:txBody>
            <a:bodyPr rtlCol="0" anchor="ctr"/>
            <a:lstStyle/>
            <a:p>
              <a:endParaRPr lang="en-US"/>
            </a:p>
          </p:txBody>
        </p:sp>
        <p:sp>
          <p:nvSpPr>
            <p:cNvPr id="89" name="Freeform 88">
              <a:extLst>
                <a:ext uri="{FF2B5EF4-FFF2-40B4-BE49-F238E27FC236}">
                  <a16:creationId xmlns:a16="http://schemas.microsoft.com/office/drawing/2014/main" id="{D2036A5F-121A-E149-BAB9-6E06E0E39343}"/>
                </a:ext>
              </a:extLst>
            </p:cNvPr>
            <p:cNvSpPr/>
            <p:nvPr/>
          </p:nvSpPr>
          <p:spPr>
            <a:xfrm>
              <a:off x="7464654"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90" name="Freeform 89">
              <a:extLst>
                <a:ext uri="{FF2B5EF4-FFF2-40B4-BE49-F238E27FC236}">
                  <a16:creationId xmlns:a16="http://schemas.microsoft.com/office/drawing/2014/main" id="{BCF0DED3-D5D0-CF4A-9C2B-7DFE2A602AEE}"/>
                </a:ext>
              </a:extLst>
            </p:cNvPr>
            <p:cNvSpPr/>
            <p:nvPr/>
          </p:nvSpPr>
          <p:spPr>
            <a:xfrm rot="16753102">
              <a:off x="7713706" y="578170"/>
              <a:ext cx="99460" cy="99461"/>
            </a:xfrm>
            <a:custGeom>
              <a:avLst/>
              <a:gdLst>
                <a:gd name="connsiteX0" fmla="*/ 99461 w 99460"/>
                <a:gd name="connsiteY0" fmla="*/ 49731 h 99461"/>
                <a:gd name="connsiteX1" fmla="*/ 49730 w 99460"/>
                <a:gd name="connsiteY1" fmla="*/ 99462 h 99461"/>
                <a:gd name="connsiteX2" fmla="*/ 0 w 99460"/>
                <a:gd name="connsiteY2" fmla="*/ 49731 h 99461"/>
                <a:gd name="connsiteX3" fmla="*/ 49730 w 99460"/>
                <a:gd name="connsiteY3" fmla="*/ 0 h 99461"/>
                <a:gd name="connsiteX4" fmla="*/ 99461 w 99460"/>
                <a:gd name="connsiteY4" fmla="*/ 49731 h 9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0" h="99461">
                  <a:moveTo>
                    <a:pt x="99461" y="49731"/>
                  </a:moveTo>
                  <a:cubicBezTo>
                    <a:pt x="99461" y="77196"/>
                    <a:pt x="77196" y="99462"/>
                    <a:pt x="49730" y="99462"/>
                  </a:cubicBezTo>
                  <a:cubicBezTo>
                    <a:pt x="22265" y="99462"/>
                    <a:pt x="0" y="77196"/>
                    <a:pt x="0" y="49731"/>
                  </a:cubicBezTo>
                  <a:cubicBezTo>
                    <a:pt x="0" y="22265"/>
                    <a:pt x="22265" y="0"/>
                    <a:pt x="49730" y="0"/>
                  </a:cubicBezTo>
                  <a:cubicBezTo>
                    <a:pt x="77196" y="0"/>
                    <a:pt x="99461" y="22265"/>
                    <a:pt x="99461" y="49731"/>
                  </a:cubicBezTo>
                  <a:close/>
                </a:path>
              </a:pathLst>
            </a:custGeom>
            <a:solidFill>
              <a:srgbClr val="5CB5FF">
                <a:alpha val="4000"/>
              </a:srgbClr>
            </a:solidFill>
            <a:ln w="2052" cap="flat">
              <a:noFill/>
              <a:prstDash val="solid"/>
              <a:miter/>
            </a:ln>
          </p:spPr>
          <p:txBody>
            <a:bodyPr rtlCol="0" anchor="ctr"/>
            <a:lstStyle/>
            <a:p>
              <a:endParaRPr lang="en-US"/>
            </a:p>
          </p:txBody>
        </p:sp>
        <p:sp>
          <p:nvSpPr>
            <p:cNvPr id="91" name="Freeform 90">
              <a:extLst>
                <a:ext uri="{FF2B5EF4-FFF2-40B4-BE49-F238E27FC236}">
                  <a16:creationId xmlns:a16="http://schemas.microsoft.com/office/drawing/2014/main" id="{45B174D9-5533-0241-B420-5CDE83187945}"/>
                </a:ext>
              </a:extLst>
            </p:cNvPr>
            <p:cNvSpPr/>
            <p:nvPr/>
          </p:nvSpPr>
          <p:spPr>
            <a:xfrm>
              <a:off x="7962977"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5000"/>
              </a:srgbClr>
            </a:solidFill>
            <a:ln w="2052" cap="flat">
              <a:noFill/>
              <a:prstDash val="solid"/>
              <a:miter/>
            </a:ln>
          </p:spPr>
          <p:txBody>
            <a:bodyPr rtlCol="0" anchor="ctr"/>
            <a:lstStyle/>
            <a:p>
              <a:endParaRPr lang="en-US"/>
            </a:p>
          </p:txBody>
        </p:sp>
        <p:sp>
          <p:nvSpPr>
            <p:cNvPr id="92" name="Freeform 91">
              <a:extLst>
                <a:ext uri="{FF2B5EF4-FFF2-40B4-BE49-F238E27FC236}">
                  <a16:creationId xmlns:a16="http://schemas.microsoft.com/office/drawing/2014/main" id="{E5E8A156-1317-3742-B05E-569311DF62A5}"/>
                </a:ext>
              </a:extLst>
            </p:cNvPr>
            <p:cNvSpPr/>
            <p:nvPr/>
          </p:nvSpPr>
          <p:spPr>
            <a:xfrm>
              <a:off x="8212138"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5000"/>
              </a:srgbClr>
            </a:solidFill>
            <a:ln w="2052" cap="flat">
              <a:noFill/>
              <a:prstDash val="solid"/>
              <a:miter/>
            </a:ln>
          </p:spPr>
          <p:txBody>
            <a:bodyPr rtlCol="0" anchor="ctr"/>
            <a:lstStyle/>
            <a:p>
              <a:endParaRPr lang="en-US"/>
            </a:p>
          </p:txBody>
        </p:sp>
        <p:sp>
          <p:nvSpPr>
            <p:cNvPr id="93" name="Freeform 92">
              <a:extLst>
                <a:ext uri="{FF2B5EF4-FFF2-40B4-BE49-F238E27FC236}">
                  <a16:creationId xmlns:a16="http://schemas.microsoft.com/office/drawing/2014/main" id="{ED64574D-EFC6-364B-997D-3822C78B7DDA}"/>
                </a:ext>
              </a:extLst>
            </p:cNvPr>
            <p:cNvSpPr/>
            <p:nvPr/>
          </p:nvSpPr>
          <p:spPr>
            <a:xfrm>
              <a:off x="8710461"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94" name="Freeform 93">
              <a:extLst>
                <a:ext uri="{FF2B5EF4-FFF2-40B4-BE49-F238E27FC236}">
                  <a16:creationId xmlns:a16="http://schemas.microsoft.com/office/drawing/2014/main" id="{2E32684E-45ED-F540-B6E1-CA9A46C85404}"/>
                </a:ext>
              </a:extLst>
            </p:cNvPr>
            <p:cNvSpPr/>
            <p:nvPr/>
          </p:nvSpPr>
          <p:spPr>
            <a:xfrm>
              <a:off x="8461299"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4"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95" name="Freeform 94">
              <a:extLst>
                <a:ext uri="{FF2B5EF4-FFF2-40B4-BE49-F238E27FC236}">
                  <a16:creationId xmlns:a16="http://schemas.microsoft.com/office/drawing/2014/main" id="{FAF9B900-34B5-D04E-A2B0-680BCAE79708}"/>
                </a:ext>
              </a:extLst>
            </p:cNvPr>
            <p:cNvSpPr/>
            <p:nvPr/>
          </p:nvSpPr>
          <p:spPr>
            <a:xfrm>
              <a:off x="8212138"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96" name="Freeform 95">
              <a:extLst>
                <a:ext uri="{FF2B5EF4-FFF2-40B4-BE49-F238E27FC236}">
                  <a16:creationId xmlns:a16="http://schemas.microsoft.com/office/drawing/2014/main" id="{69BB02AA-00B1-4D4A-AFD8-68A4BE0B04FE}"/>
                </a:ext>
              </a:extLst>
            </p:cNvPr>
            <p:cNvSpPr/>
            <p:nvPr/>
          </p:nvSpPr>
          <p:spPr>
            <a:xfrm>
              <a:off x="8212138"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97" name="Freeform 96">
              <a:extLst>
                <a:ext uri="{FF2B5EF4-FFF2-40B4-BE49-F238E27FC236}">
                  <a16:creationId xmlns:a16="http://schemas.microsoft.com/office/drawing/2014/main" id="{C04F0CC8-D44B-AB45-AA17-D3AD761A08A8}"/>
                </a:ext>
              </a:extLst>
            </p:cNvPr>
            <p:cNvSpPr/>
            <p:nvPr/>
          </p:nvSpPr>
          <p:spPr>
            <a:xfrm>
              <a:off x="8461299"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4"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98" name="Freeform 97">
              <a:extLst>
                <a:ext uri="{FF2B5EF4-FFF2-40B4-BE49-F238E27FC236}">
                  <a16:creationId xmlns:a16="http://schemas.microsoft.com/office/drawing/2014/main" id="{1773D5B2-17F9-3F4D-8BBE-C2EA05C60813}"/>
                </a:ext>
              </a:extLst>
            </p:cNvPr>
            <p:cNvSpPr/>
            <p:nvPr/>
          </p:nvSpPr>
          <p:spPr>
            <a:xfrm>
              <a:off x="8710461"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99" name="Freeform 98">
              <a:extLst>
                <a:ext uri="{FF2B5EF4-FFF2-40B4-BE49-F238E27FC236}">
                  <a16:creationId xmlns:a16="http://schemas.microsoft.com/office/drawing/2014/main" id="{F398E671-8204-9D4A-B924-0745B00504F1}"/>
                </a:ext>
              </a:extLst>
            </p:cNvPr>
            <p:cNvSpPr/>
            <p:nvPr/>
          </p:nvSpPr>
          <p:spPr>
            <a:xfrm>
              <a:off x="8212138" y="82729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100" name="Freeform 99">
              <a:extLst>
                <a:ext uri="{FF2B5EF4-FFF2-40B4-BE49-F238E27FC236}">
                  <a16:creationId xmlns:a16="http://schemas.microsoft.com/office/drawing/2014/main" id="{DA042452-BCFC-5F46-ABEF-0923CA3AF459}"/>
                </a:ext>
              </a:extLst>
            </p:cNvPr>
            <p:cNvSpPr/>
            <p:nvPr/>
          </p:nvSpPr>
          <p:spPr>
            <a:xfrm>
              <a:off x="8212138" y="107645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101" name="Freeform 100">
              <a:extLst>
                <a:ext uri="{FF2B5EF4-FFF2-40B4-BE49-F238E27FC236}">
                  <a16:creationId xmlns:a16="http://schemas.microsoft.com/office/drawing/2014/main" id="{06351593-861B-E04C-B112-38D55ED1A2EE}"/>
                </a:ext>
              </a:extLst>
            </p:cNvPr>
            <p:cNvSpPr/>
            <p:nvPr/>
          </p:nvSpPr>
          <p:spPr>
            <a:xfrm>
              <a:off x="8698156" y="814990"/>
              <a:ext cx="124067" cy="124068"/>
            </a:xfrm>
            <a:custGeom>
              <a:avLst/>
              <a:gdLst>
                <a:gd name="connsiteX0" fmla="*/ 124068 w 124067"/>
                <a:gd name="connsiteY0" fmla="*/ 62034 h 124068"/>
                <a:gd name="connsiteX1" fmla="*/ 62034 w 124067"/>
                <a:gd name="connsiteY1" fmla="*/ 124069 h 124068"/>
                <a:gd name="connsiteX2" fmla="*/ 0 w 124067"/>
                <a:gd name="connsiteY2" fmla="*/ 62034 h 124068"/>
                <a:gd name="connsiteX3" fmla="*/ 62034 w 124067"/>
                <a:gd name="connsiteY3" fmla="*/ 0 h 124068"/>
                <a:gd name="connsiteX4" fmla="*/ 124068 w 124067"/>
                <a:gd name="connsiteY4" fmla="*/ 62034 h 124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67" h="124068">
                  <a:moveTo>
                    <a:pt x="124068" y="62034"/>
                  </a:moveTo>
                  <a:cubicBezTo>
                    <a:pt x="124068" y="96295"/>
                    <a:pt x="96294" y="124069"/>
                    <a:pt x="62034" y="124069"/>
                  </a:cubicBezTo>
                  <a:cubicBezTo>
                    <a:pt x="27773" y="124069"/>
                    <a:pt x="0" y="96295"/>
                    <a:pt x="0" y="62034"/>
                  </a:cubicBezTo>
                  <a:cubicBezTo>
                    <a:pt x="0" y="27774"/>
                    <a:pt x="27773" y="0"/>
                    <a:pt x="62034" y="0"/>
                  </a:cubicBezTo>
                  <a:cubicBezTo>
                    <a:pt x="96294" y="0"/>
                    <a:pt x="124068" y="27774"/>
                    <a:pt x="124068" y="62034"/>
                  </a:cubicBezTo>
                  <a:close/>
                </a:path>
              </a:pathLst>
            </a:custGeom>
            <a:solidFill>
              <a:srgbClr val="5CB5FF">
                <a:alpha val="24000"/>
              </a:srgbClr>
            </a:solidFill>
            <a:ln w="2052" cap="flat">
              <a:noFill/>
              <a:prstDash val="solid"/>
              <a:miter/>
            </a:ln>
          </p:spPr>
          <p:txBody>
            <a:bodyPr rtlCol="0" anchor="ctr"/>
            <a:lstStyle/>
            <a:p>
              <a:endParaRPr lang="en-US"/>
            </a:p>
          </p:txBody>
        </p:sp>
        <p:sp>
          <p:nvSpPr>
            <p:cNvPr id="102" name="Freeform 101">
              <a:extLst>
                <a:ext uri="{FF2B5EF4-FFF2-40B4-BE49-F238E27FC236}">
                  <a16:creationId xmlns:a16="http://schemas.microsoft.com/office/drawing/2014/main" id="{D3399C5D-791D-8C43-8239-04E408AB56AA}"/>
                </a:ext>
              </a:extLst>
            </p:cNvPr>
            <p:cNvSpPr/>
            <p:nvPr/>
          </p:nvSpPr>
          <p:spPr>
            <a:xfrm>
              <a:off x="7962977" y="82729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07" name="Freeform 106">
              <a:extLst>
                <a:ext uri="{FF2B5EF4-FFF2-40B4-BE49-F238E27FC236}">
                  <a16:creationId xmlns:a16="http://schemas.microsoft.com/office/drawing/2014/main" id="{99F779EA-6472-FF42-885F-A0B8DB934CC7}"/>
                </a:ext>
              </a:extLst>
            </p:cNvPr>
            <p:cNvSpPr/>
            <p:nvPr/>
          </p:nvSpPr>
          <p:spPr>
            <a:xfrm>
              <a:off x="7700999" y="66989"/>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23000"/>
              </a:srgbClr>
            </a:solidFill>
            <a:ln w="2052" cap="flat">
              <a:noFill/>
              <a:prstDash val="solid"/>
              <a:miter/>
            </a:ln>
          </p:spPr>
          <p:txBody>
            <a:bodyPr rtlCol="0" anchor="ctr"/>
            <a:lstStyle/>
            <a:p>
              <a:endParaRPr lang="en-US"/>
            </a:p>
          </p:txBody>
        </p:sp>
        <p:sp>
          <p:nvSpPr>
            <p:cNvPr id="124" name="Freeform 123">
              <a:extLst>
                <a:ext uri="{FF2B5EF4-FFF2-40B4-BE49-F238E27FC236}">
                  <a16:creationId xmlns:a16="http://schemas.microsoft.com/office/drawing/2014/main" id="{FC8CCAED-F8CD-AE4A-86B3-CF9C9523B962}"/>
                </a:ext>
              </a:extLst>
            </p:cNvPr>
            <p:cNvSpPr/>
            <p:nvPr/>
          </p:nvSpPr>
          <p:spPr>
            <a:xfrm>
              <a:off x="8934501"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129" name="Freeform 128">
              <a:extLst>
                <a:ext uri="{FF2B5EF4-FFF2-40B4-BE49-F238E27FC236}">
                  <a16:creationId xmlns:a16="http://schemas.microsoft.com/office/drawing/2014/main" id="{C7E879DF-EE44-AA45-AE05-DD5B4FA49205}"/>
                </a:ext>
              </a:extLst>
            </p:cNvPr>
            <p:cNvSpPr/>
            <p:nvPr/>
          </p:nvSpPr>
          <p:spPr>
            <a:xfrm>
              <a:off x="8934501"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5000"/>
              </a:srgbClr>
            </a:solidFill>
            <a:ln w="2052" cap="flat">
              <a:noFill/>
              <a:prstDash val="solid"/>
              <a:miter/>
            </a:ln>
          </p:spPr>
          <p:txBody>
            <a:bodyPr rtlCol="0" anchor="ctr"/>
            <a:lstStyle/>
            <a:p>
              <a:endParaRPr lang="en-US"/>
            </a:p>
          </p:txBody>
        </p:sp>
      </p:grpSp>
      <p:grpSp>
        <p:nvGrpSpPr>
          <p:cNvPr id="204" name="Group 203">
            <a:extLst>
              <a:ext uri="{FF2B5EF4-FFF2-40B4-BE49-F238E27FC236}">
                <a16:creationId xmlns:a16="http://schemas.microsoft.com/office/drawing/2014/main" id="{98C6D2D3-238B-EB4D-B8B4-6CA49DB6AA18}"/>
              </a:ext>
            </a:extLst>
          </p:cNvPr>
          <p:cNvGrpSpPr/>
          <p:nvPr/>
        </p:nvGrpSpPr>
        <p:grpSpPr>
          <a:xfrm>
            <a:off x="100130" y="3903136"/>
            <a:ext cx="1843588" cy="1108928"/>
            <a:chOff x="92670" y="3892522"/>
            <a:chExt cx="1843588" cy="1108928"/>
          </a:xfrm>
        </p:grpSpPr>
        <p:sp>
          <p:nvSpPr>
            <p:cNvPr id="178" name="Freeform 177">
              <a:extLst>
                <a:ext uri="{FF2B5EF4-FFF2-40B4-BE49-F238E27FC236}">
                  <a16:creationId xmlns:a16="http://schemas.microsoft.com/office/drawing/2014/main" id="{285D0C28-DCE9-1946-93BF-94EBD76B7959}"/>
                </a:ext>
              </a:extLst>
            </p:cNvPr>
            <p:cNvSpPr/>
            <p:nvPr/>
          </p:nvSpPr>
          <p:spPr>
            <a:xfrm>
              <a:off x="1836799"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180" name="Freeform 179">
              <a:extLst>
                <a:ext uri="{FF2B5EF4-FFF2-40B4-BE49-F238E27FC236}">
                  <a16:creationId xmlns:a16="http://schemas.microsoft.com/office/drawing/2014/main" id="{293133EB-DE7C-8D41-8FFA-DD26B577D8C1}"/>
                </a:ext>
              </a:extLst>
            </p:cNvPr>
            <p:cNvSpPr/>
            <p:nvPr/>
          </p:nvSpPr>
          <p:spPr>
            <a:xfrm>
              <a:off x="1587637"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81" name="Freeform 180">
              <a:extLst>
                <a:ext uri="{FF2B5EF4-FFF2-40B4-BE49-F238E27FC236}">
                  <a16:creationId xmlns:a16="http://schemas.microsoft.com/office/drawing/2014/main" id="{34550379-B92D-8241-B540-0627AA0A921B}"/>
                </a:ext>
              </a:extLst>
            </p:cNvPr>
            <p:cNvSpPr/>
            <p:nvPr/>
          </p:nvSpPr>
          <p:spPr>
            <a:xfrm>
              <a:off x="1338476"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82" name="Freeform 181">
              <a:extLst>
                <a:ext uri="{FF2B5EF4-FFF2-40B4-BE49-F238E27FC236}">
                  <a16:creationId xmlns:a16="http://schemas.microsoft.com/office/drawing/2014/main" id="{C33ECA2F-821B-5F44-80D3-EA291967F056}"/>
                </a:ext>
              </a:extLst>
            </p:cNvPr>
            <p:cNvSpPr/>
            <p:nvPr/>
          </p:nvSpPr>
          <p:spPr>
            <a:xfrm>
              <a:off x="1089315"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83" name="Freeform 182">
              <a:extLst>
                <a:ext uri="{FF2B5EF4-FFF2-40B4-BE49-F238E27FC236}">
                  <a16:creationId xmlns:a16="http://schemas.microsoft.com/office/drawing/2014/main" id="{DF4643A6-1BE6-854C-9B0E-F821AD1BA95B}"/>
                </a:ext>
              </a:extLst>
            </p:cNvPr>
            <p:cNvSpPr/>
            <p:nvPr/>
          </p:nvSpPr>
          <p:spPr>
            <a:xfrm>
              <a:off x="1089315"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84" name="Freeform 183">
              <a:extLst>
                <a:ext uri="{FF2B5EF4-FFF2-40B4-BE49-F238E27FC236}">
                  <a16:creationId xmlns:a16="http://schemas.microsoft.com/office/drawing/2014/main" id="{6EE82805-A90B-A042-95FE-EDAEC75607FC}"/>
                </a:ext>
              </a:extLst>
            </p:cNvPr>
            <p:cNvSpPr/>
            <p:nvPr/>
          </p:nvSpPr>
          <p:spPr>
            <a:xfrm>
              <a:off x="840154"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85" name="Freeform 184">
              <a:extLst>
                <a:ext uri="{FF2B5EF4-FFF2-40B4-BE49-F238E27FC236}">
                  <a16:creationId xmlns:a16="http://schemas.microsoft.com/office/drawing/2014/main" id="{E0F43706-4963-5541-8BA1-5360C57199BD}"/>
                </a:ext>
              </a:extLst>
            </p:cNvPr>
            <p:cNvSpPr/>
            <p:nvPr/>
          </p:nvSpPr>
          <p:spPr>
            <a:xfrm>
              <a:off x="1089315"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3000"/>
              </a:srgbClr>
            </a:solidFill>
            <a:ln w="2052" cap="flat">
              <a:noFill/>
              <a:prstDash val="solid"/>
              <a:miter/>
            </a:ln>
          </p:spPr>
          <p:txBody>
            <a:bodyPr rtlCol="0" anchor="ctr"/>
            <a:lstStyle/>
            <a:p>
              <a:endParaRPr lang="en-US"/>
            </a:p>
          </p:txBody>
        </p:sp>
        <p:sp>
          <p:nvSpPr>
            <p:cNvPr id="186" name="Freeform 185">
              <a:extLst>
                <a:ext uri="{FF2B5EF4-FFF2-40B4-BE49-F238E27FC236}">
                  <a16:creationId xmlns:a16="http://schemas.microsoft.com/office/drawing/2014/main" id="{9CF17A4F-24D1-414E-85A4-79CAB802EDFE}"/>
                </a:ext>
              </a:extLst>
            </p:cNvPr>
            <p:cNvSpPr/>
            <p:nvPr/>
          </p:nvSpPr>
          <p:spPr>
            <a:xfrm>
              <a:off x="840154"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187" name="Freeform 186">
              <a:extLst>
                <a:ext uri="{FF2B5EF4-FFF2-40B4-BE49-F238E27FC236}">
                  <a16:creationId xmlns:a16="http://schemas.microsoft.com/office/drawing/2014/main" id="{F8D99D0D-2A3B-754A-909E-B11A8D9C982E}"/>
                </a:ext>
              </a:extLst>
            </p:cNvPr>
            <p:cNvSpPr/>
            <p:nvPr/>
          </p:nvSpPr>
          <p:spPr>
            <a:xfrm>
              <a:off x="590992" y="4889173"/>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88" name="Freeform 187">
              <a:extLst>
                <a:ext uri="{FF2B5EF4-FFF2-40B4-BE49-F238E27FC236}">
                  <a16:creationId xmlns:a16="http://schemas.microsoft.com/office/drawing/2014/main" id="{7A063DF6-3D26-8746-96A9-A68F23AC46EB}"/>
                </a:ext>
              </a:extLst>
            </p:cNvPr>
            <p:cNvSpPr/>
            <p:nvPr/>
          </p:nvSpPr>
          <p:spPr>
            <a:xfrm>
              <a:off x="341831" y="488917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90" name="Freeform 189">
              <a:extLst>
                <a:ext uri="{FF2B5EF4-FFF2-40B4-BE49-F238E27FC236}">
                  <a16:creationId xmlns:a16="http://schemas.microsoft.com/office/drawing/2014/main" id="{BFBD2FDE-BC73-8A4B-9055-8144DB5167A6}"/>
                </a:ext>
              </a:extLst>
            </p:cNvPr>
            <p:cNvSpPr/>
            <p:nvPr/>
          </p:nvSpPr>
          <p:spPr>
            <a:xfrm>
              <a:off x="92670"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191" name="Freeform 190">
              <a:extLst>
                <a:ext uri="{FF2B5EF4-FFF2-40B4-BE49-F238E27FC236}">
                  <a16:creationId xmlns:a16="http://schemas.microsoft.com/office/drawing/2014/main" id="{F21114F7-8C53-0C46-8032-4A441EFEC029}"/>
                </a:ext>
              </a:extLst>
            </p:cNvPr>
            <p:cNvSpPr/>
            <p:nvPr/>
          </p:nvSpPr>
          <p:spPr>
            <a:xfrm>
              <a:off x="341831" y="464001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192" name="Freeform 191">
              <a:extLst>
                <a:ext uri="{FF2B5EF4-FFF2-40B4-BE49-F238E27FC236}">
                  <a16:creationId xmlns:a16="http://schemas.microsoft.com/office/drawing/2014/main" id="{802624AF-2E76-4848-B378-0F6CA56E5D64}"/>
                </a:ext>
              </a:extLst>
            </p:cNvPr>
            <p:cNvSpPr/>
            <p:nvPr/>
          </p:nvSpPr>
          <p:spPr>
            <a:xfrm>
              <a:off x="341831"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93" name="Freeform 192">
              <a:extLst>
                <a:ext uri="{FF2B5EF4-FFF2-40B4-BE49-F238E27FC236}">
                  <a16:creationId xmlns:a16="http://schemas.microsoft.com/office/drawing/2014/main" id="{8D92ACBB-C8A4-F041-8849-AA788332613E}"/>
                </a:ext>
              </a:extLst>
            </p:cNvPr>
            <p:cNvSpPr/>
            <p:nvPr/>
          </p:nvSpPr>
          <p:spPr>
            <a:xfrm>
              <a:off x="92670" y="439084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6000"/>
              </a:srgbClr>
            </a:solidFill>
            <a:ln w="2052"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48879B34-D83A-D449-BC84-AF089636A307}"/>
                </a:ext>
              </a:extLst>
            </p:cNvPr>
            <p:cNvSpPr/>
            <p:nvPr/>
          </p:nvSpPr>
          <p:spPr>
            <a:xfrm>
              <a:off x="341831" y="414168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8000"/>
              </a:srgbClr>
            </a:solidFill>
            <a:ln w="2052" cap="flat">
              <a:noFill/>
              <a:prstDash val="solid"/>
              <a:miter/>
            </a:ln>
          </p:spPr>
          <p:txBody>
            <a:bodyPr rtlCol="0" anchor="ctr"/>
            <a:lstStyle/>
            <a:p>
              <a:endParaRPr lang="en-US"/>
            </a:p>
          </p:txBody>
        </p:sp>
        <p:sp>
          <p:nvSpPr>
            <p:cNvPr id="196" name="Freeform 195">
              <a:extLst>
                <a:ext uri="{FF2B5EF4-FFF2-40B4-BE49-F238E27FC236}">
                  <a16:creationId xmlns:a16="http://schemas.microsoft.com/office/drawing/2014/main" id="{6C9D0334-9555-DC43-96F0-34E1A057E2AC}"/>
                </a:ext>
              </a:extLst>
            </p:cNvPr>
            <p:cNvSpPr/>
            <p:nvPr/>
          </p:nvSpPr>
          <p:spPr>
            <a:xfrm>
              <a:off x="341831" y="389252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4000"/>
              </a:srgbClr>
            </a:solidFill>
            <a:ln w="2052"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885549F4-767E-C847-874B-3624FA050C9A}"/>
                </a:ext>
              </a:extLst>
            </p:cNvPr>
            <p:cNvSpPr/>
            <p:nvPr/>
          </p:nvSpPr>
          <p:spPr>
            <a:xfrm>
              <a:off x="590992" y="4141684"/>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24000"/>
              </a:srgbClr>
            </a:solidFill>
            <a:ln w="2052"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E078AB53-08B6-5D4B-949A-B8FE2F42C2EB}"/>
                </a:ext>
              </a:extLst>
            </p:cNvPr>
            <p:cNvSpPr/>
            <p:nvPr/>
          </p:nvSpPr>
          <p:spPr>
            <a:xfrm>
              <a:off x="827337" y="4876356"/>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25000"/>
              </a:srgbClr>
            </a:solidFill>
            <a:ln w="2052" cap="flat">
              <a:noFill/>
              <a:prstDash val="solid"/>
              <a:miter/>
            </a:ln>
          </p:spPr>
          <p:txBody>
            <a:bodyPr rtlCol="0" anchor="ctr"/>
            <a:lstStyle/>
            <a:p>
              <a:endParaRPr lang="en-US"/>
            </a:p>
          </p:txBody>
        </p:sp>
      </p:gr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2" name="Title Placeholder 1"/>
          <p:cNvSpPr>
            <a:spLocks noGrp="1"/>
          </p:cNvSpPr>
          <p:nvPr>
            <p:ph type="title"/>
          </p:nvPr>
        </p:nvSpPr>
        <p:spPr>
          <a:xfrm>
            <a:off x="628650" y="273844"/>
            <a:ext cx="7886700" cy="457200"/>
          </a:xfrm>
          <a:prstGeom prst="rect">
            <a:avLst/>
          </a:prstGeom>
        </p:spPr>
        <p:txBody>
          <a:bodyPr vert="horz" lIns="91440" tIns="45720" rIns="91440" bIns="45720" rtlCol="0" anchor="ctr">
            <a:normAutofit/>
          </a:bodyPr>
          <a:lstStyle/>
          <a:p>
            <a:r>
              <a:rPr lang="en-US"/>
              <a:t>Click to edit Master title style</a:t>
            </a:r>
          </a:p>
        </p:txBody>
      </p:sp>
      <p:sp>
        <p:nvSpPr>
          <p:cNvPr id="50" name="TextBox 3">
            <a:extLst>
              <a:ext uri="{FF2B5EF4-FFF2-40B4-BE49-F238E27FC236}">
                <a16:creationId xmlns:a16="http://schemas.microsoft.com/office/drawing/2014/main" id="{C88B77EA-AF9E-4DC9-A94D-E41E58552877}"/>
              </a:ext>
            </a:extLst>
          </p:cNvPr>
          <p:cNvSpPr txBox="1"/>
          <p:nvPr/>
        </p:nvSpPr>
        <p:spPr>
          <a:xfrm>
            <a:off x="2230628" y="4679818"/>
            <a:ext cx="4673600" cy="297454"/>
          </a:xfrm>
          <a:prstGeom prst="rect">
            <a:avLst/>
          </a:prstGeom>
          <a:noFill/>
        </p:spPr>
        <p:txBody>
          <a:bodyPr wrap="square" rtlCol="0" anchor="ctr">
            <a:spAutoFit/>
          </a:bodyPr>
          <a:lstStyle/>
          <a:p>
            <a:pPr algn="ctr" defTabSz="243834"/>
            <a:r>
              <a:rPr lang="en-US" sz="1333" b="0" cap="all" spc="0" baseline="0" dirty="0">
                <a:solidFill>
                  <a:schemeClr val="bg1"/>
                </a:solidFill>
                <a:latin typeface="+mn-lt"/>
                <a:cs typeface="Arial" pitchFamily="34" charset="0"/>
              </a:rPr>
              <a:t>CONFIDENTIAL  •  DO NOT DISCLOSE</a:t>
            </a:r>
          </a:p>
        </p:txBody>
      </p:sp>
    </p:spTree>
    <p:custDataLst>
      <p:tags r:id="rId14"/>
    </p:custDataLst>
    <p:extLst>
      <p:ext uri="{BB962C8B-B14F-4D97-AF65-F5344CB8AC3E}">
        <p14:creationId xmlns:p14="http://schemas.microsoft.com/office/powerpoint/2010/main" val="192017571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94" r:id="rId8"/>
    <p:sldLayoutId id="2147483790" r:id="rId9"/>
    <p:sldLayoutId id="2147483791" r:id="rId10"/>
    <p:sldLayoutId id="2147483792" r:id="rId11"/>
    <p:sldLayoutId id="2147483793"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685800" rtl="0" eaLnBrk="1" latinLnBrk="0" hangingPunct="1">
        <a:lnSpc>
          <a:spcPct val="90000"/>
        </a:lnSpc>
        <a:spcBef>
          <a:spcPct val="0"/>
        </a:spcBef>
        <a:buNone/>
        <a:defRPr sz="2800" b="1" kern="1200">
          <a:solidFill>
            <a:schemeClr val="bg1"/>
          </a:solidFill>
          <a:latin typeface="+mn-lt"/>
          <a:ea typeface="+mj-ea"/>
          <a:cs typeface="+mj-cs"/>
        </a:defRPr>
      </a:lvl1pPr>
    </p:titleStyle>
    <p:bodyStyle>
      <a:lvl1pPr marL="182880" indent="-182880" algn="l" defTabSz="685800" rtl="0" eaLnBrk="1" latinLnBrk="0" hangingPunct="1">
        <a:lnSpc>
          <a:spcPct val="85000"/>
        </a:lnSpc>
        <a:spcBef>
          <a:spcPts val="800"/>
        </a:spcBef>
        <a:buFont typeface="Arial" panose="020B0604020202020204" pitchFamily="34" charset="0"/>
        <a:buChar char="•"/>
        <a:defRPr sz="2100" kern="1200">
          <a:solidFill>
            <a:schemeClr val="bg1"/>
          </a:solidFill>
          <a:latin typeface="+mj-lt"/>
          <a:ea typeface="+mn-ea"/>
          <a:cs typeface="+mn-cs"/>
        </a:defRPr>
      </a:lvl1pPr>
      <a:lvl2pPr marL="365760" indent="-182880" algn="l" defTabSz="685800" rtl="0" eaLnBrk="1" latinLnBrk="0" hangingPunct="1">
        <a:lnSpc>
          <a:spcPct val="85000"/>
        </a:lnSpc>
        <a:spcBef>
          <a:spcPts val="800"/>
        </a:spcBef>
        <a:buFont typeface="Calibri Light" panose="020F0302020204030204" pitchFamily="34" charset="0"/>
        <a:buChar char="–"/>
        <a:defRPr sz="1800" kern="1200">
          <a:solidFill>
            <a:schemeClr val="bg1"/>
          </a:solidFill>
          <a:latin typeface="+mj-lt"/>
          <a:ea typeface="+mn-ea"/>
          <a:cs typeface="+mn-cs"/>
        </a:defRPr>
      </a:lvl2pPr>
      <a:lvl3pPr marL="548640" indent="-182880" algn="l" defTabSz="685800" rtl="0" eaLnBrk="1" latinLnBrk="0" hangingPunct="1">
        <a:lnSpc>
          <a:spcPct val="85000"/>
        </a:lnSpc>
        <a:spcBef>
          <a:spcPts val="800"/>
        </a:spcBef>
        <a:buFont typeface="Arial" panose="020B0604020202020204" pitchFamily="34" charset="0"/>
        <a:buChar char="•"/>
        <a:defRPr sz="1500" kern="1200">
          <a:solidFill>
            <a:schemeClr val="bg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12" name="Picture 6">
            <a:extLst>
              <a:ext uri="{FF2B5EF4-FFF2-40B4-BE49-F238E27FC236}">
                <a16:creationId xmlns:a16="http://schemas.microsoft.com/office/drawing/2014/main" id="{50908C7C-E096-4B50-9AD8-7AF3F5E717FE}"/>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411893" y="4746757"/>
            <a:ext cx="558779" cy="253991"/>
          </a:xfrm>
          <a:prstGeom prst="rect">
            <a:avLst/>
          </a:prstGeom>
        </p:spPr>
      </p:pic>
      <p:sp>
        <p:nvSpPr>
          <p:cNvPr id="17" name="TextBox 4">
            <a:extLst>
              <a:ext uri="{FF2B5EF4-FFF2-40B4-BE49-F238E27FC236}">
                <a16:creationId xmlns:a16="http://schemas.microsoft.com/office/drawing/2014/main" id="{1E37FEA7-CA51-4399-92F6-AB705B7FF650}"/>
              </a:ext>
            </a:extLst>
          </p:cNvPr>
          <p:cNvSpPr txBox="1"/>
          <p:nvPr/>
        </p:nvSpPr>
        <p:spPr>
          <a:xfrm>
            <a:off x="3310128" y="4941553"/>
            <a:ext cx="2514600" cy="169277"/>
          </a:xfrm>
          <a:prstGeom prst="rect">
            <a:avLst/>
          </a:prstGeom>
          <a:noFill/>
        </p:spPr>
        <p:txBody>
          <a:bodyPr wrap="square" anchor="b" anchorCtr="0">
            <a:spAutoFit/>
          </a:bodyPr>
          <a:lstStyle/>
          <a:p>
            <a:pPr marL="0" marR="0" lvl="0" indent="0" algn="ctr" defTabSz="274307"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sp>
        <p:nvSpPr>
          <p:cNvPr id="81" name="Freeform 80">
            <a:extLst>
              <a:ext uri="{FF2B5EF4-FFF2-40B4-BE49-F238E27FC236}">
                <a16:creationId xmlns:a16="http://schemas.microsoft.com/office/drawing/2014/main" id="{28E9C9DB-EB60-FD4A-AB5D-86A6DDF93363}"/>
              </a:ext>
            </a:extLst>
          </p:cNvPr>
          <p:cNvSpPr/>
          <p:nvPr/>
        </p:nvSpPr>
        <p:spPr>
          <a:xfrm>
            <a:off x="6717170"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83" name="Freeform 82">
            <a:extLst>
              <a:ext uri="{FF2B5EF4-FFF2-40B4-BE49-F238E27FC236}">
                <a16:creationId xmlns:a16="http://schemas.microsoft.com/office/drawing/2014/main" id="{72DA3650-6307-5742-A8B7-F65D2E045EF9}"/>
              </a:ext>
            </a:extLst>
          </p:cNvPr>
          <p:cNvSpPr/>
          <p:nvPr/>
        </p:nvSpPr>
        <p:spPr>
          <a:xfrm>
            <a:off x="6966332"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84" name="Freeform 83">
            <a:extLst>
              <a:ext uri="{FF2B5EF4-FFF2-40B4-BE49-F238E27FC236}">
                <a16:creationId xmlns:a16="http://schemas.microsoft.com/office/drawing/2014/main" id="{5D71E475-0C72-0A4B-9E83-D4F8682CCF9E}"/>
              </a:ext>
            </a:extLst>
          </p:cNvPr>
          <p:cNvSpPr/>
          <p:nvPr/>
        </p:nvSpPr>
        <p:spPr>
          <a:xfrm>
            <a:off x="7215494"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85" name="Freeform 84">
            <a:extLst>
              <a:ext uri="{FF2B5EF4-FFF2-40B4-BE49-F238E27FC236}">
                <a16:creationId xmlns:a16="http://schemas.microsoft.com/office/drawing/2014/main" id="{119E67ED-5612-6E4C-9FEB-97F8BF6D2FB2}"/>
              </a:ext>
            </a:extLst>
          </p:cNvPr>
          <p:cNvSpPr/>
          <p:nvPr/>
        </p:nvSpPr>
        <p:spPr>
          <a:xfrm>
            <a:off x="7464655"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86" name="Freeform 85">
            <a:extLst>
              <a:ext uri="{FF2B5EF4-FFF2-40B4-BE49-F238E27FC236}">
                <a16:creationId xmlns:a16="http://schemas.microsoft.com/office/drawing/2014/main" id="{7F786CC9-2F25-734F-983E-AFCA587D626B}"/>
              </a:ext>
            </a:extLst>
          </p:cNvPr>
          <p:cNvSpPr/>
          <p:nvPr/>
        </p:nvSpPr>
        <p:spPr>
          <a:xfrm>
            <a:off x="6966332" y="32897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87" name="Freeform 86">
            <a:extLst>
              <a:ext uri="{FF2B5EF4-FFF2-40B4-BE49-F238E27FC236}">
                <a16:creationId xmlns:a16="http://schemas.microsoft.com/office/drawing/2014/main" id="{259F8CA0-60EE-8647-AF4F-6B77D6C4B963}"/>
              </a:ext>
            </a:extLst>
          </p:cNvPr>
          <p:cNvSpPr/>
          <p:nvPr/>
        </p:nvSpPr>
        <p:spPr>
          <a:xfrm>
            <a:off x="7464655" y="32897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88" name="Freeform 87">
            <a:extLst>
              <a:ext uri="{FF2B5EF4-FFF2-40B4-BE49-F238E27FC236}">
                <a16:creationId xmlns:a16="http://schemas.microsoft.com/office/drawing/2014/main" id="{F02A52DA-8B8C-264F-877F-42F66B1C30F6}"/>
              </a:ext>
            </a:extLst>
          </p:cNvPr>
          <p:cNvSpPr/>
          <p:nvPr/>
        </p:nvSpPr>
        <p:spPr>
          <a:xfrm rot="16753102">
            <a:off x="7713704" y="329005"/>
            <a:ext cx="99460" cy="99461"/>
          </a:xfrm>
          <a:custGeom>
            <a:avLst/>
            <a:gdLst>
              <a:gd name="connsiteX0" fmla="*/ 99461 w 99460"/>
              <a:gd name="connsiteY0" fmla="*/ 49731 h 99461"/>
              <a:gd name="connsiteX1" fmla="*/ 49730 w 99460"/>
              <a:gd name="connsiteY1" fmla="*/ 99462 h 99461"/>
              <a:gd name="connsiteX2" fmla="*/ 0 w 99460"/>
              <a:gd name="connsiteY2" fmla="*/ 49731 h 99461"/>
              <a:gd name="connsiteX3" fmla="*/ 49730 w 99460"/>
              <a:gd name="connsiteY3" fmla="*/ 0 h 99461"/>
              <a:gd name="connsiteX4" fmla="*/ 99461 w 99460"/>
              <a:gd name="connsiteY4" fmla="*/ 49731 h 9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0" h="99461">
                <a:moveTo>
                  <a:pt x="99461" y="49731"/>
                </a:moveTo>
                <a:cubicBezTo>
                  <a:pt x="99461" y="77196"/>
                  <a:pt x="77196" y="99462"/>
                  <a:pt x="49730" y="99462"/>
                </a:cubicBezTo>
                <a:cubicBezTo>
                  <a:pt x="22265" y="99462"/>
                  <a:pt x="0" y="77196"/>
                  <a:pt x="0" y="49731"/>
                </a:cubicBezTo>
                <a:cubicBezTo>
                  <a:pt x="0" y="22265"/>
                  <a:pt x="22265" y="0"/>
                  <a:pt x="49730" y="0"/>
                </a:cubicBezTo>
                <a:cubicBezTo>
                  <a:pt x="77196" y="0"/>
                  <a:pt x="99461" y="22265"/>
                  <a:pt x="99461" y="49731"/>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89" name="Freeform 88">
            <a:extLst>
              <a:ext uri="{FF2B5EF4-FFF2-40B4-BE49-F238E27FC236}">
                <a16:creationId xmlns:a16="http://schemas.microsoft.com/office/drawing/2014/main" id="{D2036A5F-121A-E149-BAB9-6E06E0E39343}"/>
              </a:ext>
            </a:extLst>
          </p:cNvPr>
          <p:cNvSpPr/>
          <p:nvPr/>
        </p:nvSpPr>
        <p:spPr>
          <a:xfrm>
            <a:off x="7464655" y="57813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90" name="Freeform 89">
            <a:extLst>
              <a:ext uri="{FF2B5EF4-FFF2-40B4-BE49-F238E27FC236}">
                <a16:creationId xmlns:a16="http://schemas.microsoft.com/office/drawing/2014/main" id="{BCF0DED3-D5D0-CF4A-9C2B-7DFE2A602AEE}"/>
              </a:ext>
            </a:extLst>
          </p:cNvPr>
          <p:cNvSpPr/>
          <p:nvPr/>
        </p:nvSpPr>
        <p:spPr>
          <a:xfrm rot="16753102">
            <a:off x="7713707" y="578171"/>
            <a:ext cx="99460" cy="99461"/>
          </a:xfrm>
          <a:custGeom>
            <a:avLst/>
            <a:gdLst>
              <a:gd name="connsiteX0" fmla="*/ 99461 w 99460"/>
              <a:gd name="connsiteY0" fmla="*/ 49731 h 99461"/>
              <a:gd name="connsiteX1" fmla="*/ 49730 w 99460"/>
              <a:gd name="connsiteY1" fmla="*/ 99462 h 99461"/>
              <a:gd name="connsiteX2" fmla="*/ 0 w 99460"/>
              <a:gd name="connsiteY2" fmla="*/ 49731 h 99461"/>
              <a:gd name="connsiteX3" fmla="*/ 49730 w 99460"/>
              <a:gd name="connsiteY3" fmla="*/ 0 h 99461"/>
              <a:gd name="connsiteX4" fmla="*/ 99461 w 99460"/>
              <a:gd name="connsiteY4" fmla="*/ 49731 h 9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0" h="99461">
                <a:moveTo>
                  <a:pt x="99461" y="49731"/>
                </a:moveTo>
                <a:cubicBezTo>
                  <a:pt x="99461" y="77196"/>
                  <a:pt x="77196" y="99462"/>
                  <a:pt x="49730" y="99462"/>
                </a:cubicBezTo>
                <a:cubicBezTo>
                  <a:pt x="22265" y="99462"/>
                  <a:pt x="0" y="77196"/>
                  <a:pt x="0" y="49731"/>
                </a:cubicBezTo>
                <a:cubicBezTo>
                  <a:pt x="0" y="22265"/>
                  <a:pt x="22265" y="0"/>
                  <a:pt x="49730" y="0"/>
                </a:cubicBezTo>
                <a:cubicBezTo>
                  <a:pt x="77196" y="0"/>
                  <a:pt x="99461" y="22265"/>
                  <a:pt x="99461" y="49731"/>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91" name="Freeform 90">
            <a:extLst>
              <a:ext uri="{FF2B5EF4-FFF2-40B4-BE49-F238E27FC236}">
                <a16:creationId xmlns:a16="http://schemas.microsoft.com/office/drawing/2014/main" id="{45B174D9-5533-0241-B420-5CDE83187945}"/>
              </a:ext>
            </a:extLst>
          </p:cNvPr>
          <p:cNvSpPr/>
          <p:nvPr/>
        </p:nvSpPr>
        <p:spPr>
          <a:xfrm>
            <a:off x="7962977"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92" name="Freeform 91">
            <a:extLst>
              <a:ext uri="{FF2B5EF4-FFF2-40B4-BE49-F238E27FC236}">
                <a16:creationId xmlns:a16="http://schemas.microsoft.com/office/drawing/2014/main" id="{E5E8A156-1317-3742-B05E-569311DF62A5}"/>
              </a:ext>
            </a:extLst>
          </p:cNvPr>
          <p:cNvSpPr/>
          <p:nvPr/>
        </p:nvSpPr>
        <p:spPr>
          <a:xfrm>
            <a:off x="8212139"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93" name="Freeform 92">
            <a:extLst>
              <a:ext uri="{FF2B5EF4-FFF2-40B4-BE49-F238E27FC236}">
                <a16:creationId xmlns:a16="http://schemas.microsoft.com/office/drawing/2014/main" id="{ED64574D-EFC6-364B-997D-3822C78B7DDA}"/>
              </a:ext>
            </a:extLst>
          </p:cNvPr>
          <p:cNvSpPr/>
          <p:nvPr/>
        </p:nvSpPr>
        <p:spPr>
          <a:xfrm>
            <a:off x="8710462" y="32897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94" name="Freeform 93">
            <a:extLst>
              <a:ext uri="{FF2B5EF4-FFF2-40B4-BE49-F238E27FC236}">
                <a16:creationId xmlns:a16="http://schemas.microsoft.com/office/drawing/2014/main" id="{2E32684E-45ED-F540-B6E1-CA9A46C85404}"/>
              </a:ext>
            </a:extLst>
          </p:cNvPr>
          <p:cNvSpPr/>
          <p:nvPr/>
        </p:nvSpPr>
        <p:spPr>
          <a:xfrm>
            <a:off x="8461300" y="32897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4"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95" name="Freeform 94">
            <a:extLst>
              <a:ext uri="{FF2B5EF4-FFF2-40B4-BE49-F238E27FC236}">
                <a16:creationId xmlns:a16="http://schemas.microsoft.com/office/drawing/2014/main" id="{FAF9B900-34B5-D04E-A2B0-680BCAE79708}"/>
              </a:ext>
            </a:extLst>
          </p:cNvPr>
          <p:cNvSpPr/>
          <p:nvPr/>
        </p:nvSpPr>
        <p:spPr>
          <a:xfrm>
            <a:off x="8212139" y="32897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96" name="Freeform 95">
            <a:extLst>
              <a:ext uri="{FF2B5EF4-FFF2-40B4-BE49-F238E27FC236}">
                <a16:creationId xmlns:a16="http://schemas.microsoft.com/office/drawing/2014/main" id="{69BB02AA-00B1-4D4A-AFD8-68A4BE0B04FE}"/>
              </a:ext>
            </a:extLst>
          </p:cNvPr>
          <p:cNvSpPr/>
          <p:nvPr/>
        </p:nvSpPr>
        <p:spPr>
          <a:xfrm>
            <a:off x="8212139" y="57813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97" name="Freeform 96">
            <a:extLst>
              <a:ext uri="{FF2B5EF4-FFF2-40B4-BE49-F238E27FC236}">
                <a16:creationId xmlns:a16="http://schemas.microsoft.com/office/drawing/2014/main" id="{C04F0CC8-D44B-AB45-AA17-D3AD761A08A8}"/>
              </a:ext>
            </a:extLst>
          </p:cNvPr>
          <p:cNvSpPr/>
          <p:nvPr/>
        </p:nvSpPr>
        <p:spPr>
          <a:xfrm>
            <a:off x="8461300" y="57813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4"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98" name="Freeform 97">
            <a:extLst>
              <a:ext uri="{FF2B5EF4-FFF2-40B4-BE49-F238E27FC236}">
                <a16:creationId xmlns:a16="http://schemas.microsoft.com/office/drawing/2014/main" id="{1773D5B2-17F9-3F4D-8BBE-C2EA05C60813}"/>
              </a:ext>
            </a:extLst>
          </p:cNvPr>
          <p:cNvSpPr/>
          <p:nvPr/>
        </p:nvSpPr>
        <p:spPr>
          <a:xfrm>
            <a:off x="8710462" y="578133"/>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99" name="Freeform 98">
            <a:extLst>
              <a:ext uri="{FF2B5EF4-FFF2-40B4-BE49-F238E27FC236}">
                <a16:creationId xmlns:a16="http://schemas.microsoft.com/office/drawing/2014/main" id="{F398E671-8204-9D4A-B924-0745B00504F1}"/>
              </a:ext>
            </a:extLst>
          </p:cNvPr>
          <p:cNvSpPr/>
          <p:nvPr/>
        </p:nvSpPr>
        <p:spPr>
          <a:xfrm>
            <a:off x="8212139" y="827295"/>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00" name="Freeform 99">
            <a:extLst>
              <a:ext uri="{FF2B5EF4-FFF2-40B4-BE49-F238E27FC236}">
                <a16:creationId xmlns:a16="http://schemas.microsoft.com/office/drawing/2014/main" id="{DA042452-BCFC-5F46-ABEF-0923CA3AF459}"/>
              </a:ext>
            </a:extLst>
          </p:cNvPr>
          <p:cNvSpPr/>
          <p:nvPr/>
        </p:nvSpPr>
        <p:spPr>
          <a:xfrm>
            <a:off x="8212139" y="107645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01" name="Freeform 100">
            <a:extLst>
              <a:ext uri="{FF2B5EF4-FFF2-40B4-BE49-F238E27FC236}">
                <a16:creationId xmlns:a16="http://schemas.microsoft.com/office/drawing/2014/main" id="{06351593-861B-E04C-B112-38D55ED1A2EE}"/>
              </a:ext>
            </a:extLst>
          </p:cNvPr>
          <p:cNvSpPr/>
          <p:nvPr/>
        </p:nvSpPr>
        <p:spPr>
          <a:xfrm>
            <a:off x="8698157" y="814990"/>
            <a:ext cx="124067" cy="124068"/>
          </a:xfrm>
          <a:custGeom>
            <a:avLst/>
            <a:gdLst>
              <a:gd name="connsiteX0" fmla="*/ 124068 w 124067"/>
              <a:gd name="connsiteY0" fmla="*/ 62034 h 124068"/>
              <a:gd name="connsiteX1" fmla="*/ 62034 w 124067"/>
              <a:gd name="connsiteY1" fmla="*/ 124069 h 124068"/>
              <a:gd name="connsiteX2" fmla="*/ 0 w 124067"/>
              <a:gd name="connsiteY2" fmla="*/ 62034 h 124068"/>
              <a:gd name="connsiteX3" fmla="*/ 62034 w 124067"/>
              <a:gd name="connsiteY3" fmla="*/ 0 h 124068"/>
              <a:gd name="connsiteX4" fmla="*/ 124068 w 124067"/>
              <a:gd name="connsiteY4" fmla="*/ 62034 h 124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67" h="124068">
                <a:moveTo>
                  <a:pt x="124068" y="62034"/>
                </a:moveTo>
                <a:cubicBezTo>
                  <a:pt x="124068" y="96295"/>
                  <a:pt x="96294" y="124069"/>
                  <a:pt x="62034" y="124069"/>
                </a:cubicBezTo>
                <a:cubicBezTo>
                  <a:pt x="27773" y="124069"/>
                  <a:pt x="0" y="96295"/>
                  <a:pt x="0" y="62034"/>
                </a:cubicBezTo>
                <a:cubicBezTo>
                  <a:pt x="0" y="27774"/>
                  <a:pt x="27773" y="0"/>
                  <a:pt x="62034" y="0"/>
                </a:cubicBezTo>
                <a:cubicBezTo>
                  <a:pt x="96294" y="0"/>
                  <a:pt x="124068" y="27774"/>
                  <a:pt x="124068" y="62034"/>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102" name="Freeform 101">
            <a:extLst>
              <a:ext uri="{FF2B5EF4-FFF2-40B4-BE49-F238E27FC236}">
                <a16:creationId xmlns:a16="http://schemas.microsoft.com/office/drawing/2014/main" id="{D3399C5D-791D-8C43-8239-04E408AB56AA}"/>
              </a:ext>
            </a:extLst>
          </p:cNvPr>
          <p:cNvSpPr/>
          <p:nvPr/>
        </p:nvSpPr>
        <p:spPr>
          <a:xfrm>
            <a:off x="7962977" y="827295"/>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107" name="Freeform 106">
            <a:extLst>
              <a:ext uri="{FF2B5EF4-FFF2-40B4-BE49-F238E27FC236}">
                <a16:creationId xmlns:a16="http://schemas.microsoft.com/office/drawing/2014/main" id="{99F779EA-6472-FF42-885F-A0B8DB934CC7}"/>
              </a:ext>
            </a:extLst>
          </p:cNvPr>
          <p:cNvSpPr/>
          <p:nvPr/>
        </p:nvSpPr>
        <p:spPr>
          <a:xfrm>
            <a:off x="7701000" y="66989"/>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124" name="Freeform 123">
            <a:extLst>
              <a:ext uri="{FF2B5EF4-FFF2-40B4-BE49-F238E27FC236}">
                <a16:creationId xmlns:a16="http://schemas.microsoft.com/office/drawing/2014/main" id="{FC8CCAED-F8CD-AE4A-86B3-CF9C9523B962}"/>
              </a:ext>
            </a:extLst>
          </p:cNvPr>
          <p:cNvSpPr/>
          <p:nvPr/>
        </p:nvSpPr>
        <p:spPr>
          <a:xfrm>
            <a:off x="8934502" y="328970"/>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29" name="Freeform 128">
            <a:extLst>
              <a:ext uri="{FF2B5EF4-FFF2-40B4-BE49-F238E27FC236}">
                <a16:creationId xmlns:a16="http://schemas.microsoft.com/office/drawing/2014/main" id="{C7E879DF-EE44-AA45-AE05-DD5B4FA49205}"/>
              </a:ext>
            </a:extLst>
          </p:cNvPr>
          <p:cNvSpPr/>
          <p:nvPr/>
        </p:nvSpPr>
        <p:spPr>
          <a:xfrm>
            <a:off x="8934502"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178" name="Freeform 177">
            <a:extLst>
              <a:ext uri="{FF2B5EF4-FFF2-40B4-BE49-F238E27FC236}">
                <a16:creationId xmlns:a16="http://schemas.microsoft.com/office/drawing/2014/main" id="{285D0C28-DCE9-1946-93BF-94EBD76B7959}"/>
              </a:ext>
            </a:extLst>
          </p:cNvPr>
          <p:cNvSpPr/>
          <p:nvPr/>
        </p:nvSpPr>
        <p:spPr>
          <a:xfrm>
            <a:off x="1844260" y="4899788"/>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180" name="Freeform 179">
            <a:extLst>
              <a:ext uri="{FF2B5EF4-FFF2-40B4-BE49-F238E27FC236}">
                <a16:creationId xmlns:a16="http://schemas.microsoft.com/office/drawing/2014/main" id="{293133EB-DE7C-8D41-8FFA-DD26B577D8C1}"/>
              </a:ext>
            </a:extLst>
          </p:cNvPr>
          <p:cNvSpPr/>
          <p:nvPr/>
        </p:nvSpPr>
        <p:spPr>
          <a:xfrm>
            <a:off x="1595098" y="4899788"/>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81" name="Freeform 180">
            <a:extLst>
              <a:ext uri="{FF2B5EF4-FFF2-40B4-BE49-F238E27FC236}">
                <a16:creationId xmlns:a16="http://schemas.microsoft.com/office/drawing/2014/main" id="{34550379-B92D-8241-B540-0627AA0A921B}"/>
              </a:ext>
            </a:extLst>
          </p:cNvPr>
          <p:cNvSpPr/>
          <p:nvPr/>
        </p:nvSpPr>
        <p:spPr>
          <a:xfrm>
            <a:off x="1345937" y="4899788"/>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82" name="Freeform 181">
            <a:extLst>
              <a:ext uri="{FF2B5EF4-FFF2-40B4-BE49-F238E27FC236}">
                <a16:creationId xmlns:a16="http://schemas.microsoft.com/office/drawing/2014/main" id="{C33ECA2F-821B-5F44-80D3-EA291967F056}"/>
              </a:ext>
            </a:extLst>
          </p:cNvPr>
          <p:cNvSpPr/>
          <p:nvPr/>
        </p:nvSpPr>
        <p:spPr>
          <a:xfrm>
            <a:off x="1096775" y="4899788"/>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83" name="Freeform 182">
            <a:extLst>
              <a:ext uri="{FF2B5EF4-FFF2-40B4-BE49-F238E27FC236}">
                <a16:creationId xmlns:a16="http://schemas.microsoft.com/office/drawing/2014/main" id="{DF4643A6-1BE6-854C-9B0E-F821AD1BA95B}"/>
              </a:ext>
            </a:extLst>
          </p:cNvPr>
          <p:cNvSpPr/>
          <p:nvPr/>
        </p:nvSpPr>
        <p:spPr>
          <a:xfrm>
            <a:off x="1096775"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84" name="Freeform 183">
            <a:extLst>
              <a:ext uri="{FF2B5EF4-FFF2-40B4-BE49-F238E27FC236}">
                <a16:creationId xmlns:a16="http://schemas.microsoft.com/office/drawing/2014/main" id="{6EE82805-A90B-A042-95FE-EDAEC75607FC}"/>
              </a:ext>
            </a:extLst>
          </p:cNvPr>
          <p:cNvSpPr/>
          <p:nvPr/>
        </p:nvSpPr>
        <p:spPr>
          <a:xfrm>
            <a:off x="847615"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85" name="Freeform 184">
            <a:extLst>
              <a:ext uri="{FF2B5EF4-FFF2-40B4-BE49-F238E27FC236}">
                <a16:creationId xmlns:a16="http://schemas.microsoft.com/office/drawing/2014/main" id="{E0F43706-4963-5541-8BA1-5360C57199BD}"/>
              </a:ext>
            </a:extLst>
          </p:cNvPr>
          <p:cNvSpPr/>
          <p:nvPr/>
        </p:nvSpPr>
        <p:spPr>
          <a:xfrm>
            <a:off x="1096775" y="440146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186" name="Freeform 185">
            <a:extLst>
              <a:ext uri="{FF2B5EF4-FFF2-40B4-BE49-F238E27FC236}">
                <a16:creationId xmlns:a16="http://schemas.microsoft.com/office/drawing/2014/main" id="{9CF17A4F-24D1-414E-85A4-79CAB802EDFE}"/>
              </a:ext>
            </a:extLst>
          </p:cNvPr>
          <p:cNvSpPr/>
          <p:nvPr/>
        </p:nvSpPr>
        <p:spPr>
          <a:xfrm>
            <a:off x="847615" y="440146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87" name="Freeform 186">
            <a:extLst>
              <a:ext uri="{FF2B5EF4-FFF2-40B4-BE49-F238E27FC236}">
                <a16:creationId xmlns:a16="http://schemas.microsoft.com/office/drawing/2014/main" id="{F8D99D0D-2A3B-754A-909E-B11A8D9C982E}"/>
              </a:ext>
            </a:extLst>
          </p:cNvPr>
          <p:cNvSpPr/>
          <p:nvPr/>
        </p:nvSpPr>
        <p:spPr>
          <a:xfrm>
            <a:off x="598453" y="4899788"/>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88" name="Freeform 187">
            <a:extLst>
              <a:ext uri="{FF2B5EF4-FFF2-40B4-BE49-F238E27FC236}">
                <a16:creationId xmlns:a16="http://schemas.microsoft.com/office/drawing/2014/main" id="{7A063DF6-3D26-8746-96A9-A68F23AC46EB}"/>
              </a:ext>
            </a:extLst>
          </p:cNvPr>
          <p:cNvSpPr/>
          <p:nvPr/>
        </p:nvSpPr>
        <p:spPr>
          <a:xfrm>
            <a:off x="349292" y="4899788"/>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90" name="Freeform 189">
            <a:extLst>
              <a:ext uri="{FF2B5EF4-FFF2-40B4-BE49-F238E27FC236}">
                <a16:creationId xmlns:a16="http://schemas.microsoft.com/office/drawing/2014/main" id="{BFBD2FDE-BC73-8A4B-9055-8144DB5167A6}"/>
              </a:ext>
            </a:extLst>
          </p:cNvPr>
          <p:cNvSpPr/>
          <p:nvPr/>
        </p:nvSpPr>
        <p:spPr>
          <a:xfrm>
            <a:off x="100130"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191" name="Freeform 190">
            <a:extLst>
              <a:ext uri="{FF2B5EF4-FFF2-40B4-BE49-F238E27FC236}">
                <a16:creationId xmlns:a16="http://schemas.microsoft.com/office/drawing/2014/main" id="{F21114F7-8C53-0C46-8032-4A441EFEC029}"/>
              </a:ext>
            </a:extLst>
          </p:cNvPr>
          <p:cNvSpPr/>
          <p:nvPr/>
        </p:nvSpPr>
        <p:spPr>
          <a:xfrm>
            <a:off x="349292"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92" name="Freeform 191">
            <a:extLst>
              <a:ext uri="{FF2B5EF4-FFF2-40B4-BE49-F238E27FC236}">
                <a16:creationId xmlns:a16="http://schemas.microsoft.com/office/drawing/2014/main" id="{802624AF-2E76-4848-B378-0F6CA56E5D64}"/>
              </a:ext>
            </a:extLst>
          </p:cNvPr>
          <p:cNvSpPr/>
          <p:nvPr/>
        </p:nvSpPr>
        <p:spPr>
          <a:xfrm>
            <a:off x="349292" y="440146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93" name="Freeform 192">
            <a:extLst>
              <a:ext uri="{FF2B5EF4-FFF2-40B4-BE49-F238E27FC236}">
                <a16:creationId xmlns:a16="http://schemas.microsoft.com/office/drawing/2014/main" id="{8D92ACBB-C8A4-F041-8849-AA788332613E}"/>
              </a:ext>
            </a:extLst>
          </p:cNvPr>
          <p:cNvSpPr/>
          <p:nvPr/>
        </p:nvSpPr>
        <p:spPr>
          <a:xfrm>
            <a:off x="100130" y="440146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95" name="Freeform 194">
            <a:extLst>
              <a:ext uri="{FF2B5EF4-FFF2-40B4-BE49-F238E27FC236}">
                <a16:creationId xmlns:a16="http://schemas.microsoft.com/office/drawing/2014/main" id="{48879B34-D83A-D449-BC84-AF089636A307}"/>
              </a:ext>
            </a:extLst>
          </p:cNvPr>
          <p:cNvSpPr/>
          <p:nvPr/>
        </p:nvSpPr>
        <p:spPr>
          <a:xfrm>
            <a:off x="349292" y="415229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196" name="Freeform 195">
            <a:extLst>
              <a:ext uri="{FF2B5EF4-FFF2-40B4-BE49-F238E27FC236}">
                <a16:creationId xmlns:a16="http://schemas.microsoft.com/office/drawing/2014/main" id="{6C9D0334-9555-DC43-96F0-34E1A057E2AC}"/>
              </a:ext>
            </a:extLst>
          </p:cNvPr>
          <p:cNvSpPr/>
          <p:nvPr/>
        </p:nvSpPr>
        <p:spPr>
          <a:xfrm>
            <a:off x="349292" y="390313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198" name="Freeform 197">
            <a:extLst>
              <a:ext uri="{FF2B5EF4-FFF2-40B4-BE49-F238E27FC236}">
                <a16:creationId xmlns:a16="http://schemas.microsoft.com/office/drawing/2014/main" id="{885549F4-767E-C847-874B-3624FA050C9A}"/>
              </a:ext>
            </a:extLst>
          </p:cNvPr>
          <p:cNvSpPr/>
          <p:nvPr/>
        </p:nvSpPr>
        <p:spPr>
          <a:xfrm>
            <a:off x="598453" y="4152299"/>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4000"/>
            </a:srgbClr>
          </a:solidFill>
          <a:ln w="2052" cap="flat">
            <a:noFill/>
            <a:prstDash val="solid"/>
            <a:miter/>
          </a:ln>
        </p:spPr>
        <p:txBody>
          <a:bodyPr rtlCol="0" anchor="ctr"/>
          <a:lstStyle/>
          <a:p>
            <a:endParaRPr lang="en-US" sz="1800"/>
          </a:p>
        </p:txBody>
      </p:sp>
      <p:sp>
        <p:nvSpPr>
          <p:cNvPr id="203" name="Freeform 202">
            <a:extLst>
              <a:ext uri="{FF2B5EF4-FFF2-40B4-BE49-F238E27FC236}">
                <a16:creationId xmlns:a16="http://schemas.microsoft.com/office/drawing/2014/main" id="{E078AB53-08B6-5D4B-949A-B8FE2F42C2EB}"/>
              </a:ext>
            </a:extLst>
          </p:cNvPr>
          <p:cNvSpPr/>
          <p:nvPr/>
        </p:nvSpPr>
        <p:spPr>
          <a:xfrm>
            <a:off x="834798" y="4886970"/>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10000"/>
            </a:srgbClr>
          </a:solidFill>
          <a:ln w="2052" cap="flat">
            <a:noFill/>
            <a:prstDash val="solid"/>
            <a:miter/>
          </a:ln>
        </p:spPr>
        <p:txBody>
          <a:bodyPr rtlCol="0" anchor="ctr"/>
          <a:lstStyle/>
          <a:p>
            <a:endParaRPr lang="en-US" sz="180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2" name="Title Placeholder 1"/>
          <p:cNvSpPr>
            <a:spLocks noGrp="1"/>
          </p:cNvSpPr>
          <p:nvPr>
            <p:ph type="title"/>
          </p:nvPr>
        </p:nvSpPr>
        <p:spPr>
          <a:xfrm>
            <a:off x="628650" y="273844"/>
            <a:ext cx="7886700" cy="457200"/>
          </a:xfrm>
          <a:prstGeom prst="rect">
            <a:avLst/>
          </a:prstGeom>
        </p:spPr>
        <p:txBody>
          <a:bodyPr vert="horz" lIns="91440" tIns="45720" rIns="91440" bIns="45720" rtlCol="0" anchor="ctr">
            <a:normAutofit/>
          </a:bodyPr>
          <a:lstStyle/>
          <a:p>
            <a:r>
              <a:rPr lang="en-US"/>
              <a:t>Click to edit Master title style</a:t>
            </a:r>
          </a:p>
        </p:txBody>
      </p:sp>
    </p:spTree>
    <p:custDataLst>
      <p:tags r:id="rId20"/>
    </p:custDataLst>
    <p:extLst>
      <p:ext uri="{BB962C8B-B14F-4D97-AF65-F5344CB8AC3E}">
        <p14:creationId xmlns:p14="http://schemas.microsoft.com/office/powerpoint/2010/main" val="1146164048"/>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685783" rtl="0" eaLnBrk="1" latinLnBrk="0" hangingPunct="1">
        <a:lnSpc>
          <a:spcPct val="90000"/>
        </a:lnSpc>
        <a:spcBef>
          <a:spcPct val="0"/>
        </a:spcBef>
        <a:buNone/>
        <a:defRPr sz="2800" b="1" kern="1200">
          <a:solidFill>
            <a:schemeClr val="bg1"/>
          </a:solidFill>
          <a:latin typeface="+mn-lt"/>
          <a:ea typeface="+mj-ea"/>
          <a:cs typeface="+mj-cs"/>
        </a:defRPr>
      </a:lvl1pPr>
    </p:titleStyle>
    <p:bodyStyle>
      <a:lvl1pPr marL="182876" indent="-182876" algn="l" defTabSz="685783" rtl="0" eaLnBrk="1" latinLnBrk="0" hangingPunct="1">
        <a:lnSpc>
          <a:spcPct val="85000"/>
        </a:lnSpc>
        <a:spcBef>
          <a:spcPts val="800"/>
        </a:spcBef>
        <a:buFont typeface="Arial" panose="020B0604020202020204" pitchFamily="34" charset="0"/>
        <a:buChar char="•"/>
        <a:defRPr sz="2100" kern="1200">
          <a:solidFill>
            <a:schemeClr val="bg1"/>
          </a:solidFill>
          <a:latin typeface="+mj-lt"/>
          <a:ea typeface="+mn-ea"/>
          <a:cs typeface="+mn-cs"/>
        </a:defRPr>
      </a:lvl1pPr>
      <a:lvl2pPr marL="365751" indent="-182876" algn="l" defTabSz="685783" rtl="0" eaLnBrk="1" latinLnBrk="0" hangingPunct="1">
        <a:lnSpc>
          <a:spcPct val="85000"/>
        </a:lnSpc>
        <a:spcBef>
          <a:spcPts val="800"/>
        </a:spcBef>
        <a:buFont typeface="Calibri Light" panose="020F0302020204030204" pitchFamily="34" charset="0"/>
        <a:buChar char="–"/>
        <a:defRPr sz="1800" kern="1200">
          <a:solidFill>
            <a:schemeClr val="bg1"/>
          </a:solidFill>
          <a:latin typeface="+mj-lt"/>
          <a:ea typeface="+mn-ea"/>
          <a:cs typeface="+mn-cs"/>
        </a:defRPr>
      </a:lvl2pPr>
      <a:lvl3pPr marL="548627" indent="-182876" algn="l" defTabSz="685783" rtl="0" eaLnBrk="1" latinLnBrk="0" hangingPunct="1">
        <a:lnSpc>
          <a:spcPct val="85000"/>
        </a:lnSpc>
        <a:spcBef>
          <a:spcPts val="800"/>
        </a:spcBef>
        <a:buFont typeface="Arial" panose="020B0604020202020204" pitchFamily="34" charset="0"/>
        <a:buChar char="•"/>
        <a:defRPr sz="1500" kern="1200">
          <a:solidFill>
            <a:schemeClr val="bg1"/>
          </a:solidFill>
          <a:latin typeface="+mj-lt"/>
          <a:ea typeface="+mn-ea"/>
          <a:cs typeface="+mn-cs"/>
        </a:defRPr>
      </a:lvl3pPr>
      <a:lvl4pPr marL="1200120" indent="-171446" algn="l" defTabSz="685783"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7980934" y="4757058"/>
            <a:ext cx="474872" cy="155575"/>
          </a:xfrm>
          <a:prstGeom prst="rect">
            <a:avLst/>
          </a:prstGeom>
        </p:spPr>
        <p:txBody>
          <a:bodyPr lIns="0" tIns="0" rIns="0" bIns="0"/>
          <a:lstStyle>
            <a:lvl1pPr algn="r">
              <a:defRPr sz="1000"/>
            </a:lvl1pPr>
          </a:lstStyle>
          <a:p>
            <a:pPr defTabSz="342900" eaLnBrk="0" fontAlgn="base" hangingPunct="0">
              <a:spcBef>
                <a:spcPct val="0"/>
              </a:spcBef>
              <a:spcAft>
                <a:spcPct val="0"/>
              </a:spcAft>
              <a:defRPr/>
            </a:pPr>
            <a:fld id="{E3AC9CA4-24D0-49B8-B18E-5D345B9E40FE}" type="slidenum">
              <a:rPr lang="en-CA" smtClean="0">
                <a:solidFill>
                  <a:srgbClr val="000000"/>
                </a:solidFill>
                <a:latin typeface="Arial" charset="0"/>
              </a:rPr>
              <a:pPr defTabSz="342900" eaLnBrk="0" fontAlgn="base" hangingPunct="0">
                <a:spcBef>
                  <a:spcPct val="0"/>
                </a:spcBef>
                <a:spcAft>
                  <a:spcPct val="0"/>
                </a:spcAft>
                <a:defRPr/>
              </a:pPr>
              <a:t>‹N°›</a:t>
            </a:fld>
            <a:endParaRPr lang="en-CA">
              <a:solidFill>
                <a:srgbClr val="000000"/>
              </a:solidFill>
              <a:latin typeface="Arial" charset="0"/>
            </a:endParaRPr>
          </a:p>
        </p:txBody>
      </p:sp>
      <p:cxnSp>
        <p:nvCxnSpPr>
          <p:cNvPr id="7" name="Straight Connector 6"/>
          <p:cNvCxnSpPr/>
          <p:nvPr/>
        </p:nvCxnSpPr>
        <p:spPr>
          <a:xfrm>
            <a:off x="8554628" y="4757058"/>
            <a:ext cx="0" cy="155575"/>
          </a:xfrm>
          <a:prstGeom prst="line">
            <a:avLst/>
          </a:prstGeom>
          <a:ln w="635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8" name="Image 15"/>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8653452" y="4759962"/>
            <a:ext cx="174812" cy="156216"/>
          </a:xfrm>
          <a:prstGeom prst="rect">
            <a:avLst/>
          </a:prstGeom>
        </p:spPr>
      </p:pic>
    </p:spTree>
    <p:extLst>
      <p:ext uri="{BB962C8B-B14F-4D97-AF65-F5344CB8AC3E}">
        <p14:creationId xmlns:p14="http://schemas.microsoft.com/office/powerpoint/2010/main" val="104720406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3" r:id="rId18"/>
    <p:sldLayoutId id="2147483834" r:id="rId19"/>
    <p:sldLayoutId id="2147483835" r:id="rId20"/>
    <p:sldLayoutId id="2147483836" r:id="rId21"/>
  </p:sldLayoutIdLst>
  <p:hf hdr="0" ftr="0" dt="0"/>
  <p:txStyles>
    <p:titleStyle>
      <a:lvl1pPr algn="l" defTabSz="342884" rtl="0" eaLnBrk="1" fontAlgn="base" hangingPunct="1">
        <a:spcBef>
          <a:spcPct val="0"/>
        </a:spcBef>
        <a:spcAft>
          <a:spcPct val="0"/>
        </a:spcAft>
        <a:defRPr sz="2250" kern="1200">
          <a:solidFill>
            <a:srgbClr val="FF0000"/>
          </a:solidFill>
          <a:latin typeface="Calibri"/>
          <a:ea typeface="Geneva" charset="0"/>
          <a:cs typeface="Calibri"/>
        </a:defRPr>
      </a:lvl1pPr>
      <a:lvl2pPr algn="l" defTabSz="342884" rtl="0" eaLnBrk="1" fontAlgn="base" hangingPunct="1">
        <a:spcBef>
          <a:spcPct val="0"/>
        </a:spcBef>
        <a:spcAft>
          <a:spcPct val="0"/>
        </a:spcAft>
        <a:defRPr sz="2250">
          <a:solidFill>
            <a:srgbClr val="FF0000"/>
          </a:solidFill>
          <a:latin typeface="Calibri" pitchFamily="1" charset="0"/>
          <a:ea typeface="Geneva" charset="0"/>
          <a:cs typeface="Calibri" pitchFamily="34" charset="0"/>
        </a:defRPr>
      </a:lvl2pPr>
      <a:lvl3pPr algn="l" defTabSz="342884" rtl="0" eaLnBrk="1" fontAlgn="base" hangingPunct="1">
        <a:spcBef>
          <a:spcPct val="0"/>
        </a:spcBef>
        <a:spcAft>
          <a:spcPct val="0"/>
        </a:spcAft>
        <a:defRPr sz="2250">
          <a:solidFill>
            <a:srgbClr val="FF0000"/>
          </a:solidFill>
          <a:latin typeface="Calibri" pitchFamily="1" charset="0"/>
          <a:ea typeface="Geneva" charset="0"/>
          <a:cs typeface="Calibri" pitchFamily="34" charset="0"/>
        </a:defRPr>
      </a:lvl3pPr>
      <a:lvl4pPr algn="l" defTabSz="342884" rtl="0" eaLnBrk="1" fontAlgn="base" hangingPunct="1">
        <a:spcBef>
          <a:spcPct val="0"/>
        </a:spcBef>
        <a:spcAft>
          <a:spcPct val="0"/>
        </a:spcAft>
        <a:defRPr sz="2250">
          <a:solidFill>
            <a:srgbClr val="FF0000"/>
          </a:solidFill>
          <a:latin typeface="Calibri" pitchFamily="1" charset="0"/>
          <a:ea typeface="Geneva" charset="0"/>
          <a:cs typeface="Calibri" pitchFamily="34" charset="0"/>
        </a:defRPr>
      </a:lvl4pPr>
      <a:lvl5pPr algn="l" defTabSz="342884" rtl="0" eaLnBrk="1" fontAlgn="base" hangingPunct="1">
        <a:spcBef>
          <a:spcPct val="0"/>
        </a:spcBef>
        <a:spcAft>
          <a:spcPct val="0"/>
        </a:spcAft>
        <a:defRPr sz="2250">
          <a:solidFill>
            <a:srgbClr val="FF0000"/>
          </a:solidFill>
          <a:latin typeface="Calibri" pitchFamily="1" charset="0"/>
          <a:ea typeface="Geneva" charset="0"/>
          <a:cs typeface="Calibri" pitchFamily="34" charset="0"/>
        </a:defRPr>
      </a:lvl5pPr>
      <a:lvl6pPr marL="342884" algn="l" defTabSz="342884" rtl="0" eaLnBrk="1" fontAlgn="base" hangingPunct="1">
        <a:spcBef>
          <a:spcPct val="0"/>
        </a:spcBef>
        <a:spcAft>
          <a:spcPct val="0"/>
        </a:spcAft>
        <a:defRPr sz="1800">
          <a:solidFill>
            <a:srgbClr val="FF0000"/>
          </a:solidFill>
          <a:latin typeface="Arial" charset="0"/>
          <a:ea typeface="Geneva" charset="0"/>
        </a:defRPr>
      </a:lvl6pPr>
      <a:lvl7pPr marL="685766" algn="l" defTabSz="342884" rtl="0" eaLnBrk="1" fontAlgn="base" hangingPunct="1">
        <a:spcBef>
          <a:spcPct val="0"/>
        </a:spcBef>
        <a:spcAft>
          <a:spcPct val="0"/>
        </a:spcAft>
        <a:defRPr sz="1800">
          <a:solidFill>
            <a:srgbClr val="FF0000"/>
          </a:solidFill>
          <a:latin typeface="Arial" charset="0"/>
          <a:ea typeface="Geneva" charset="0"/>
        </a:defRPr>
      </a:lvl7pPr>
      <a:lvl8pPr marL="1028649" algn="l" defTabSz="342884" rtl="0" eaLnBrk="1" fontAlgn="base" hangingPunct="1">
        <a:spcBef>
          <a:spcPct val="0"/>
        </a:spcBef>
        <a:spcAft>
          <a:spcPct val="0"/>
        </a:spcAft>
        <a:defRPr sz="1800">
          <a:solidFill>
            <a:srgbClr val="FF0000"/>
          </a:solidFill>
          <a:latin typeface="Arial" charset="0"/>
          <a:ea typeface="Geneva" charset="0"/>
        </a:defRPr>
      </a:lvl8pPr>
      <a:lvl9pPr marL="1371532" algn="l" defTabSz="342884" rtl="0" eaLnBrk="1" fontAlgn="base" hangingPunct="1">
        <a:spcBef>
          <a:spcPct val="0"/>
        </a:spcBef>
        <a:spcAft>
          <a:spcPct val="0"/>
        </a:spcAft>
        <a:defRPr sz="1800">
          <a:solidFill>
            <a:srgbClr val="FF0000"/>
          </a:solidFill>
          <a:latin typeface="Arial" charset="0"/>
          <a:ea typeface="Geneva" charset="0"/>
        </a:defRPr>
      </a:lvl9pPr>
    </p:titleStyle>
    <p:bodyStyle>
      <a:lvl1pPr marL="171442" indent="-171442" algn="l" defTabSz="342884" rtl="0" eaLnBrk="1" fontAlgn="base" hangingPunct="1">
        <a:lnSpc>
          <a:spcPts val="2400"/>
        </a:lnSpc>
        <a:spcBef>
          <a:spcPct val="20000"/>
        </a:spcBef>
        <a:spcAft>
          <a:spcPct val="0"/>
        </a:spcAft>
        <a:buClr>
          <a:srgbClr val="FF0000"/>
        </a:buClr>
        <a:buFont typeface="Lucida Grande" charset="0"/>
        <a:buChar char="▪"/>
        <a:defRPr sz="1875" kern="1200">
          <a:solidFill>
            <a:schemeClr val="tx1"/>
          </a:solidFill>
          <a:latin typeface="Calibri"/>
          <a:ea typeface="Geneva" charset="0"/>
          <a:cs typeface="Calibri"/>
        </a:defRPr>
      </a:lvl1pPr>
      <a:lvl2pPr marL="470273" indent="-127391" algn="l" defTabSz="342884" rtl="0" eaLnBrk="1" fontAlgn="base" hangingPunct="1">
        <a:lnSpc>
          <a:spcPts val="2400"/>
        </a:lnSpc>
        <a:spcBef>
          <a:spcPct val="20000"/>
        </a:spcBef>
        <a:spcAft>
          <a:spcPct val="0"/>
        </a:spcAft>
        <a:buClr>
          <a:srgbClr val="FF0000"/>
        </a:buClr>
        <a:buFont typeface="Lucida Grande" charset="0"/>
        <a:buChar char="▪"/>
        <a:defRPr sz="1500" kern="1200">
          <a:solidFill>
            <a:schemeClr val="tx1"/>
          </a:solidFill>
          <a:latin typeface="Calibri"/>
          <a:ea typeface="Geneva" charset="0"/>
          <a:cs typeface="Calibri"/>
        </a:defRPr>
      </a:lvl2pPr>
      <a:lvl3pPr marL="811966" indent="-126200" algn="l" defTabSz="342884" rtl="0" eaLnBrk="1" fontAlgn="base" hangingPunct="1">
        <a:lnSpc>
          <a:spcPts val="2400"/>
        </a:lnSpc>
        <a:spcBef>
          <a:spcPct val="20000"/>
        </a:spcBef>
        <a:spcAft>
          <a:spcPct val="0"/>
        </a:spcAft>
        <a:buClr>
          <a:srgbClr val="FF0000"/>
        </a:buClr>
        <a:buFont typeface="Lucida Grande" charset="0"/>
        <a:buChar char="▪"/>
        <a:defRPr sz="1500" kern="1200">
          <a:solidFill>
            <a:schemeClr val="tx1"/>
          </a:solidFill>
          <a:latin typeface="Calibri"/>
          <a:ea typeface="Geneva" charset="0"/>
          <a:cs typeface="Calibri"/>
        </a:defRPr>
      </a:lvl3pPr>
      <a:lvl4pPr marL="1159611" indent="-130963" algn="l" defTabSz="342884" rtl="0" eaLnBrk="1" fontAlgn="base" hangingPunct="1">
        <a:lnSpc>
          <a:spcPts val="2400"/>
        </a:lnSpc>
        <a:spcBef>
          <a:spcPct val="20000"/>
        </a:spcBef>
        <a:spcAft>
          <a:spcPct val="0"/>
        </a:spcAft>
        <a:buClr>
          <a:srgbClr val="FF0000"/>
        </a:buClr>
        <a:buFont typeface="Lucida Grande" charset="0"/>
        <a:buChar char="▪"/>
        <a:defRPr sz="1500" kern="1200">
          <a:solidFill>
            <a:schemeClr val="tx1"/>
          </a:solidFill>
          <a:latin typeface="Calibri"/>
          <a:ea typeface="Geneva" charset="0"/>
          <a:cs typeface="Calibri"/>
        </a:defRPr>
      </a:lvl4pPr>
      <a:lvl5pPr marL="1502494" indent="-130963" algn="l" defTabSz="342884" rtl="0" eaLnBrk="1" fontAlgn="base" hangingPunct="1">
        <a:lnSpc>
          <a:spcPts val="2400"/>
        </a:lnSpc>
        <a:spcBef>
          <a:spcPct val="20000"/>
        </a:spcBef>
        <a:spcAft>
          <a:spcPct val="0"/>
        </a:spcAft>
        <a:buClr>
          <a:srgbClr val="FF0000"/>
        </a:buClr>
        <a:buFont typeface="Lucida Grande" charset="0"/>
        <a:buChar char="▪"/>
        <a:defRPr sz="1500" kern="1200">
          <a:solidFill>
            <a:schemeClr val="tx1"/>
          </a:solidFill>
          <a:latin typeface="Calibri"/>
          <a:ea typeface="Geneva" charset="0"/>
          <a:cs typeface="Calibri"/>
        </a:defRPr>
      </a:lvl5pPr>
      <a:lvl6pPr marL="1885856" indent="-171442" algn="l" defTabSz="342884" rtl="0" eaLnBrk="1" latinLnBrk="0" hangingPunct="1">
        <a:spcBef>
          <a:spcPct val="20000"/>
        </a:spcBef>
        <a:buFont typeface="Arial"/>
        <a:buChar char="•"/>
        <a:defRPr sz="1500" kern="1200">
          <a:solidFill>
            <a:schemeClr val="tx1"/>
          </a:solidFill>
          <a:latin typeface="+mn-lt"/>
          <a:ea typeface="+mn-ea"/>
          <a:cs typeface="+mn-cs"/>
        </a:defRPr>
      </a:lvl6pPr>
      <a:lvl7pPr marL="2228739" indent="-171442" algn="l" defTabSz="342884" rtl="0" eaLnBrk="1" latinLnBrk="0" hangingPunct="1">
        <a:spcBef>
          <a:spcPct val="20000"/>
        </a:spcBef>
        <a:buFont typeface="Arial"/>
        <a:buChar char="•"/>
        <a:defRPr sz="1500" kern="1200">
          <a:solidFill>
            <a:schemeClr val="tx1"/>
          </a:solidFill>
          <a:latin typeface="+mn-lt"/>
          <a:ea typeface="+mn-ea"/>
          <a:cs typeface="+mn-cs"/>
        </a:defRPr>
      </a:lvl7pPr>
      <a:lvl8pPr marL="2571622" indent="-171442" algn="l" defTabSz="342884" rtl="0" eaLnBrk="1" latinLnBrk="0" hangingPunct="1">
        <a:spcBef>
          <a:spcPct val="20000"/>
        </a:spcBef>
        <a:buFont typeface="Arial"/>
        <a:buChar char="•"/>
        <a:defRPr sz="1500" kern="1200">
          <a:solidFill>
            <a:schemeClr val="tx1"/>
          </a:solidFill>
          <a:latin typeface="+mn-lt"/>
          <a:ea typeface="+mn-ea"/>
          <a:cs typeface="+mn-cs"/>
        </a:defRPr>
      </a:lvl8pPr>
      <a:lvl9pPr marL="2914505" indent="-171442" algn="l" defTabSz="342884"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84" rtl="0" eaLnBrk="1" latinLnBrk="0" hangingPunct="1">
        <a:defRPr sz="1350" kern="1200">
          <a:solidFill>
            <a:schemeClr val="tx1"/>
          </a:solidFill>
          <a:latin typeface="+mn-lt"/>
          <a:ea typeface="+mn-ea"/>
          <a:cs typeface="+mn-cs"/>
        </a:defRPr>
      </a:lvl1pPr>
      <a:lvl2pPr marL="342884" algn="l" defTabSz="342884" rtl="0" eaLnBrk="1" latinLnBrk="0" hangingPunct="1">
        <a:defRPr sz="1350" kern="1200">
          <a:solidFill>
            <a:schemeClr val="tx1"/>
          </a:solidFill>
          <a:latin typeface="+mn-lt"/>
          <a:ea typeface="+mn-ea"/>
          <a:cs typeface="+mn-cs"/>
        </a:defRPr>
      </a:lvl2pPr>
      <a:lvl3pPr marL="685766" algn="l" defTabSz="342884" rtl="0" eaLnBrk="1" latinLnBrk="0" hangingPunct="1">
        <a:defRPr sz="1350" kern="1200">
          <a:solidFill>
            <a:schemeClr val="tx1"/>
          </a:solidFill>
          <a:latin typeface="+mn-lt"/>
          <a:ea typeface="+mn-ea"/>
          <a:cs typeface="+mn-cs"/>
        </a:defRPr>
      </a:lvl3pPr>
      <a:lvl4pPr marL="1028649" algn="l" defTabSz="342884" rtl="0" eaLnBrk="1" latinLnBrk="0" hangingPunct="1">
        <a:defRPr sz="1350" kern="1200">
          <a:solidFill>
            <a:schemeClr val="tx1"/>
          </a:solidFill>
          <a:latin typeface="+mn-lt"/>
          <a:ea typeface="+mn-ea"/>
          <a:cs typeface="+mn-cs"/>
        </a:defRPr>
      </a:lvl4pPr>
      <a:lvl5pPr marL="1371532" algn="l" defTabSz="342884" rtl="0" eaLnBrk="1" latinLnBrk="0" hangingPunct="1">
        <a:defRPr sz="1350" kern="1200">
          <a:solidFill>
            <a:schemeClr val="tx1"/>
          </a:solidFill>
          <a:latin typeface="+mn-lt"/>
          <a:ea typeface="+mn-ea"/>
          <a:cs typeface="+mn-cs"/>
        </a:defRPr>
      </a:lvl5pPr>
      <a:lvl6pPr marL="1714415" algn="l" defTabSz="342884" rtl="0" eaLnBrk="1" latinLnBrk="0" hangingPunct="1">
        <a:defRPr sz="1350" kern="1200">
          <a:solidFill>
            <a:schemeClr val="tx1"/>
          </a:solidFill>
          <a:latin typeface="+mn-lt"/>
          <a:ea typeface="+mn-ea"/>
          <a:cs typeface="+mn-cs"/>
        </a:defRPr>
      </a:lvl6pPr>
      <a:lvl7pPr marL="2057297" algn="l" defTabSz="342884" rtl="0" eaLnBrk="1" latinLnBrk="0" hangingPunct="1">
        <a:defRPr sz="1350" kern="1200">
          <a:solidFill>
            <a:schemeClr val="tx1"/>
          </a:solidFill>
          <a:latin typeface="+mn-lt"/>
          <a:ea typeface="+mn-ea"/>
          <a:cs typeface="+mn-cs"/>
        </a:defRPr>
      </a:lvl7pPr>
      <a:lvl8pPr marL="2400180" algn="l" defTabSz="342884" rtl="0" eaLnBrk="1" latinLnBrk="0" hangingPunct="1">
        <a:defRPr sz="1350" kern="1200">
          <a:solidFill>
            <a:schemeClr val="tx1"/>
          </a:solidFill>
          <a:latin typeface="+mn-lt"/>
          <a:ea typeface="+mn-ea"/>
          <a:cs typeface="+mn-cs"/>
        </a:defRPr>
      </a:lvl8pPr>
      <a:lvl9pPr marL="2743064" algn="l" defTabSz="342884"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12" name="Picture 6">
            <a:extLst>
              <a:ext uri="{FF2B5EF4-FFF2-40B4-BE49-F238E27FC236}">
                <a16:creationId xmlns:a16="http://schemas.microsoft.com/office/drawing/2014/main" id="{50908C7C-E096-4B50-9AD8-7AF3F5E717F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411892" y="4746756"/>
            <a:ext cx="558779" cy="253991"/>
          </a:xfrm>
          <a:prstGeom prst="rect">
            <a:avLst/>
          </a:prstGeom>
        </p:spPr>
      </p:pic>
      <p:sp>
        <p:nvSpPr>
          <p:cNvPr id="17" name="TextBox 4">
            <a:extLst>
              <a:ext uri="{FF2B5EF4-FFF2-40B4-BE49-F238E27FC236}">
                <a16:creationId xmlns:a16="http://schemas.microsoft.com/office/drawing/2014/main" id="{1E37FEA7-CA51-4399-92F6-AB705B7FF650}"/>
              </a:ext>
            </a:extLst>
          </p:cNvPr>
          <p:cNvSpPr txBox="1"/>
          <p:nvPr/>
        </p:nvSpPr>
        <p:spPr>
          <a:xfrm>
            <a:off x="3310128" y="4941552"/>
            <a:ext cx="2514600" cy="169277"/>
          </a:xfrm>
          <a:prstGeom prst="rect">
            <a:avLst/>
          </a:prstGeom>
          <a:noFill/>
        </p:spPr>
        <p:txBody>
          <a:bodyPr wrap="square" anchor="b" anchorCtr="0">
            <a:spAutoFit/>
          </a:bodyPr>
          <a:lstStyle/>
          <a:p>
            <a:pPr marL="0" marR="0" lvl="0" indent="0" algn="ctr"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bg1"/>
                </a:solidFill>
                <a:effectLst/>
                <a:uLnTx/>
                <a:uFillTx/>
                <a:latin typeface="+mn-lt"/>
                <a:ea typeface="Calibri" charset="0"/>
                <a:cs typeface="Arial" panose="020B0604020202020204" pitchFamily="34" charset="0"/>
              </a:rPr>
              <a:t>Copyright © SAS Institute Inc. All rights reserved.</a:t>
            </a:r>
          </a:p>
        </p:txBody>
      </p:sp>
      <p:sp>
        <p:nvSpPr>
          <p:cNvPr id="81" name="Freeform 80">
            <a:extLst>
              <a:ext uri="{FF2B5EF4-FFF2-40B4-BE49-F238E27FC236}">
                <a16:creationId xmlns:a16="http://schemas.microsoft.com/office/drawing/2014/main" id="{28E9C9DB-EB60-FD4A-AB5D-86A6DDF93363}"/>
              </a:ext>
            </a:extLst>
          </p:cNvPr>
          <p:cNvSpPr/>
          <p:nvPr/>
        </p:nvSpPr>
        <p:spPr>
          <a:xfrm>
            <a:off x="6717170"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3" name="Freeform 82">
            <a:extLst>
              <a:ext uri="{FF2B5EF4-FFF2-40B4-BE49-F238E27FC236}">
                <a16:creationId xmlns:a16="http://schemas.microsoft.com/office/drawing/2014/main" id="{72DA3650-6307-5742-A8B7-F65D2E045EF9}"/>
              </a:ext>
            </a:extLst>
          </p:cNvPr>
          <p:cNvSpPr/>
          <p:nvPr/>
        </p:nvSpPr>
        <p:spPr>
          <a:xfrm>
            <a:off x="6966332"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4" name="Freeform 83">
            <a:extLst>
              <a:ext uri="{FF2B5EF4-FFF2-40B4-BE49-F238E27FC236}">
                <a16:creationId xmlns:a16="http://schemas.microsoft.com/office/drawing/2014/main" id="{5D71E475-0C72-0A4B-9E83-D4F8682CCF9E}"/>
              </a:ext>
            </a:extLst>
          </p:cNvPr>
          <p:cNvSpPr/>
          <p:nvPr/>
        </p:nvSpPr>
        <p:spPr>
          <a:xfrm>
            <a:off x="7215493"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5" name="Freeform 84">
            <a:extLst>
              <a:ext uri="{FF2B5EF4-FFF2-40B4-BE49-F238E27FC236}">
                <a16:creationId xmlns:a16="http://schemas.microsoft.com/office/drawing/2014/main" id="{119E67ED-5612-6E4C-9FEB-97F8BF6D2FB2}"/>
              </a:ext>
            </a:extLst>
          </p:cNvPr>
          <p:cNvSpPr/>
          <p:nvPr/>
        </p:nvSpPr>
        <p:spPr>
          <a:xfrm>
            <a:off x="7464654"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86" name="Freeform 85">
            <a:extLst>
              <a:ext uri="{FF2B5EF4-FFF2-40B4-BE49-F238E27FC236}">
                <a16:creationId xmlns:a16="http://schemas.microsoft.com/office/drawing/2014/main" id="{7F786CC9-2F25-734F-983E-AFCA587D626B}"/>
              </a:ext>
            </a:extLst>
          </p:cNvPr>
          <p:cNvSpPr/>
          <p:nvPr/>
        </p:nvSpPr>
        <p:spPr>
          <a:xfrm>
            <a:off x="6966332"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7" name="Freeform 86">
            <a:extLst>
              <a:ext uri="{FF2B5EF4-FFF2-40B4-BE49-F238E27FC236}">
                <a16:creationId xmlns:a16="http://schemas.microsoft.com/office/drawing/2014/main" id="{259F8CA0-60EE-8647-AF4F-6B77D6C4B963}"/>
              </a:ext>
            </a:extLst>
          </p:cNvPr>
          <p:cNvSpPr/>
          <p:nvPr/>
        </p:nvSpPr>
        <p:spPr>
          <a:xfrm>
            <a:off x="7464654"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88" name="Freeform 87">
            <a:extLst>
              <a:ext uri="{FF2B5EF4-FFF2-40B4-BE49-F238E27FC236}">
                <a16:creationId xmlns:a16="http://schemas.microsoft.com/office/drawing/2014/main" id="{F02A52DA-8B8C-264F-877F-42F66B1C30F6}"/>
              </a:ext>
            </a:extLst>
          </p:cNvPr>
          <p:cNvSpPr/>
          <p:nvPr/>
        </p:nvSpPr>
        <p:spPr>
          <a:xfrm rot="16753102">
            <a:off x="7713703" y="329004"/>
            <a:ext cx="99460" cy="99461"/>
          </a:xfrm>
          <a:custGeom>
            <a:avLst/>
            <a:gdLst>
              <a:gd name="connsiteX0" fmla="*/ 99461 w 99460"/>
              <a:gd name="connsiteY0" fmla="*/ 49731 h 99461"/>
              <a:gd name="connsiteX1" fmla="*/ 49730 w 99460"/>
              <a:gd name="connsiteY1" fmla="*/ 99462 h 99461"/>
              <a:gd name="connsiteX2" fmla="*/ 0 w 99460"/>
              <a:gd name="connsiteY2" fmla="*/ 49731 h 99461"/>
              <a:gd name="connsiteX3" fmla="*/ 49730 w 99460"/>
              <a:gd name="connsiteY3" fmla="*/ 0 h 99461"/>
              <a:gd name="connsiteX4" fmla="*/ 99461 w 99460"/>
              <a:gd name="connsiteY4" fmla="*/ 49731 h 9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0" h="99461">
                <a:moveTo>
                  <a:pt x="99461" y="49731"/>
                </a:moveTo>
                <a:cubicBezTo>
                  <a:pt x="99461" y="77196"/>
                  <a:pt x="77196" y="99462"/>
                  <a:pt x="49730" y="99462"/>
                </a:cubicBezTo>
                <a:cubicBezTo>
                  <a:pt x="22265" y="99462"/>
                  <a:pt x="0" y="77196"/>
                  <a:pt x="0" y="49731"/>
                </a:cubicBezTo>
                <a:cubicBezTo>
                  <a:pt x="0" y="22265"/>
                  <a:pt x="22265" y="0"/>
                  <a:pt x="49730" y="0"/>
                </a:cubicBezTo>
                <a:cubicBezTo>
                  <a:pt x="77196" y="0"/>
                  <a:pt x="99461" y="22265"/>
                  <a:pt x="99461" y="49731"/>
                </a:cubicBezTo>
                <a:close/>
              </a:path>
            </a:pathLst>
          </a:custGeom>
          <a:solidFill>
            <a:srgbClr val="5CB5FF">
              <a:alpha val="14000"/>
            </a:srgbClr>
          </a:solidFill>
          <a:ln w="2052" cap="flat">
            <a:noFill/>
            <a:prstDash val="solid"/>
            <a:miter/>
          </a:ln>
        </p:spPr>
        <p:txBody>
          <a:bodyPr rtlCol="0" anchor="ctr"/>
          <a:lstStyle/>
          <a:p>
            <a:endParaRPr lang="en-US"/>
          </a:p>
        </p:txBody>
      </p:sp>
      <p:sp>
        <p:nvSpPr>
          <p:cNvPr id="89" name="Freeform 88">
            <a:extLst>
              <a:ext uri="{FF2B5EF4-FFF2-40B4-BE49-F238E27FC236}">
                <a16:creationId xmlns:a16="http://schemas.microsoft.com/office/drawing/2014/main" id="{D2036A5F-121A-E149-BAB9-6E06E0E39343}"/>
              </a:ext>
            </a:extLst>
          </p:cNvPr>
          <p:cNvSpPr/>
          <p:nvPr/>
        </p:nvSpPr>
        <p:spPr>
          <a:xfrm>
            <a:off x="7464654"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0" name="Freeform 89">
            <a:extLst>
              <a:ext uri="{FF2B5EF4-FFF2-40B4-BE49-F238E27FC236}">
                <a16:creationId xmlns:a16="http://schemas.microsoft.com/office/drawing/2014/main" id="{BCF0DED3-D5D0-CF4A-9C2B-7DFE2A602AEE}"/>
              </a:ext>
            </a:extLst>
          </p:cNvPr>
          <p:cNvSpPr/>
          <p:nvPr/>
        </p:nvSpPr>
        <p:spPr>
          <a:xfrm rot="16753102">
            <a:off x="7713706" y="578170"/>
            <a:ext cx="99460" cy="99461"/>
          </a:xfrm>
          <a:custGeom>
            <a:avLst/>
            <a:gdLst>
              <a:gd name="connsiteX0" fmla="*/ 99461 w 99460"/>
              <a:gd name="connsiteY0" fmla="*/ 49731 h 99461"/>
              <a:gd name="connsiteX1" fmla="*/ 49730 w 99460"/>
              <a:gd name="connsiteY1" fmla="*/ 99462 h 99461"/>
              <a:gd name="connsiteX2" fmla="*/ 0 w 99460"/>
              <a:gd name="connsiteY2" fmla="*/ 49731 h 99461"/>
              <a:gd name="connsiteX3" fmla="*/ 49730 w 99460"/>
              <a:gd name="connsiteY3" fmla="*/ 0 h 99461"/>
              <a:gd name="connsiteX4" fmla="*/ 99461 w 99460"/>
              <a:gd name="connsiteY4" fmla="*/ 49731 h 99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0" h="99461">
                <a:moveTo>
                  <a:pt x="99461" y="49731"/>
                </a:moveTo>
                <a:cubicBezTo>
                  <a:pt x="99461" y="77196"/>
                  <a:pt x="77196" y="99462"/>
                  <a:pt x="49730" y="99462"/>
                </a:cubicBezTo>
                <a:cubicBezTo>
                  <a:pt x="22265" y="99462"/>
                  <a:pt x="0" y="77196"/>
                  <a:pt x="0" y="49731"/>
                </a:cubicBezTo>
                <a:cubicBezTo>
                  <a:pt x="0" y="22265"/>
                  <a:pt x="22265" y="0"/>
                  <a:pt x="49730" y="0"/>
                </a:cubicBezTo>
                <a:cubicBezTo>
                  <a:pt x="77196" y="0"/>
                  <a:pt x="99461" y="22265"/>
                  <a:pt x="99461" y="49731"/>
                </a:cubicBezTo>
                <a:close/>
              </a:path>
            </a:pathLst>
          </a:custGeom>
          <a:solidFill>
            <a:srgbClr val="5CB5FF">
              <a:alpha val="14000"/>
            </a:srgbClr>
          </a:solidFill>
          <a:ln w="2052" cap="flat">
            <a:noFill/>
            <a:prstDash val="solid"/>
            <a:miter/>
          </a:ln>
        </p:spPr>
        <p:txBody>
          <a:bodyPr rtlCol="0" anchor="ctr"/>
          <a:lstStyle/>
          <a:p>
            <a:endParaRPr lang="en-US"/>
          </a:p>
        </p:txBody>
      </p:sp>
      <p:sp>
        <p:nvSpPr>
          <p:cNvPr id="91" name="Freeform 90">
            <a:extLst>
              <a:ext uri="{FF2B5EF4-FFF2-40B4-BE49-F238E27FC236}">
                <a16:creationId xmlns:a16="http://schemas.microsoft.com/office/drawing/2014/main" id="{45B174D9-5533-0241-B420-5CDE83187945}"/>
              </a:ext>
            </a:extLst>
          </p:cNvPr>
          <p:cNvSpPr/>
          <p:nvPr/>
        </p:nvSpPr>
        <p:spPr>
          <a:xfrm>
            <a:off x="7962977"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2" name="Freeform 91">
            <a:extLst>
              <a:ext uri="{FF2B5EF4-FFF2-40B4-BE49-F238E27FC236}">
                <a16:creationId xmlns:a16="http://schemas.microsoft.com/office/drawing/2014/main" id="{E5E8A156-1317-3742-B05E-569311DF62A5}"/>
              </a:ext>
            </a:extLst>
          </p:cNvPr>
          <p:cNvSpPr/>
          <p:nvPr/>
        </p:nvSpPr>
        <p:spPr>
          <a:xfrm>
            <a:off x="8212138"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3" name="Freeform 92">
            <a:extLst>
              <a:ext uri="{FF2B5EF4-FFF2-40B4-BE49-F238E27FC236}">
                <a16:creationId xmlns:a16="http://schemas.microsoft.com/office/drawing/2014/main" id="{ED64574D-EFC6-364B-997D-3822C78B7DDA}"/>
              </a:ext>
            </a:extLst>
          </p:cNvPr>
          <p:cNvSpPr/>
          <p:nvPr/>
        </p:nvSpPr>
        <p:spPr>
          <a:xfrm>
            <a:off x="8710461"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4" name="Freeform 93">
            <a:extLst>
              <a:ext uri="{FF2B5EF4-FFF2-40B4-BE49-F238E27FC236}">
                <a16:creationId xmlns:a16="http://schemas.microsoft.com/office/drawing/2014/main" id="{2E32684E-45ED-F540-B6E1-CA9A46C85404}"/>
              </a:ext>
            </a:extLst>
          </p:cNvPr>
          <p:cNvSpPr/>
          <p:nvPr/>
        </p:nvSpPr>
        <p:spPr>
          <a:xfrm>
            <a:off x="8461299"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4"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5" name="Freeform 94">
            <a:extLst>
              <a:ext uri="{FF2B5EF4-FFF2-40B4-BE49-F238E27FC236}">
                <a16:creationId xmlns:a16="http://schemas.microsoft.com/office/drawing/2014/main" id="{FAF9B900-34B5-D04E-A2B0-680BCAE79708}"/>
              </a:ext>
            </a:extLst>
          </p:cNvPr>
          <p:cNvSpPr/>
          <p:nvPr/>
        </p:nvSpPr>
        <p:spPr>
          <a:xfrm>
            <a:off x="8212138"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6" name="Freeform 95">
            <a:extLst>
              <a:ext uri="{FF2B5EF4-FFF2-40B4-BE49-F238E27FC236}">
                <a16:creationId xmlns:a16="http://schemas.microsoft.com/office/drawing/2014/main" id="{69BB02AA-00B1-4D4A-AFD8-68A4BE0B04FE}"/>
              </a:ext>
            </a:extLst>
          </p:cNvPr>
          <p:cNvSpPr/>
          <p:nvPr/>
        </p:nvSpPr>
        <p:spPr>
          <a:xfrm>
            <a:off x="8212138"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97" name="Freeform 96">
            <a:extLst>
              <a:ext uri="{FF2B5EF4-FFF2-40B4-BE49-F238E27FC236}">
                <a16:creationId xmlns:a16="http://schemas.microsoft.com/office/drawing/2014/main" id="{C04F0CC8-D44B-AB45-AA17-D3AD761A08A8}"/>
              </a:ext>
            </a:extLst>
          </p:cNvPr>
          <p:cNvSpPr/>
          <p:nvPr/>
        </p:nvSpPr>
        <p:spPr>
          <a:xfrm>
            <a:off x="8461299"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4"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8" name="Freeform 97">
            <a:extLst>
              <a:ext uri="{FF2B5EF4-FFF2-40B4-BE49-F238E27FC236}">
                <a16:creationId xmlns:a16="http://schemas.microsoft.com/office/drawing/2014/main" id="{1773D5B2-17F9-3F4D-8BBE-C2EA05C60813}"/>
              </a:ext>
            </a:extLst>
          </p:cNvPr>
          <p:cNvSpPr/>
          <p:nvPr/>
        </p:nvSpPr>
        <p:spPr>
          <a:xfrm>
            <a:off x="8710461" y="578132"/>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99" name="Freeform 98">
            <a:extLst>
              <a:ext uri="{FF2B5EF4-FFF2-40B4-BE49-F238E27FC236}">
                <a16:creationId xmlns:a16="http://schemas.microsoft.com/office/drawing/2014/main" id="{F398E671-8204-9D4A-B924-0745B00504F1}"/>
              </a:ext>
            </a:extLst>
          </p:cNvPr>
          <p:cNvSpPr/>
          <p:nvPr/>
        </p:nvSpPr>
        <p:spPr>
          <a:xfrm>
            <a:off x="8212138" y="82729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00" name="Freeform 99">
            <a:extLst>
              <a:ext uri="{FF2B5EF4-FFF2-40B4-BE49-F238E27FC236}">
                <a16:creationId xmlns:a16="http://schemas.microsoft.com/office/drawing/2014/main" id="{DA042452-BCFC-5F46-ABEF-0923CA3AF459}"/>
              </a:ext>
            </a:extLst>
          </p:cNvPr>
          <p:cNvSpPr/>
          <p:nvPr/>
        </p:nvSpPr>
        <p:spPr>
          <a:xfrm>
            <a:off x="8212138" y="107645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01" name="Freeform 100">
            <a:extLst>
              <a:ext uri="{FF2B5EF4-FFF2-40B4-BE49-F238E27FC236}">
                <a16:creationId xmlns:a16="http://schemas.microsoft.com/office/drawing/2014/main" id="{06351593-861B-E04C-B112-38D55ED1A2EE}"/>
              </a:ext>
            </a:extLst>
          </p:cNvPr>
          <p:cNvSpPr/>
          <p:nvPr/>
        </p:nvSpPr>
        <p:spPr>
          <a:xfrm>
            <a:off x="8698156" y="814990"/>
            <a:ext cx="124067" cy="124068"/>
          </a:xfrm>
          <a:custGeom>
            <a:avLst/>
            <a:gdLst>
              <a:gd name="connsiteX0" fmla="*/ 124068 w 124067"/>
              <a:gd name="connsiteY0" fmla="*/ 62034 h 124068"/>
              <a:gd name="connsiteX1" fmla="*/ 62034 w 124067"/>
              <a:gd name="connsiteY1" fmla="*/ 124069 h 124068"/>
              <a:gd name="connsiteX2" fmla="*/ 0 w 124067"/>
              <a:gd name="connsiteY2" fmla="*/ 62034 h 124068"/>
              <a:gd name="connsiteX3" fmla="*/ 62034 w 124067"/>
              <a:gd name="connsiteY3" fmla="*/ 0 h 124068"/>
              <a:gd name="connsiteX4" fmla="*/ 124068 w 124067"/>
              <a:gd name="connsiteY4" fmla="*/ 62034 h 124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67" h="124068">
                <a:moveTo>
                  <a:pt x="124068" y="62034"/>
                </a:moveTo>
                <a:cubicBezTo>
                  <a:pt x="124068" y="96295"/>
                  <a:pt x="96294" y="124069"/>
                  <a:pt x="62034" y="124069"/>
                </a:cubicBezTo>
                <a:cubicBezTo>
                  <a:pt x="27773" y="124069"/>
                  <a:pt x="0" y="96295"/>
                  <a:pt x="0" y="62034"/>
                </a:cubicBezTo>
                <a:cubicBezTo>
                  <a:pt x="0" y="27774"/>
                  <a:pt x="27773" y="0"/>
                  <a:pt x="62034" y="0"/>
                </a:cubicBezTo>
                <a:cubicBezTo>
                  <a:pt x="96294" y="0"/>
                  <a:pt x="124068" y="27774"/>
                  <a:pt x="124068" y="62034"/>
                </a:cubicBezTo>
                <a:close/>
              </a:path>
            </a:pathLst>
          </a:custGeom>
          <a:solidFill>
            <a:srgbClr val="5CB5FF">
              <a:alpha val="10000"/>
            </a:srgbClr>
          </a:solidFill>
          <a:ln w="2052" cap="flat">
            <a:noFill/>
            <a:prstDash val="solid"/>
            <a:miter/>
          </a:ln>
        </p:spPr>
        <p:txBody>
          <a:bodyPr rtlCol="0" anchor="ctr"/>
          <a:lstStyle/>
          <a:p>
            <a:endParaRPr lang="en-US"/>
          </a:p>
        </p:txBody>
      </p:sp>
      <p:sp>
        <p:nvSpPr>
          <p:cNvPr id="102" name="Freeform 101">
            <a:extLst>
              <a:ext uri="{FF2B5EF4-FFF2-40B4-BE49-F238E27FC236}">
                <a16:creationId xmlns:a16="http://schemas.microsoft.com/office/drawing/2014/main" id="{D3399C5D-791D-8C43-8239-04E408AB56AA}"/>
              </a:ext>
            </a:extLst>
          </p:cNvPr>
          <p:cNvSpPr/>
          <p:nvPr/>
        </p:nvSpPr>
        <p:spPr>
          <a:xfrm>
            <a:off x="7962977" y="82729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07" name="Freeform 106">
            <a:extLst>
              <a:ext uri="{FF2B5EF4-FFF2-40B4-BE49-F238E27FC236}">
                <a16:creationId xmlns:a16="http://schemas.microsoft.com/office/drawing/2014/main" id="{99F779EA-6472-FF42-885F-A0B8DB934CC7}"/>
              </a:ext>
            </a:extLst>
          </p:cNvPr>
          <p:cNvSpPr/>
          <p:nvPr/>
        </p:nvSpPr>
        <p:spPr>
          <a:xfrm>
            <a:off x="7700999" y="66989"/>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10000"/>
            </a:srgbClr>
          </a:solidFill>
          <a:ln w="2052" cap="flat">
            <a:noFill/>
            <a:prstDash val="solid"/>
            <a:miter/>
          </a:ln>
        </p:spPr>
        <p:txBody>
          <a:bodyPr rtlCol="0" anchor="ctr"/>
          <a:lstStyle/>
          <a:p>
            <a:endParaRPr lang="en-US"/>
          </a:p>
        </p:txBody>
      </p:sp>
      <p:sp>
        <p:nvSpPr>
          <p:cNvPr id="124" name="Freeform 123">
            <a:extLst>
              <a:ext uri="{FF2B5EF4-FFF2-40B4-BE49-F238E27FC236}">
                <a16:creationId xmlns:a16="http://schemas.microsoft.com/office/drawing/2014/main" id="{FC8CCAED-F8CD-AE4A-86B3-CF9C9523B962}"/>
              </a:ext>
            </a:extLst>
          </p:cNvPr>
          <p:cNvSpPr/>
          <p:nvPr/>
        </p:nvSpPr>
        <p:spPr>
          <a:xfrm>
            <a:off x="8934501" y="328969"/>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29" name="Freeform 128">
            <a:extLst>
              <a:ext uri="{FF2B5EF4-FFF2-40B4-BE49-F238E27FC236}">
                <a16:creationId xmlns:a16="http://schemas.microsoft.com/office/drawing/2014/main" id="{C7E879DF-EE44-AA45-AE05-DD5B4FA49205}"/>
              </a:ext>
            </a:extLst>
          </p:cNvPr>
          <p:cNvSpPr/>
          <p:nvPr/>
        </p:nvSpPr>
        <p:spPr>
          <a:xfrm>
            <a:off x="8934501" y="7980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78" name="Freeform 177">
            <a:extLst>
              <a:ext uri="{FF2B5EF4-FFF2-40B4-BE49-F238E27FC236}">
                <a16:creationId xmlns:a16="http://schemas.microsoft.com/office/drawing/2014/main" id="{285D0C28-DCE9-1946-93BF-94EBD76B7959}"/>
              </a:ext>
            </a:extLst>
          </p:cNvPr>
          <p:cNvSpPr/>
          <p:nvPr/>
        </p:nvSpPr>
        <p:spPr>
          <a:xfrm>
            <a:off x="1844259" y="4899787"/>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80" name="Freeform 179">
            <a:extLst>
              <a:ext uri="{FF2B5EF4-FFF2-40B4-BE49-F238E27FC236}">
                <a16:creationId xmlns:a16="http://schemas.microsoft.com/office/drawing/2014/main" id="{293133EB-DE7C-8D41-8FFA-DD26B577D8C1}"/>
              </a:ext>
            </a:extLst>
          </p:cNvPr>
          <p:cNvSpPr/>
          <p:nvPr/>
        </p:nvSpPr>
        <p:spPr>
          <a:xfrm>
            <a:off x="1595097" y="489978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1" name="Freeform 180">
            <a:extLst>
              <a:ext uri="{FF2B5EF4-FFF2-40B4-BE49-F238E27FC236}">
                <a16:creationId xmlns:a16="http://schemas.microsoft.com/office/drawing/2014/main" id="{34550379-B92D-8241-B540-0627AA0A921B}"/>
              </a:ext>
            </a:extLst>
          </p:cNvPr>
          <p:cNvSpPr/>
          <p:nvPr/>
        </p:nvSpPr>
        <p:spPr>
          <a:xfrm>
            <a:off x="1345936" y="489978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2" name="Freeform 181">
            <a:extLst>
              <a:ext uri="{FF2B5EF4-FFF2-40B4-BE49-F238E27FC236}">
                <a16:creationId xmlns:a16="http://schemas.microsoft.com/office/drawing/2014/main" id="{C33ECA2F-821B-5F44-80D3-EA291967F056}"/>
              </a:ext>
            </a:extLst>
          </p:cNvPr>
          <p:cNvSpPr/>
          <p:nvPr/>
        </p:nvSpPr>
        <p:spPr>
          <a:xfrm>
            <a:off x="1096775" y="489978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3" name="Freeform 182">
            <a:extLst>
              <a:ext uri="{FF2B5EF4-FFF2-40B4-BE49-F238E27FC236}">
                <a16:creationId xmlns:a16="http://schemas.microsoft.com/office/drawing/2014/main" id="{DF4643A6-1BE6-854C-9B0E-F821AD1BA95B}"/>
              </a:ext>
            </a:extLst>
          </p:cNvPr>
          <p:cNvSpPr/>
          <p:nvPr/>
        </p:nvSpPr>
        <p:spPr>
          <a:xfrm>
            <a:off x="1096775"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4" name="Freeform 183">
            <a:extLst>
              <a:ext uri="{FF2B5EF4-FFF2-40B4-BE49-F238E27FC236}">
                <a16:creationId xmlns:a16="http://schemas.microsoft.com/office/drawing/2014/main" id="{6EE82805-A90B-A042-95FE-EDAEC75607FC}"/>
              </a:ext>
            </a:extLst>
          </p:cNvPr>
          <p:cNvSpPr/>
          <p:nvPr/>
        </p:nvSpPr>
        <p:spPr>
          <a:xfrm>
            <a:off x="847614"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5" name="Freeform 184">
            <a:extLst>
              <a:ext uri="{FF2B5EF4-FFF2-40B4-BE49-F238E27FC236}">
                <a16:creationId xmlns:a16="http://schemas.microsoft.com/office/drawing/2014/main" id="{E0F43706-4963-5541-8BA1-5360C57199BD}"/>
              </a:ext>
            </a:extLst>
          </p:cNvPr>
          <p:cNvSpPr/>
          <p:nvPr/>
        </p:nvSpPr>
        <p:spPr>
          <a:xfrm>
            <a:off x="1096775" y="4401461"/>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4" y="99460"/>
                  <a:pt x="0" y="77195"/>
                  <a:pt x="0" y="49730"/>
                </a:cubicBezTo>
                <a:cubicBezTo>
                  <a:pt x="0" y="22265"/>
                  <a:pt x="22264"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86" name="Freeform 185">
            <a:extLst>
              <a:ext uri="{FF2B5EF4-FFF2-40B4-BE49-F238E27FC236}">
                <a16:creationId xmlns:a16="http://schemas.microsoft.com/office/drawing/2014/main" id="{9CF17A4F-24D1-414E-85A4-79CAB802EDFE}"/>
              </a:ext>
            </a:extLst>
          </p:cNvPr>
          <p:cNvSpPr/>
          <p:nvPr/>
        </p:nvSpPr>
        <p:spPr>
          <a:xfrm>
            <a:off x="847614" y="4401461"/>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7" name="Freeform 186">
            <a:extLst>
              <a:ext uri="{FF2B5EF4-FFF2-40B4-BE49-F238E27FC236}">
                <a16:creationId xmlns:a16="http://schemas.microsoft.com/office/drawing/2014/main" id="{F8D99D0D-2A3B-754A-909E-B11A8D9C982E}"/>
              </a:ext>
            </a:extLst>
          </p:cNvPr>
          <p:cNvSpPr/>
          <p:nvPr/>
        </p:nvSpPr>
        <p:spPr>
          <a:xfrm>
            <a:off x="598452" y="4899787"/>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88" name="Freeform 187">
            <a:extLst>
              <a:ext uri="{FF2B5EF4-FFF2-40B4-BE49-F238E27FC236}">
                <a16:creationId xmlns:a16="http://schemas.microsoft.com/office/drawing/2014/main" id="{7A063DF6-3D26-8746-96A9-A68F23AC46EB}"/>
              </a:ext>
            </a:extLst>
          </p:cNvPr>
          <p:cNvSpPr/>
          <p:nvPr/>
        </p:nvSpPr>
        <p:spPr>
          <a:xfrm>
            <a:off x="349291" y="4899787"/>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0" name="Freeform 189">
            <a:extLst>
              <a:ext uri="{FF2B5EF4-FFF2-40B4-BE49-F238E27FC236}">
                <a16:creationId xmlns:a16="http://schemas.microsoft.com/office/drawing/2014/main" id="{BFBD2FDE-BC73-8A4B-9055-8144DB5167A6}"/>
              </a:ext>
            </a:extLst>
          </p:cNvPr>
          <p:cNvSpPr/>
          <p:nvPr/>
        </p:nvSpPr>
        <p:spPr>
          <a:xfrm>
            <a:off x="100130"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91" name="Freeform 190">
            <a:extLst>
              <a:ext uri="{FF2B5EF4-FFF2-40B4-BE49-F238E27FC236}">
                <a16:creationId xmlns:a16="http://schemas.microsoft.com/office/drawing/2014/main" id="{F21114F7-8C53-0C46-8032-4A441EFEC029}"/>
              </a:ext>
            </a:extLst>
          </p:cNvPr>
          <p:cNvSpPr/>
          <p:nvPr/>
        </p:nvSpPr>
        <p:spPr>
          <a:xfrm>
            <a:off x="349291" y="4650624"/>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2" name="Freeform 191">
            <a:extLst>
              <a:ext uri="{FF2B5EF4-FFF2-40B4-BE49-F238E27FC236}">
                <a16:creationId xmlns:a16="http://schemas.microsoft.com/office/drawing/2014/main" id="{802624AF-2E76-4848-B378-0F6CA56E5D64}"/>
              </a:ext>
            </a:extLst>
          </p:cNvPr>
          <p:cNvSpPr/>
          <p:nvPr/>
        </p:nvSpPr>
        <p:spPr>
          <a:xfrm>
            <a:off x="349291" y="4401461"/>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3" name="Freeform 192">
            <a:extLst>
              <a:ext uri="{FF2B5EF4-FFF2-40B4-BE49-F238E27FC236}">
                <a16:creationId xmlns:a16="http://schemas.microsoft.com/office/drawing/2014/main" id="{8D92ACBB-C8A4-F041-8849-AA788332613E}"/>
              </a:ext>
            </a:extLst>
          </p:cNvPr>
          <p:cNvSpPr/>
          <p:nvPr/>
        </p:nvSpPr>
        <p:spPr>
          <a:xfrm>
            <a:off x="100130" y="4401461"/>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48879B34-D83A-D449-BC84-AF089636A307}"/>
              </a:ext>
            </a:extLst>
          </p:cNvPr>
          <p:cNvSpPr/>
          <p:nvPr/>
        </p:nvSpPr>
        <p:spPr>
          <a:xfrm>
            <a:off x="349291" y="4152298"/>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0000"/>
            </a:srgbClr>
          </a:solidFill>
          <a:ln w="2052" cap="flat">
            <a:noFill/>
            <a:prstDash val="solid"/>
            <a:miter/>
          </a:ln>
        </p:spPr>
        <p:txBody>
          <a:bodyPr rtlCol="0" anchor="ctr"/>
          <a:lstStyle/>
          <a:p>
            <a:endParaRPr lang="en-US"/>
          </a:p>
        </p:txBody>
      </p:sp>
      <p:sp>
        <p:nvSpPr>
          <p:cNvPr id="196" name="Freeform 195">
            <a:extLst>
              <a:ext uri="{FF2B5EF4-FFF2-40B4-BE49-F238E27FC236}">
                <a16:creationId xmlns:a16="http://schemas.microsoft.com/office/drawing/2014/main" id="{6C9D0334-9555-DC43-96F0-34E1A057E2AC}"/>
              </a:ext>
            </a:extLst>
          </p:cNvPr>
          <p:cNvSpPr/>
          <p:nvPr/>
        </p:nvSpPr>
        <p:spPr>
          <a:xfrm>
            <a:off x="349291" y="3903136"/>
            <a:ext cx="99459" cy="99460"/>
          </a:xfrm>
          <a:custGeom>
            <a:avLst/>
            <a:gdLst>
              <a:gd name="connsiteX0" fmla="*/ 99459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59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59" y="49730"/>
                </a:moveTo>
                <a:cubicBezTo>
                  <a:pt x="99459" y="77195"/>
                  <a:pt x="77195" y="99460"/>
                  <a:pt x="49730" y="99460"/>
                </a:cubicBezTo>
                <a:cubicBezTo>
                  <a:pt x="22265" y="99460"/>
                  <a:pt x="0" y="77195"/>
                  <a:pt x="0" y="49730"/>
                </a:cubicBezTo>
                <a:cubicBezTo>
                  <a:pt x="0" y="22265"/>
                  <a:pt x="22265" y="0"/>
                  <a:pt x="49730" y="0"/>
                </a:cubicBezTo>
                <a:cubicBezTo>
                  <a:pt x="77195" y="0"/>
                  <a:pt x="99459" y="22265"/>
                  <a:pt x="99459"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885549F4-767E-C847-874B-3624FA050C9A}"/>
              </a:ext>
            </a:extLst>
          </p:cNvPr>
          <p:cNvSpPr/>
          <p:nvPr/>
        </p:nvSpPr>
        <p:spPr>
          <a:xfrm>
            <a:off x="598452" y="4152298"/>
            <a:ext cx="99459" cy="99460"/>
          </a:xfrm>
          <a:custGeom>
            <a:avLst/>
            <a:gdLst>
              <a:gd name="connsiteX0" fmla="*/ 99460 w 99459"/>
              <a:gd name="connsiteY0" fmla="*/ 49730 h 99460"/>
              <a:gd name="connsiteX1" fmla="*/ 49730 w 99459"/>
              <a:gd name="connsiteY1" fmla="*/ 99460 h 99460"/>
              <a:gd name="connsiteX2" fmla="*/ 0 w 99459"/>
              <a:gd name="connsiteY2" fmla="*/ 49730 h 99460"/>
              <a:gd name="connsiteX3" fmla="*/ 49730 w 99459"/>
              <a:gd name="connsiteY3" fmla="*/ 0 h 99460"/>
              <a:gd name="connsiteX4" fmla="*/ 99460 w 99459"/>
              <a:gd name="connsiteY4" fmla="*/ 49730 h 99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59" h="99460">
                <a:moveTo>
                  <a:pt x="99460" y="49730"/>
                </a:moveTo>
                <a:cubicBezTo>
                  <a:pt x="99460" y="77195"/>
                  <a:pt x="77195" y="99460"/>
                  <a:pt x="49730" y="99460"/>
                </a:cubicBezTo>
                <a:cubicBezTo>
                  <a:pt x="22265" y="99460"/>
                  <a:pt x="0" y="77195"/>
                  <a:pt x="0" y="49730"/>
                </a:cubicBezTo>
                <a:cubicBezTo>
                  <a:pt x="0" y="22265"/>
                  <a:pt x="22265" y="0"/>
                  <a:pt x="49730" y="0"/>
                </a:cubicBezTo>
                <a:cubicBezTo>
                  <a:pt x="77195" y="0"/>
                  <a:pt x="99460" y="22265"/>
                  <a:pt x="99460" y="49730"/>
                </a:cubicBezTo>
                <a:close/>
              </a:path>
            </a:pathLst>
          </a:custGeom>
          <a:solidFill>
            <a:srgbClr val="5CB5FF">
              <a:alpha val="14000"/>
            </a:srgbClr>
          </a:solidFill>
          <a:ln w="2052"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E078AB53-08B6-5D4B-949A-B8FE2F42C2EB}"/>
              </a:ext>
            </a:extLst>
          </p:cNvPr>
          <p:cNvSpPr/>
          <p:nvPr/>
        </p:nvSpPr>
        <p:spPr>
          <a:xfrm>
            <a:off x="834797" y="4886970"/>
            <a:ext cx="125093" cy="125094"/>
          </a:xfrm>
          <a:custGeom>
            <a:avLst/>
            <a:gdLst>
              <a:gd name="connsiteX0" fmla="*/ 125093 w 125093"/>
              <a:gd name="connsiteY0" fmla="*/ 62547 h 125094"/>
              <a:gd name="connsiteX1" fmla="*/ 62547 w 125093"/>
              <a:gd name="connsiteY1" fmla="*/ 125094 h 125094"/>
              <a:gd name="connsiteX2" fmla="*/ 0 w 125093"/>
              <a:gd name="connsiteY2" fmla="*/ 62547 h 125094"/>
              <a:gd name="connsiteX3" fmla="*/ 62547 w 125093"/>
              <a:gd name="connsiteY3" fmla="*/ 0 h 125094"/>
              <a:gd name="connsiteX4" fmla="*/ 125093 w 125093"/>
              <a:gd name="connsiteY4" fmla="*/ 62547 h 12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3" h="125094">
                <a:moveTo>
                  <a:pt x="125093" y="62547"/>
                </a:moveTo>
                <a:cubicBezTo>
                  <a:pt x="125093" y="97091"/>
                  <a:pt x="97090" y="125094"/>
                  <a:pt x="62547" y="125094"/>
                </a:cubicBezTo>
                <a:cubicBezTo>
                  <a:pt x="28003" y="125094"/>
                  <a:pt x="0" y="97091"/>
                  <a:pt x="0" y="62547"/>
                </a:cubicBezTo>
                <a:cubicBezTo>
                  <a:pt x="0" y="28003"/>
                  <a:pt x="28003" y="0"/>
                  <a:pt x="62547" y="0"/>
                </a:cubicBezTo>
                <a:cubicBezTo>
                  <a:pt x="97090" y="0"/>
                  <a:pt x="125093" y="28003"/>
                  <a:pt x="125093" y="62547"/>
                </a:cubicBezTo>
                <a:close/>
              </a:path>
            </a:pathLst>
          </a:custGeom>
          <a:solidFill>
            <a:srgbClr val="5CB5FF">
              <a:alpha val="10000"/>
            </a:srgbClr>
          </a:solidFill>
          <a:ln w="2052" cap="flat">
            <a:noFill/>
            <a:prstDash val="solid"/>
            <a:miter/>
          </a:ln>
        </p:spPr>
        <p:txBody>
          <a:bodyPr rtlCol="0" anchor="ctr"/>
          <a:lstStyle/>
          <a:p>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2" name="Title Placeholder 1"/>
          <p:cNvSpPr>
            <a:spLocks noGrp="1"/>
          </p:cNvSpPr>
          <p:nvPr>
            <p:ph type="title"/>
          </p:nvPr>
        </p:nvSpPr>
        <p:spPr>
          <a:xfrm>
            <a:off x="628650" y="273844"/>
            <a:ext cx="7886700" cy="457200"/>
          </a:xfrm>
          <a:prstGeom prst="rect">
            <a:avLst/>
          </a:prstGeom>
        </p:spPr>
        <p:txBody>
          <a:bodyPr vert="horz" lIns="91440" tIns="45720" rIns="91440" bIns="45720" rtlCol="0" anchor="ctr">
            <a:normAutofit/>
          </a:bodyPr>
          <a:lstStyle/>
          <a:p>
            <a:r>
              <a:rPr lang="en-US"/>
              <a:t>Click to edit Master title style</a:t>
            </a:r>
          </a:p>
        </p:txBody>
      </p:sp>
    </p:spTree>
    <p:custDataLst>
      <p:tags r:id="rId17"/>
    </p:custDataLst>
    <p:extLst>
      <p:ext uri="{BB962C8B-B14F-4D97-AF65-F5344CB8AC3E}">
        <p14:creationId xmlns:p14="http://schemas.microsoft.com/office/powerpoint/2010/main" val="928412600"/>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685800" rtl="0" eaLnBrk="1" latinLnBrk="0" hangingPunct="1">
        <a:lnSpc>
          <a:spcPct val="90000"/>
        </a:lnSpc>
        <a:spcBef>
          <a:spcPct val="0"/>
        </a:spcBef>
        <a:buNone/>
        <a:defRPr sz="2800" b="1" kern="1200">
          <a:solidFill>
            <a:schemeClr val="bg1"/>
          </a:solidFill>
          <a:latin typeface="+mn-lt"/>
          <a:ea typeface="+mj-ea"/>
          <a:cs typeface="+mj-cs"/>
        </a:defRPr>
      </a:lvl1pPr>
    </p:titleStyle>
    <p:bodyStyle>
      <a:lvl1pPr marL="182880" indent="-182880" algn="l" defTabSz="685800" rtl="0" eaLnBrk="1" latinLnBrk="0" hangingPunct="1">
        <a:lnSpc>
          <a:spcPct val="85000"/>
        </a:lnSpc>
        <a:spcBef>
          <a:spcPts val="800"/>
        </a:spcBef>
        <a:buFont typeface="Arial" panose="020B0604020202020204" pitchFamily="34" charset="0"/>
        <a:buChar char="•"/>
        <a:defRPr sz="2100" kern="1200">
          <a:solidFill>
            <a:schemeClr val="bg1"/>
          </a:solidFill>
          <a:latin typeface="+mj-lt"/>
          <a:ea typeface="+mn-ea"/>
          <a:cs typeface="+mn-cs"/>
        </a:defRPr>
      </a:lvl1pPr>
      <a:lvl2pPr marL="365760" indent="-182880" algn="l" defTabSz="685800" rtl="0" eaLnBrk="1" latinLnBrk="0" hangingPunct="1">
        <a:lnSpc>
          <a:spcPct val="85000"/>
        </a:lnSpc>
        <a:spcBef>
          <a:spcPts val="800"/>
        </a:spcBef>
        <a:buFont typeface="Calibri Light" panose="020F0302020204030204" pitchFamily="34" charset="0"/>
        <a:buChar char="–"/>
        <a:defRPr sz="1800" kern="1200">
          <a:solidFill>
            <a:schemeClr val="bg1"/>
          </a:solidFill>
          <a:latin typeface="+mj-lt"/>
          <a:ea typeface="+mn-ea"/>
          <a:cs typeface="+mn-cs"/>
        </a:defRPr>
      </a:lvl2pPr>
      <a:lvl3pPr marL="548640" indent="-182880" algn="l" defTabSz="685800" rtl="0" eaLnBrk="1" latinLnBrk="0" hangingPunct="1">
        <a:lnSpc>
          <a:spcPct val="85000"/>
        </a:lnSpc>
        <a:spcBef>
          <a:spcPts val="800"/>
        </a:spcBef>
        <a:buFont typeface="Arial" panose="020B0604020202020204" pitchFamily="34" charset="0"/>
        <a:buChar char="•"/>
        <a:defRPr sz="1500" kern="1200">
          <a:solidFill>
            <a:schemeClr val="bg1"/>
          </a:solidFill>
          <a:latin typeface="+mj-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bg2"/>
          </a:solidFill>
          <a:latin typeface="+mj-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9" name="Group 8"/>
          <p:cNvGrpSpPr/>
          <p:nvPr userDrawn="1"/>
        </p:nvGrpSpPr>
        <p:grpSpPr>
          <a:xfrm>
            <a:off x="8425797" y="4765184"/>
            <a:ext cx="526892" cy="220528"/>
            <a:chOff x="6145213" y="4384676"/>
            <a:chExt cx="1582738" cy="649287"/>
          </a:xfrm>
          <a:solidFill>
            <a:schemeClr val="tx2"/>
          </a:solidFill>
        </p:grpSpPr>
        <p:sp>
          <p:nvSpPr>
            <p:cNvPr id="10" name="Freeform 6"/>
            <p:cNvSpPr>
              <a:spLocks/>
            </p:cNvSpPr>
            <p:nvPr userDrawn="1"/>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p:cNvSpPr>
              <a:spLocks noEditPoints="1"/>
            </p:cNvSpPr>
            <p:nvPr userDrawn="1"/>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userDrawn="1"/>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
            <p:cNvSpPr>
              <a:spLocks/>
            </p:cNvSpPr>
            <p:nvPr userDrawn="1"/>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0"/>
            <p:cNvSpPr>
              <a:spLocks/>
            </p:cNvSpPr>
            <p:nvPr userDrawn="1"/>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1"/>
            <p:cNvSpPr>
              <a:spLocks noEditPoints="1"/>
            </p:cNvSpPr>
            <p:nvPr userDrawn="1"/>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2"/>
            <p:cNvSpPr>
              <a:spLocks noEditPoints="1"/>
            </p:cNvSpPr>
            <p:nvPr userDrawn="1"/>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 name="Title Placeholder 1"/>
          <p:cNvSpPr>
            <a:spLocks noGrp="1"/>
          </p:cNvSpPr>
          <p:nvPr>
            <p:ph type="title"/>
          </p:nvPr>
        </p:nvSpPr>
        <p:spPr>
          <a:xfrm>
            <a:off x="626364" y="192024"/>
            <a:ext cx="7891272" cy="457200"/>
          </a:xfrm>
          <a:prstGeom prst="rect">
            <a:avLst/>
          </a:prstGeom>
        </p:spPr>
        <p:txBody>
          <a:bodyPr vert="horz" wrap="square" lIns="91440" tIns="45720" rIns="91440" bIns="45720" rtlCol="0" anchor="ctr" anchorCtr="0">
            <a:noAutofit/>
          </a:bodyPr>
          <a:lstStyle/>
          <a:p>
            <a:pPr lvl="0"/>
            <a:r>
              <a:rPr lang="en-US"/>
              <a:t>Click to edit Master title style</a:t>
            </a:r>
            <a:endParaRPr lang="en-US" dirty="0"/>
          </a:p>
        </p:txBody>
      </p:sp>
      <p:sp>
        <p:nvSpPr>
          <p:cNvPr id="3" name="Text Placeholder 2"/>
          <p:cNvSpPr>
            <a:spLocks noGrp="1"/>
          </p:cNvSpPr>
          <p:nvPr>
            <p:ph type="body" idx="1"/>
          </p:nvPr>
        </p:nvSpPr>
        <p:spPr>
          <a:xfrm>
            <a:off x="626364" y="1014984"/>
            <a:ext cx="7891272" cy="3639312"/>
          </a:xfrm>
          <a:prstGeom prst="rect">
            <a:avLst/>
          </a:prstGeom>
        </p:spPr>
        <p:txBody>
          <a:bodyPr vert="horz" lIns="91440" tIns="45720" rIns="91440" bIns="45720" rtlCol="0" anchor="t" anchorCtr="0">
            <a:normAutofit/>
          </a:bodyPr>
          <a:lstStyle/>
          <a:p>
            <a:pPr lvl="0"/>
            <a:r>
              <a:rPr lang="en-US" dirty="0"/>
              <a:t>Click to add text or click an icon to add other content types.	</a:t>
            </a:r>
          </a:p>
          <a:p>
            <a:pPr lvl="1"/>
            <a:r>
              <a:rPr lang="en-US" dirty="0"/>
              <a:t>Second level</a:t>
            </a:r>
          </a:p>
          <a:p>
            <a:pPr lvl="2"/>
            <a:r>
              <a:rPr lang="en-US" dirty="0"/>
              <a:t>Third level</a:t>
            </a:r>
          </a:p>
        </p:txBody>
      </p:sp>
      <p:sp>
        <p:nvSpPr>
          <p:cNvPr id="4" name="Slide Number Placeholder 3"/>
          <p:cNvSpPr>
            <a:spLocks noGrp="1"/>
          </p:cNvSpPr>
          <p:nvPr>
            <p:ph type="sldNum" sz="quarter" idx="4"/>
          </p:nvPr>
        </p:nvSpPr>
        <p:spPr>
          <a:xfrm>
            <a:off x="4114800" y="4754880"/>
            <a:ext cx="914400" cy="230832"/>
          </a:xfrm>
          <a:prstGeom prst="rect">
            <a:avLst/>
          </a:prstGeom>
        </p:spPr>
        <p:txBody>
          <a:bodyPr vert="horz" lIns="91440" tIns="45720" rIns="91440" bIns="45720" rtlCol="0" anchor="b">
            <a:spAutoFit/>
          </a:bodyPr>
          <a:lstStyle>
            <a:lvl1pPr algn="ctr" defTabSz="182880">
              <a:defRPr sz="900">
                <a:solidFill>
                  <a:schemeClr val="bg1">
                    <a:lumMod val="65000"/>
                  </a:schemeClr>
                </a:solidFill>
              </a:defRPr>
            </a:lvl1pPr>
          </a:lstStyle>
          <a:p>
            <a:fld id="{4976208B-6111-490B-8CEC-FFB249DB2100}" type="slidenum">
              <a:rPr lang="en-US" smtClean="0"/>
              <a:pPr/>
              <a:t>‹N°›</a:t>
            </a:fld>
            <a:endParaRPr lang="en-US" dirty="0"/>
          </a:p>
        </p:txBody>
      </p:sp>
      <p:sp>
        <p:nvSpPr>
          <p:cNvPr id="8" name="TextBox 4"/>
          <p:cNvSpPr txBox="1"/>
          <p:nvPr/>
        </p:nvSpPr>
        <p:spPr>
          <a:xfrm>
            <a:off x="3310128" y="4941552"/>
            <a:ext cx="2514600" cy="169277"/>
          </a:xfrm>
          <a:prstGeom prst="rect">
            <a:avLst/>
          </a:prstGeom>
          <a:noFill/>
        </p:spPr>
        <p:txBody>
          <a:bodyPr wrap="square" anchor="b" anchorCtr="0">
            <a:spAutoFit/>
          </a:bodyPr>
          <a:lstStyle/>
          <a:p>
            <a:pPr marL="0" marR="0" lvl="0" indent="0" algn="ctr" defTabSz="274320"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dirty="0">
                <a:ln>
                  <a:noFill/>
                </a:ln>
                <a:solidFill>
                  <a:schemeClr val="bg1">
                    <a:lumMod val="85000"/>
                  </a:schemeClr>
                </a:solidFill>
                <a:effectLst/>
                <a:uLnTx/>
                <a:uFillTx/>
                <a:latin typeface="+mn-lt"/>
                <a:ea typeface="Calibri" charset="0"/>
                <a:cs typeface="Arial" panose="020B0604020202020204" pitchFamily="34" charset="0"/>
              </a:rPr>
              <a:t>Copyright © SAS Institute Inc. All rights reserved.</a:t>
            </a:r>
          </a:p>
        </p:txBody>
      </p:sp>
    </p:spTree>
    <p:extLst>
      <p:ext uri="{BB962C8B-B14F-4D97-AF65-F5344CB8AC3E}">
        <p14:creationId xmlns:p14="http://schemas.microsoft.com/office/powerpoint/2010/main" val="3554491694"/>
      </p:ext>
    </p:extLst>
  </p:cSld>
  <p:clrMap bg1="lt1" tx1="dk1" bg2="lt2" tx2="dk2" accent1="accent1" accent2="accent2" accent3="accent3" accent4="accent4" accent5="accent5" accent6="accent6" hlink="hlink" folHlink="folHlink"/>
  <p:sldLayoutIdLst>
    <p:sldLayoutId id="2147483854" r:id="rId1"/>
    <p:sldLayoutId id="2147483855" r:id="rId2"/>
  </p:sldLayoutIdLst>
  <p:transition>
    <p:fade/>
  </p:transition>
  <p:hf sldNum="0" hdr="0" ftr="0" dt="0"/>
  <p:txStyles>
    <p:titleStyle>
      <a:lvl1pPr algn="ctr" defTabSz="182880" rtl="0" eaLnBrk="1" latinLnBrk="0" hangingPunct="1">
        <a:spcBef>
          <a:spcPct val="0"/>
        </a:spcBef>
        <a:buNone/>
        <a:defRPr lang="en-US" sz="2800" kern="1200" cap="none" baseline="0" dirty="0">
          <a:solidFill>
            <a:schemeClr val="tx2"/>
          </a:solidFill>
          <a:latin typeface="+mj-lt"/>
          <a:ea typeface="+mj-ea"/>
          <a:cs typeface="+mj-cs"/>
        </a:defRPr>
      </a:lvl1pPr>
    </p:titleStyle>
    <p:bodyStyle>
      <a:lvl1pPr marL="182880" indent="-182880" algn="l" defTabSz="365760" rtl="0" eaLnBrk="1" latinLnBrk="0" hangingPunct="1">
        <a:lnSpc>
          <a:spcPct val="85000"/>
        </a:lnSpc>
        <a:spcBef>
          <a:spcPts val="800"/>
        </a:spcBef>
        <a:spcAft>
          <a:spcPts val="0"/>
        </a:spcAft>
        <a:buClr>
          <a:schemeClr val="accent1"/>
        </a:buClr>
        <a:buSzPct val="80000"/>
        <a:buFont typeface="Arial" pitchFamily="34" charset="0"/>
        <a:buChar char="•"/>
        <a:defRPr sz="2000" b="0" kern="1200" cap="none" baseline="0">
          <a:solidFill>
            <a:schemeClr val="tx2"/>
          </a:solidFill>
          <a:latin typeface="+mn-lt"/>
          <a:ea typeface="+mn-ea"/>
          <a:cs typeface="+mn-cs"/>
        </a:defRPr>
      </a:lvl1pPr>
      <a:lvl2pPr marL="365760" indent="-182880" algn="l" defTabSz="365760" rtl="0" eaLnBrk="1" latinLnBrk="0" hangingPunct="1">
        <a:lnSpc>
          <a:spcPct val="85000"/>
        </a:lnSpc>
        <a:spcBef>
          <a:spcPts val="800"/>
        </a:spcBef>
        <a:spcAft>
          <a:spcPts val="0"/>
        </a:spcAft>
        <a:buClr>
          <a:schemeClr val="tx1">
            <a:lumMod val="65000"/>
            <a:lumOff val="35000"/>
          </a:schemeClr>
        </a:buClr>
        <a:buSzPct val="80000"/>
        <a:buFont typeface="Arial" pitchFamily="34" charset="0"/>
        <a:buChar char="•"/>
        <a:tabLst/>
        <a:defRPr sz="1800" kern="1200" baseline="0">
          <a:solidFill>
            <a:schemeClr val="tx1">
              <a:lumMod val="65000"/>
              <a:lumOff val="35000"/>
            </a:schemeClr>
          </a:solidFill>
          <a:latin typeface="+mn-lt"/>
          <a:ea typeface="+mn-ea"/>
          <a:cs typeface="+mn-cs"/>
        </a:defRPr>
      </a:lvl2pPr>
      <a:lvl3pPr marL="548640" indent="-182880" algn="l" defTabSz="365760" rtl="0" eaLnBrk="1" latinLnBrk="0" hangingPunct="1">
        <a:lnSpc>
          <a:spcPct val="85000"/>
        </a:lnSpc>
        <a:spcBef>
          <a:spcPts val="800"/>
        </a:spcBef>
        <a:spcAft>
          <a:spcPts val="0"/>
        </a:spcAft>
        <a:buClr>
          <a:schemeClr val="tx1">
            <a:lumMod val="65000"/>
            <a:lumOff val="35000"/>
          </a:schemeClr>
        </a:buClr>
        <a:buSzPct val="100000"/>
        <a:buFont typeface="Calibri" panose="020F0502020204030204" pitchFamily="34" charset="0"/>
        <a:buChar char="-"/>
        <a:defRPr sz="1400" kern="1200" baseline="0">
          <a:solidFill>
            <a:schemeClr val="tx1">
              <a:lumMod val="65000"/>
              <a:lumOff val="35000"/>
            </a:schemeClr>
          </a:solidFill>
          <a:latin typeface="+mn-lt"/>
          <a:ea typeface="+mn-ea"/>
          <a:cs typeface="+mn-cs"/>
        </a:defRPr>
      </a:lvl3pPr>
      <a:lvl4pPr marL="73152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200" kern="1200" baseline="0">
          <a:solidFill>
            <a:schemeClr val="tx1">
              <a:lumMod val="65000"/>
              <a:lumOff val="35000"/>
            </a:schemeClr>
          </a:solidFill>
          <a:latin typeface="+mn-lt"/>
          <a:ea typeface="+mn-ea"/>
          <a:cs typeface="+mn-cs"/>
        </a:defRPr>
      </a:lvl4pPr>
      <a:lvl5pPr marL="914400" indent="-182880" algn="l" defTabSz="365760" rtl="0" eaLnBrk="1" latinLnBrk="0" hangingPunct="1">
        <a:lnSpc>
          <a:spcPct val="120000"/>
        </a:lnSpc>
        <a:spcBef>
          <a:spcPts val="0"/>
        </a:spcBef>
        <a:buClr>
          <a:schemeClr val="tx1">
            <a:lumMod val="65000"/>
            <a:lumOff val="35000"/>
          </a:schemeClr>
        </a:buClr>
        <a:buSzPct val="100000"/>
        <a:buFont typeface="Calibri" panose="020F0502020204030204" pitchFamily="34" charset="0"/>
        <a:buChar char="-"/>
        <a:defRPr sz="1000" kern="1200" baseline="0">
          <a:solidFill>
            <a:schemeClr val="tx1">
              <a:lumMod val="65000"/>
              <a:lumOff val="35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141942-FFCF-4903-BABD-66BD9EA9FA35}"/>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FD97E6F-0996-4E45-9895-D37CCD5B90C7}"/>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8ABCC5-22A0-49C0-AD0C-59701C913B51}"/>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DA3181CC-158A-4373-A076-37CF4C62C583}" type="datetimeFigureOut">
              <a:rPr lang="en-US" smtClean="0"/>
              <a:t>4/11/2023</a:t>
            </a:fld>
            <a:endParaRPr lang="en-US" dirty="0"/>
          </a:p>
        </p:txBody>
      </p:sp>
      <p:sp>
        <p:nvSpPr>
          <p:cNvPr id="5" name="Footer Placeholder 4">
            <a:extLst>
              <a:ext uri="{FF2B5EF4-FFF2-40B4-BE49-F238E27FC236}">
                <a16:creationId xmlns:a16="http://schemas.microsoft.com/office/drawing/2014/main" id="{60462018-E0C7-44A6-A512-7F2CBDB847A6}"/>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4D382CA3-4A55-4510-94D7-823A346AAADB}"/>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FC31591A-7378-432B-A83F-07D6271CAB69}" type="slidenum">
              <a:rPr lang="en-US" smtClean="0"/>
              <a:t>‹N°›</a:t>
            </a:fld>
            <a:endParaRPr lang="en-US" dirty="0"/>
          </a:p>
        </p:txBody>
      </p:sp>
    </p:spTree>
    <p:extLst>
      <p:ext uri="{BB962C8B-B14F-4D97-AF65-F5344CB8AC3E}">
        <p14:creationId xmlns:p14="http://schemas.microsoft.com/office/powerpoint/2010/main" val="1696129985"/>
      </p:ext>
    </p:extLst>
  </p:cSld>
  <p:clrMap bg1="lt1" tx1="dk1" bg2="lt2" tx2="dk2" accent1="accent1" accent2="accent2" accent3="accent3" accent4="accent4" accent5="accent5" accent6="accent6" hlink="hlink" folHlink="folHlink"/>
  <p:sldLayoutIdLst>
    <p:sldLayoutId id="2147483857"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tags" Target="../tags/tag99.xml"/><Relationship Id="rId21" Type="http://schemas.openxmlformats.org/officeDocument/2006/relationships/tags" Target="../tags/tag81.xml"/><Relationship Id="rId34" Type="http://schemas.openxmlformats.org/officeDocument/2006/relationships/tags" Target="../tags/tag94.xml"/><Relationship Id="rId42" Type="http://schemas.openxmlformats.org/officeDocument/2006/relationships/tags" Target="../tags/tag102.xml"/><Relationship Id="rId47" Type="http://schemas.openxmlformats.org/officeDocument/2006/relationships/slideLayout" Target="../slideLayouts/slideLayout4.xml"/><Relationship Id="rId50" Type="http://schemas.openxmlformats.org/officeDocument/2006/relationships/image" Target="../media/image28.png"/><Relationship Id="rId55" Type="http://schemas.openxmlformats.org/officeDocument/2006/relationships/image" Target="../media/image33.png"/><Relationship Id="rId7" Type="http://schemas.openxmlformats.org/officeDocument/2006/relationships/tags" Target="../tags/tag67.xml"/><Relationship Id="rId2" Type="http://schemas.openxmlformats.org/officeDocument/2006/relationships/tags" Target="../tags/tag62.xml"/><Relationship Id="rId16" Type="http://schemas.openxmlformats.org/officeDocument/2006/relationships/tags" Target="../tags/tag76.xml"/><Relationship Id="rId29" Type="http://schemas.openxmlformats.org/officeDocument/2006/relationships/tags" Target="../tags/tag89.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tags" Target="../tags/tag92.xml"/><Relationship Id="rId37" Type="http://schemas.openxmlformats.org/officeDocument/2006/relationships/tags" Target="../tags/tag97.xml"/><Relationship Id="rId40" Type="http://schemas.openxmlformats.org/officeDocument/2006/relationships/tags" Target="../tags/tag100.xml"/><Relationship Id="rId45" Type="http://schemas.openxmlformats.org/officeDocument/2006/relationships/tags" Target="../tags/tag105.xml"/><Relationship Id="rId53" Type="http://schemas.openxmlformats.org/officeDocument/2006/relationships/image" Target="../media/image31.png"/><Relationship Id="rId58" Type="http://schemas.openxmlformats.org/officeDocument/2006/relationships/image" Target="../media/image36.png"/><Relationship Id="rId5" Type="http://schemas.openxmlformats.org/officeDocument/2006/relationships/tags" Target="../tags/tag65.xml"/><Relationship Id="rId19" Type="http://schemas.openxmlformats.org/officeDocument/2006/relationships/tags" Target="../tags/tag79.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tags" Target="../tags/tag90.xml"/><Relationship Id="rId35" Type="http://schemas.openxmlformats.org/officeDocument/2006/relationships/tags" Target="../tags/tag95.xml"/><Relationship Id="rId43" Type="http://schemas.openxmlformats.org/officeDocument/2006/relationships/tags" Target="../tags/tag103.xml"/><Relationship Id="rId48" Type="http://schemas.openxmlformats.org/officeDocument/2006/relationships/notesSlide" Target="../notesSlides/notesSlide1.xml"/><Relationship Id="rId56" Type="http://schemas.openxmlformats.org/officeDocument/2006/relationships/image" Target="../media/image34.png"/><Relationship Id="rId8" Type="http://schemas.openxmlformats.org/officeDocument/2006/relationships/tags" Target="../tags/tag68.xml"/><Relationship Id="rId51" Type="http://schemas.openxmlformats.org/officeDocument/2006/relationships/image" Target="../media/image29.png"/><Relationship Id="rId3" Type="http://schemas.openxmlformats.org/officeDocument/2006/relationships/tags" Target="../tags/tag63.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tags" Target="../tags/tag93.xml"/><Relationship Id="rId38" Type="http://schemas.openxmlformats.org/officeDocument/2006/relationships/tags" Target="../tags/tag98.xml"/><Relationship Id="rId46" Type="http://schemas.openxmlformats.org/officeDocument/2006/relationships/tags" Target="../tags/tag106.xml"/><Relationship Id="rId59" Type="http://schemas.openxmlformats.org/officeDocument/2006/relationships/image" Target="../media/image37.png"/><Relationship Id="rId20" Type="http://schemas.openxmlformats.org/officeDocument/2006/relationships/tags" Target="../tags/tag80.xml"/><Relationship Id="rId41" Type="http://schemas.openxmlformats.org/officeDocument/2006/relationships/tags" Target="../tags/tag101.xml"/><Relationship Id="rId54" Type="http://schemas.openxmlformats.org/officeDocument/2006/relationships/image" Target="../media/image32.png"/><Relationship Id="rId1" Type="http://schemas.openxmlformats.org/officeDocument/2006/relationships/tags" Target="../tags/tag61.xml"/><Relationship Id="rId6" Type="http://schemas.openxmlformats.org/officeDocument/2006/relationships/tags" Target="../tags/tag66.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tags" Target="../tags/tag96.xml"/><Relationship Id="rId49" Type="http://schemas.openxmlformats.org/officeDocument/2006/relationships/image" Target="../media/image27.png"/><Relationship Id="rId57" Type="http://schemas.openxmlformats.org/officeDocument/2006/relationships/image" Target="../media/image35.png"/><Relationship Id="rId10" Type="http://schemas.openxmlformats.org/officeDocument/2006/relationships/tags" Target="../tags/tag70.xml"/><Relationship Id="rId31" Type="http://schemas.openxmlformats.org/officeDocument/2006/relationships/tags" Target="../tags/tag91.xml"/><Relationship Id="rId44" Type="http://schemas.openxmlformats.org/officeDocument/2006/relationships/tags" Target="../tags/tag104.xml"/><Relationship Id="rId52" Type="http://schemas.openxmlformats.org/officeDocument/2006/relationships/image" Target="../media/image30.png"/></Relationships>
</file>

<file path=ppt/slides/_rels/slide7.xml.rels><?xml version="1.0" encoding="UTF-8" standalone="yes"?>
<Relationships xmlns="http://schemas.openxmlformats.org/package/2006/relationships"><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tags" Target="../tags/tag132.xml"/><Relationship Id="rId3" Type="http://schemas.openxmlformats.org/officeDocument/2006/relationships/tags" Target="../tags/tag109.xml"/><Relationship Id="rId21" Type="http://schemas.openxmlformats.org/officeDocument/2006/relationships/tags" Target="../tags/tag127.xml"/><Relationship Id="rId34" Type="http://schemas.openxmlformats.org/officeDocument/2006/relationships/slideLayout" Target="../slideLayouts/slideLayout76.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tags" Target="../tags/tag131.xml"/><Relationship Id="rId33" Type="http://schemas.openxmlformats.org/officeDocument/2006/relationships/tags" Target="../tags/tag139.xml"/><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29" Type="http://schemas.openxmlformats.org/officeDocument/2006/relationships/tags" Target="../tags/tag135.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tags" Target="../tags/tag130.xml"/><Relationship Id="rId32" Type="http://schemas.openxmlformats.org/officeDocument/2006/relationships/tags" Target="../tags/tag138.xml"/><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tags" Target="../tags/tag129.xml"/><Relationship Id="rId28" Type="http://schemas.openxmlformats.org/officeDocument/2006/relationships/tags" Target="../tags/tag134.xml"/><Relationship Id="rId10" Type="http://schemas.openxmlformats.org/officeDocument/2006/relationships/tags" Target="../tags/tag116.xml"/><Relationship Id="rId19" Type="http://schemas.openxmlformats.org/officeDocument/2006/relationships/tags" Target="../tags/tag125.xml"/><Relationship Id="rId31" Type="http://schemas.openxmlformats.org/officeDocument/2006/relationships/tags" Target="../tags/tag137.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 Id="rId27" Type="http://schemas.openxmlformats.org/officeDocument/2006/relationships/tags" Target="../tags/tag133.xml"/><Relationship Id="rId30" Type="http://schemas.openxmlformats.org/officeDocument/2006/relationships/tags" Target="../tags/tag136.xml"/><Relationship Id="rId35" Type="http://schemas.openxmlformats.org/officeDocument/2006/relationships/notesSlide" Target="../notesSlides/notesSlide2.xml"/><Relationship Id="rId8" Type="http://schemas.openxmlformats.org/officeDocument/2006/relationships/tags" Target="../tags/tag114.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8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922E20-F83F-47CA-BD3B-A363F79934CB}"/>
              </a:ext>
            </a:extLst>
          </p:cNvPr>
          <p:cNvSpPr>
            <a:spLocks noGrp="1"/>
          </p:cNvSpPr>
          <p:nvPr>
            <p:ph type="body" sz="quarter" idx="10"/>
          </p:nvPr>
        </p:nvSpPr>
        <p:spPr>
          <a:xfrm>
            <a:off x="1653872" y="1264864"/>
            <a:ext cx="6390694" cy="1556124"/>
          </a:xfrm>
        </p:spPr>
        <p:txBody>
          <a:bodyPr/>
          <a:lstStyle/>
          <a:p>
            <a:r>
              <a:rPr lang="fr-CA" b="0" i="0" u="none" strike="noStrike" cap="all" dirty="0">
                <a:effectLst/>
                <a:latin typeface="Poppins" panose="00000500000000000000" pitchFamily="2" charset="0"/>
              </a:rPr>
              <a:t>DE LA RÈGLE D’AFFAIRE À LA PRODUCTION, SUR LES TRACES DU SUCCÈS.</a:t>
            </a:r>
          </a:p>
          <a:p>
            <a:endParaRPr lang="en-US" dirty="0"/>
          </a:p>
        </p:txBody>
      </p:sp>
      <p:sp>
        <p:nvSpPr>
          <p:cNvPr id="3" name="Text Placeholder 2">
            <a:extLst>
              <a:ext uri="{FF2B5EF4-FFF2-40B4-BE49-F238E27FC236}">
                <a16:creationId xmlns:a16="http://schemas.microsoft.com/office/drawing/2014/main" id="{7CB5983F-48B7-484D-95A4-081A3A2C9B70}"/>
              </a:ext>
            </a:extLst>
          </p:cNvPr>
          <p:cNvSpPr>
            <a:spLocks noGrp="1"/>
          </p:cNvSpPr>
          <p:nvPr>
            <p:ph type="body" sz="quarter" idx="11"/>
          </p:nvPr>
        </p:nvSpPr>
        <p:spPr>
          <a:xfrm>
            <a:off x="1653872" y="3557588"/>
            <a:ext cx="6390694" cy="1458912"/>
          </a:xfrm>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Light" panose="020F0302020204030204"/>
                <a:ea typeface="+mn-ea"/>
                <a:cs typeface="+mn-cs"/>
              </a:rPr>
              <a:t>Robin Drolet </a:t>
            </a:r>
            <a:r>
              <a:rPr kumimoji="0" lang="en-US" sz="1200" b="0" i="0" u="none" strike="noStrike" kern="1200" cap="none" spc="0" normalizeH="0" baseline="0" noProof="0" dirty="0" err="1">
                <a:ln>
                  <a:noFill/>
                </a:ln>
                <a:solidFill>
                  <a:srgbClr val="FFFFFF"/>
                </a:solidFill>
                <a:effectLst/>
                <a:uLnTx/>
                <a:uFillTx/>
                <a:latin typeface="Calibri Light" panose="020F0302020204030204"/>
                <a:ea typeface="+mn-ea"/>
                <a:cs typeface="+mn-cs"/>
              </a:rPr>
              <a:t>B.Sc</a:t>
            </a:r>
            <a:r>
              <a:rPr kumimoji="0" lang="en-US" sz="1200" b="0" i="0" u="none" strike="noStrike" kern="1200" cap="none" spc="0" normalizeH="0" baseline="0" noProof="0" dirty="0">
                <a:ln>
                  <a:noFill/>
                </a:ln>
                <a:solidFill>
                  <a:srgbClr val="FFFFFF"/>
                </a:solidFill>
                <a:effectLst/>
                <a:uLnTx/>
                <a:uFillTx/>
                <a:latin typeface="Calibri Light" panose="020F0302020204030204"/>
                <a:ea typeface="+mn-ea"/>
                <a:cs typeface="+mn-cs"/>
              </a:rPr>
              <a:t>, </a:t>
            </a:r>
            <a:r>
              <a:rPr kumimoji="0" lang="en-US" sz="1200" b="0" i="0" u="none" strike="noStrike" kern="1200" cap="none" spc="0" normalizeH="0" baseline="0" noProof="0" dirty="0" err="1">
                <a:ln>
                  <a:noFill/>
                </a:ln>
                <a:solidFill>
                  <a:srgbClr val="FFFFFF"/>
                </a:solidFill>
                <a:effectLst/>
                <a:uLnTx/>
                <a:uFillTx/>
                <a:latin typeface="Calibri Light" panose="020F0302020204030204"/>
                <a:ea typeface="+mn-ea"/>
                <a:cs typeface="+mn-cs"/>
              </a:rPr>
              <a:t>B.Sc.A</a:t>
            </a:r>
            <a:r>
              <a:rPr kumimoji="0" lang="en-US" sz="1200" b="0" i="0" u="none" strike="noStrike" kern="1200" cap="none" spc="0" normalizeH="0" baseline="0" noProof="0" dirty="0">
                <a:ln>
                  <a:noFill/>
                </a:ln>
                <a:solidFill>
                  <a:srgbClr val="FFFFFF"/>
                </a:solidFill>
                <a:effectLst/>
                <a:uLnTx/>
                <a:uFillTx/>
                <a:latin typeface="Calibri Light" panose="020F0302020204030204"/>
                <a:ea typeface="+mn-ea"/>
                <a:cs typeface="+mn-cs"/>
              </a:rPr>
              <a:t>, SMIEEE</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Light" panose="020F0302020204030204"/>
                <a:ea typeface="+mn-ea"/>
                <a:cs typeface="+mn-cs"/>
              </a:rPr>
              <a:t>Sr. Solutions Architect</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Light" panose="020F0302020204030204"/>
                <a:ea typeface="+mn-ea"/>
                <a:cs typeface="+mn-cs"/>
              </a:rPr>
              <a:t>Robin.drolet@sas.com</a:t>
            </a:r>
          </a:p>
          <a:p>
            <a:endParaRPr lang="en-US" dirty="0"/>
          </a:p>
        </p:txBody>
      </p:sp>
    </p:spTree>
    <p:extLst>
      <p:ext uri="{BB962C8B-B14F-4D97-AF65-F5344CB8AC3E}">
        <p14:creationId xmlns:p14="http://schemas.microsoft.com/office/powerpoint/2010/main" val="244700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A5EDD4-86AC-4670-9322-8A061FC40FA3}"/>
              </a:ext>
            </a:extLst>
          </p:cNvPr>
          <p:cNvSpPr>
            <a:spLocks noGrp="1"/>
          </p:cNvSpPr>
          <p:nvPr>
            <p:ph type="body" sz="quarter" idx="10"/>
          </p:nvPr>
        </p:nvSpPr>
        <p:spPr/>
        <p:txBody>
          <a:bodyPr/>
          <a:lstStyle/>
          <a:p>
            <a:r>
              <a:rPr lang="en-US" dirty="0"/>
              <a:t>Merci!</a:t>
            </a:r>
          </a:p>
        </p:txBody>
      </p:sp>
    </p:spTree>
    <p:extLst>
      <p:ext uri="{BB962C8B-B14F-4D97-AF65-F5344CB8AC3E}">
        <p14:creationId xmlns:p14="http://schemas.microsoft.com/office/powerpoint/2010/main" val="257467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47DF41B4-D137-E42B-A7C6-6725874387AB}"/>
              </a:ext>
            </a:extLst>
          </p:cNvPr>
          <p:cNvSpPr txBox="1"/>
          <p:nvPr/>
        </p:nvSpPr>
        <p:spPr>
          <a:xfrm>
            <a:off x="635000" y="838200"/>
            <a:ext cx="7200900" cy="3170099"/>
          </a:xfrm>
          <a:prstGeom prst="rect">
            <a:avLst/>
          </a:prstGeom>
          <a:noFill/>
        </p:spPr>
        <p:txBody>
          <a:bodyPr wrap="square" rtlCol="0">
            <a:spAutoFit/>
          </a:bodyPr>
          <a:lstStyle/>
          <a:p>
            <a:pPr marL="285750" indent="-285750" algn="l">
              <a:buFont typeface="Arial" panose="020B0604020202020204" pitchFamily="34" charset="0"/>
              <a:buChar char="•"/>
            </a:pPr>
            <a:r>
              <a:rPr lang="fr-CA" sz="4000" dirty="0">
                <a:solidFill>
                  <a:schemeClr val="bg1"/>
                </a:solidFill>
                <a:latin typeface="+mj-lt"/>
              </a:rPr>
              <a:t>Règles d’affaires</a:t>
            </a:r>
          </a:p>
          <a:p>
            <a:pPr marL="285750" indent="-285750" algn="l">
              <a:buFont typeface="Arial" panose="020B0604020202020204" pitchFamily="34" charset="0"/>
              <a:buChar char="•"/>
            </a:pPr>
            <a:r>
              <a:rPr lang="fr-CA" sz="4000" dirty="0">
                <a:solidFill>
                  <a:schemeClr val="bg1"/>
                </a:solidFill>
                <a:latin typeface="+mj-lt"/>
              </a:rPr>
              <a:t>BRE / BRMS / Plateforme</a:t>
            </a:r>
          </a:p>
          <a:p>
            <a:pPr marL="285750" indent="-285750" algn="l">
              <a:buFont typeface="Arial" panose="020B0604020202020204" pitchFamily="34" charset="0"/>
              <a:buChar char="•"/>
            </a:pPr>
            <a:r>
              <a:rPr lang="fr-CA" sz="4000" dirty="0">
                <a:solidFill>
                  <a:schemeClr val="bg1"/>
                </a:solidFill>
                <a:latin typeface="+mj-lt"/>
              </a:rPr>
              <a:t>Architecture type</a:t>
            </a:r>
          </a:p>
          <a:p>
            <a:pPr marL="285750" indent="-285750" algn="l">
              <a:buFont typeface="Arial" panose="020B0604020202020204" pitchFamily="34" charset="0"/>
              <a:buChar char="•"/>
            </a:pPr>
            <a:r>
              <a:rPr lang="fr-CA" sz="4000" dirty="0">
                <a:solidFill>
                  <a:schemeClr val="bg1"/>
                </a:solidFill>
                <a:latin typeface="+mj-lt"/>
              </a:rPr>
              <a:t>Avantages</a:t>
            </a:r>
          </a:p>
          <a:p>
            <a:pPr marL="285750" indent="-285750" algn="l">
              <a:buFont typeface="Arial" panose="020B0604020202020204" pitchFamily="34" charset="0"/>
              <a:buChar char="•"/>
            </a:pPr>
            <a:r>
              <a:rPr lang="fr-CA" sz="4000" dirty="0">
                <a:solidFill>
                  <a:schemeClr val="bg1"/>
                </a:solidFill>
                <a:latin typeface="+mj-lt"/>
              </a:rPr>
              <a:t>Cas clients</a:t>
            </a:r>
          </a:p>
        </p:txBody>
      </p:sp>
    </p:spTree>
    <p:extLst>
      <p:ext uri="{BB962C8B-B14F-4D97-AF65-F5344CB8AC3E}">
        <p14:creationId xmlns:p14="http://schemas.microsoft.com/office/powerpoint/2010/main" val="334839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47DF41B4-D137-E42B-A7C6-6725874387AB}"/>
              </a:ext>
            </a:extLst>
          </p:cNvPr>
          <p:cNvSpPr txBox="1"/>
          <p:nvPr/>
        </p:nvSpPr>
        <p:spPr>
          <a:xfrm>
            <a:off x="342900" y="768350"/>
            <a:ext cx="7639050" cy="2985433"/>
          </a:xfrm>
          <a:prstGeom prst="rect">
            <a:avLst/>
          </a:prstGeom>
          <a:noFill/>
        </p:spPr>
        <p:txBody>
          <a:bodyPr wrap="square" rtlCol="0">
            <a:spAutoFit/>
          </a:bodyPr>
          <a:lstStyle/>
          <a:p>
            <a:pPr algn="l"/>
            <a:r>
              <a:rPr lang="fr-CA" sz="4000" dirty="0">
                <a:solidFill>
                  <a:schemeClr val="bg1"/>
                </a:solidFill>
                <a:latin typeface="+mj-lt"/>
              </a:rPr>
              <a:t>Règles d’affaires</a:t>
            </a:r>
          </a:p>
          <a:p>
            <a:pPr algn="l"/>
            <a:endParaRPr lang="fr-CA" sz="3600" dirty="0">
              <a:solidFill>
                <a:schemeClr val="bg1"/>
              </a:solidFill>
              <a:latin typeface="+mj-lt"/>
            </a:endParaRPr>
          </a:p>
          <a:p>
            <a:pPr marL="457200" indent="-457200" algn="l">
              <a:buFont typeface="Arial" panose="020B0604020202020204" pitchFamily="34" charset="0"/>
              <a:buChar char="•"/>
            </a:pPr>
            <a:r>
              <a:rPr lang="fr-CA" sz="3600" dirty="0">
                <a:solidFill>
                  <a:schemeClr val="bg1"/>
                </a:solidFill>
                <a:latin typeface="+mj-lt"/>
              </a:rPr>
              <a:t>Logique métier</a:t>
            </a:r>
          </a:p>
          <a:p>
            <a:pPr marL="457200" indent="-457200" algn="l">
              <a:buFont typeface="Arial" panose="020B0604020202020204" pitchFamily="34" charset="0"/>
              <a:buChar char="•"/>
            </a:pPr>
            <a:r>
              <a:rPr lang="fr-CA" sz="3600" dirty="0">
                <a:solidFill>
                  <a:schemeClr val="bg1"/>
                </a:solidFill>
                <a:latin typeface="+mj-lt"/>
              </a:rPr>
              <a:t>Interface ‘Low code/ No code’</a:t>
            </a:r>
          </a:p>
          <a:p>
            <a:pPr marL="457200" indent="-457200" algn="l">
              <a:buFont typeface="Arial" panose="020B0604020202020204" pitchFamily="34" charset="0"/>
              <a:buChar char="•"/>
            </a:pPr>
            <a:r>
              <a:rPr lang="fr-CA" sz="3600" dirty="0">
                <a:solidFill>
                  <a:schemeClr val="bg1"/>
                </a:solidFill>
                <a:latin typeface="+mj-lt"/>
              </a:rPr>
              <a:t>Logiciel convertis en code</a:t>
            </a:r>
          </a:p>
        </p:txBody>
      </p:sp>
    </p:spTree>
    <p:extLst>
      <p:ext uri="{BB962C8B-B14F-4D97-AF65-F5344CB8AC3E}">
        <p14:creationId xmlns:p14="http://schemas.microsoft.com/office/powerpoint/2010/main" val="268049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47DF41B4-D137-E42B-A7C6-6725874387AB}"/>
              </a:ext>
            </a:extLst>
          </p:cNvPr>
          <p:cNvSpPr txBox="1"/>
          <p:nvPr/>
        </p:nvSpPr>
        <p:spPr>
          <a:xfrm>
            <a:off x="254000" y="547519"/>
            <a:ext cx="8985250" cy="3354765"/>
          </a:xfrm>
          <a:prstGeom prst="rect">
            <a:avLst/>
          </a:prstGeom>
          <a:noFill/>
        </p:spPr>
        <p:txBody>
          <a:bodyPr wrap="square" rtlCol="0">
            <a:spAutoFit/>
          </a:bodyPr>
          <a:lstStyle/>
          <a:p>
            <a:pPr algn="l"/>
            <a:r>
              <a:rPr lang="fr-CA" sz="4000" dirty="0">
                <a:solidFill>
                  <a:schemeClr val="bg1"/>
                </a:solidFill>
                <a:latin typeface="+mj-lt"/>
              </a:rPr>
              <a:t>BRE / BRMS / Plateforme</a:t>
            </a:r>
          </a:p>
          <a:p>
            <a:pPr algn="l"/>
            <a:endParaRPr lang="fr-CA" sz="2800" dirty="0">
              <a:solidFill>
                <a:schemeClr val="bg1"/>
              </a:solidFill>
              <a:latin typeface="+mj-lt"/>
            </a:endParaRPr>
          </a:p>
          <a:p>
            <a:pPr marL="457200" indent="-457200" algn="l">
              <a:buFont typeface="Arial" panose="020B0604020202020204" pitchFamily="34" charset="0"/>
              <a:buChar char="•"/>
            </a:pPr>
            <a:r>
              <a:rPr lang="fr-CA" sz="3600" dirty="0">
                <a:solidFill>
                  <a:schemeClr val="bg1"/>
                </a:solidFill>
                <a:latin typeface="+mj-lt"/>
              </a:rPr>
              <a:t>BRE =  Business Rules Engine</a:t>
            </a:r>
            <a:endParaRPr lang="fr-CA" sz="3200" dirty="0">
              <a:solidFill>
                <a:schemeClr val="bg1"/>
              </a:solidFill>
              <a:latin typeface="+mj-lt"/>
            </a:endParaRPr>
          </a:p>
          <a:p>
            <a:pPr marL="457200" indent="-457200" algn="l">
              <a:buFont typeface="Arial" panose="020B0604020202020204" pitchFamily="34" charset="0"/>
              <a:buChar char="•"/>
            </a:pPr>
            <a:r>
              <a:rPr lang="fr-CA" sz="3600" dirty="0">
                <a:solidFill>
                  <a:schemeClr val="bg1"/>
                </a:solidFill>
                <a:latin typeface="+mj-lt"/>
              </a:rPr>
              <a:t>BRMS = Business Rules Management System</a:t>
            </a:r>
            <a:endParaRPr lang="fr-CA" sz="3200" dirty="0">
              <a:solidFill>
                <a:schemeClr val="bg1"/>
              </a:solidFill>
              <a:latin typeface="+mj-lt"/>
            </a:endParaRPr>
          </a:p>
          <a:p>
            <a:pPr marL="457200" indent="-457200" algn="l">
              <a:buFont typeface="Arial" panose="020B0604020202020204" pitchFamily="34" charset="0"/>
              <a:buChar char="•"/>
            </a:pPr>
            <a:r>
              <a:rPr lang="fr-CA" sz="3600" dirty="0">
                <a:solidFill>
                  <a:schemeClr val="bg1"/>
                </a:solidFill>
                <a:latin typeface="+mj-lt"/>
              </a:rPr>
              <a:t>Plateforme = BRMS + outils nécessaires à l’élaboration de solutions de façon  itérative.</a:t>
            </a:r>
          </a:p>
        </p:txBody>
      </p:sp>
    </p:spTree>
    <p:extLst>
      <p:ext uri="{BB962C8B-B14F-4D97-AF65-F5344CB8AC3E}">
        <p14:creationId xmlns:p14="http://schemas.microsoft.com/office/powerpoint/2010/main" val="382245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47DF41B4-D137-E42B-A7C6-6725874387AB}"/>
              </a:ext>
            </a:extLst>
          </p:cNvPr>
          <p:cNvSpPr txBox="1"/>
          <p:nvPr/>
        </p:nvSpPr>
        <p:spPr>
          <a:xfrm>
            <a:off x="254000" y="223549"/>
            <a:ext cx="7886700" cy="707886"/>
          </a:xfrm>
          <a:prstGeom prst="rect">
            <a:avLst/>
          </a:prstGeom>
          <a:noFill/>
        </p:spPr>
        <p:txBody>
          <a:bodyPr wrap="square" rtlCol="0">
            <a:spAutoFit/>
          </a:bodyPr>
          <a:lstStyle/>
          <a:p>
            <a:pPr algn="l"/>
            <a:r>
              <a:rPr lang="fr-CA" sz="4000" dirty="0">
                <a:solidFill>
                  <a:schemeClr val="bg1"/>
                </a:solidFill>
                <a:latin typeface="+mj-lt"/>
              </a:rPr>
              <a:t>Architecture type</a:t>
            </a:r>
          </a:p>
        </p:txBody>
      </p:sp>
      <p:sp>
        <p:nvSpPr>
          <p:cNvPr id="2" name="Cylindre 1">
            <a:extLst>
              <a:ext uri="{FF2B5EF4-FFF2-40B4-BE49-F238E27FC236}">
                <a16:creationId xmlns:a16="http://schemas.microsoft.com/office/drawing/2014/main" id="{BC98E1B5-5298-183B-6C91-6F90E9F5EE2E}"/>
              </a:ext>
            </a:extLst>
          </p:cNvPr>
          <p:cNvSpPr/>
          <p:nvPr/>
        </p:nvSpPr>
        <p:spPr>
          <a:xfrm>
            <a:off x="666750" y="1949450"/>
            <a:ext cx="1009650" cy="1216152"/>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Données</a:t>
            </a:r>
          </a:p>
        </p:txBody>
      </p:sp>
      <p:sp>
        <p:nvSpPr>
          <p:cNvPr id="3" name="Rectangle 2">
            <a:extLst>
              <a:ext uri="{FF2B5EF4-FFF2-40B4-BE49-F238E27FC236}">
                <a16:creationId xmlns:a16="http://schemas.microsoft.com/office/drawing/2014/main" id="{57B755EC-3DCE-08F0-9EF9-BB0918E78698}"/>
              </a:ext>
            </a:extLst>
          </p:cNvPr>
          <p:cNvSpPr/>
          <p:nvPr/>
        </p:nvSpPr>
        <p:spPr>
          <a:xfrm>
            <a:off x="2755900" y="1483381"/>
            <a:ext cx="3060700" cy="23685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Plateforme</a:t>
            </a:r>
          </a:p>
        </p:txBody>
      </p:sp>
      <p:sp>
        <p:nvSpPr>
          <p:cNvPr id="5" name="Nuage 4">
            <a:extLst>
              <a:ext uri="{FF2B5EF4-FFF2-40B4-BE49-F238E27FC236}">
                <a16:creationId xmlns:a16="http://schemas.microsoft.com/office/drawing/2014/main" id="{7FBCF9B7-3A4D-C62D-62F8-0965D02952EF}"/>
              </a:ext>
            </a:extLst>
          </p:cNvPr>
          <p:cNvSpPr/>
          <p:nvPr/>
        </p:nvSpPr>
        <p:spPr>
          <a:xfrm>
            <a:off x="6896100" y="2184400"/>
            <a:ext cx="1644650" cy="711200"/>
          </a:xfrm>
          <a:prstGeom prst="cloud">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Décisions</a:t>
            </a:r>
          </a:p>
        </p:txBody>
      </p:sp>
      <p:sp>
        <p:nvSpPr>
          <p:cNvPr id="6" name="Rectangle 5">
            <a:extLst>
              <a:ext uri="{FF2B5EF4-FFF2-40B4-BE49-F238E27FC236}">
                <a16:creationId xmlns:a16="http://schemas.microsoft.com/office/drawing/2014/main" id="{A054787A-B164-A10B-BD22-6EB0FA232256}"/>
              </a:ext>
            </a:extLst>
          </p:cNvPr>
          <p:cNvSpPr/>
          <p:nvPr/>
        </p:nvSpPr>
        <p:spPr>
          <a:xfrm>
            <a:off x="2838450" y="1589416"/>
            <a:ext cx="1333500" cy="59055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Préparation de données</a:t>
            </a:r>
          </a:p>
        </p:txBody>
      </p:sp>
      <p:sp>
        <p:nvSpPr>
          <p:cNvPr id="7" name="Rectangle 6">
            <a:extLst>
              <a:ext uri="{FF2B5EF4-FFF2-40B4-BE49-F238E27FC236}">
                <a16:creationId xmlns:a16="http://schemas.microsoft.com/office/drawing/2014/main" id="{911F7D41-217A-0573-6232-BADE218A133F}"/>
              </a:ext>
            </a:extLst>
          </p:cNvPr>
          <p:cNvSpPr/>
          <p:nvPr/>
        </p:nvSpPr>
        <p:spPr>
          <a:xfrm>
            <a:off x="4254500" y="1589416"/>
            <a:ext cx="1504950" cy="40005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Gouvernance</a:t>
            </a:r>
          </a:p>
        </p:txBody>
      </p:sp>
      <p:sp>
        <p:nvSpPr>
          <p:cNvPr id="8" name="Rectangle 7">
            <a:extLst>
              <a:ext uri="{FF2B5EF4-FFF2-40B4-BE49-F238E27FC236}">
                <a16:creationId xmlns:a16="http://schemas.microsoft.com/office/drawing/2014/main" id="{DE94489C-1E49-D6A6-45F9-427C0A18DE07}"/>
              </a:ext>
            </a:extLst>
          </p:cNvPr>
          <p:cNvSpPr/>
          <p:nvPr/>
        </p:nvSpPr>
        <p:spPr>
          <a:xfrm>
            <a:off x="4870450" y="2895600"/>
            <a:ext cx="812800" cy="51130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Règles</a:t>
            </a:r>
          </a:p>
        </p:txBody>
      </p:sp>
      <p:sp>
        <p:nvSpPr>
          <p:cNvPr id="9" name="Rectangle 8">
            <a:extLst>
              <a:ext uri="{FF2B5EF4-FFF2-40B4-BE49-F238E27FC236}">
                <a16:creationId xmlns:a16="http://schemas.microsoft.com/office/drawing/2014/main" id="{3B7EBB51-CEE7-2952-86F8-317047F890A3}"/>
              </a:ext>
            </a:extLst>
          </p:cNvPr>
          <p:cNvSpPr/>
          <p:nvPr/>
        </p:nvSpPr>
        <p:spPr>
          <a:xfrm>
            <a:off x="2889250" y="3022599"/>
            <a:ext cx="1333500" cy="59055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dirty="0"/>
              <a:t>Analytique avancée</a:t>
            </a:r>
          </a:p>
        </p:txBody>
      </p:sp>
      <p:cxnSp>
        <p:nvCxnSpPr>
          <p:cNvPr id="11" name="Connecteur droit avec flèche 10">
            <a:extLst>
              <a:ext uri="{FF2B5EF4-FFF2-40B4-BE49-F238E27FC236}">
                <a16:creationId xmlns:a16="http://schemas.microsoft.com/office/drawing/2014/main" id="{5B341A1D-B7A4-4224-44A6-845634F5334C}"/>
              </a:ext>
            </a:extLst>
          </p:cNvPr>
          <p:cNvCxnSpPr>
            <a:stCxn id="3" idx="3"/>
            <a:endCxn id="5" idx="2"/>
          </p:cNvCxnSpPr>
          <p:nvPr/>
        </p:nvCxnSpPr>
        <p:spPr>
          <a:xfrm flipV="1">
            <a:off x="5816600" y="2540000"/>
            <a:ext cx="1084601" cy="1276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A7186232-AA75-41BD-FE73-CEC030FF7C27}"/>
              </a:ext>
            </a:extLst>
          </p:cNvPr>
          <p:cNvCxnSpPr>
            <a:endCxn id="2" idx="4"/>
          </p:cNvCxnSpPr>
          <p:nvPr/>
        </p:nvCxnSpPr>
        <p:spPr>
          <a:xfrm flipH="1" flipV="1">
            <a:off x="1676400" y="2557526"/>
            <a:ext cx="1041400" cy="7825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002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P spid="7" grpId="0" animBg="1"/>
      <p:bldP spid="8"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B23543-FDB3-43D8-884E-D4B17364F421}"/>
              </a:ext>
            </a:extLst>
          </p:cNvPr>
          <p:cNvSpPr/>
          <p:nvPr>
            <p:custDataLst>
              <p:tags r:id="rId1"/>
            </p:custDataLst>
          </p:nvPr>
        </p:nvSpPr>
        <p:spPr>
          <a:xfrm>
            <a:off x="99193" y="1236076"/>
            <a:ext cx="8738799" cy="3636550"/>
          </a:xfrm>
          <a:prstGeom prst="rect">
            <a:avLst/>
          </a:prstGeom>
          <a:solidFill>
            <a:srgbClr val="04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CA">
              <a:solidFill>
                <a:srgbClr val="FFFFFF"/>
              </a:solidFill>
              <a:latin typeface="Calibri" panose="020F0502020204030204"/>
            </a:endParaRPr>
          </a:p>
        </p:txBody>
      </p:sp>
      <p:sp>
        <p:nvSpPr>
          <p:cNvPr id="40" name="Rectangle: Rounded Corners 39">
            <a:extLst>
              <a:ext uri="{FF2B5EF4-FFF2-40B4-BE49-F238E27FC236}">
                <a16:creationId xmlns:a16="http://schemas.microsoft.com/office/drawing/2014/main" id="{71F3CC5C-4FA8-4B60-A764-3BD618A731E7}"/>
              </a:ext>
            </a:extLst>
          </p:cNvPr>
          <p:cNvSpPr/>
          <p:nvPr>
            <p:custDataLst>
              <p:tags r:id="rId2"/>
            </p:custDataLst>
          </p:nvPr>
        </p:nvSpPr>
        <p:spPr>
          <a:xfrm>
            <a:off x="1921935" y="1239250"/>
            <a:ext cx="6916057" cy="3633376"/>
          </a:xfrm>
          <a:prstGeom prst="roundRect">
            <a:avLst>
              <a:gd name="adj" fmla="val 3416"/>
            </a:avLst>
          </a:prstGeom>
          <a:solidFill>
            <a:schemeClr val="accent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78"/>
            <a:endParaRPr lang="fr-CA">
              <a:solidFill>
                <a:srgbClr val="FFFFFF"/>
              </a:solidFill>
              <a:latin typeface="Calibri" panose="020F0502020204030204"/>
            </a:endParaRPr>
          </a:p>
        </p:txBody>
      </p:sp>
      <p:sp>
        <p:nvSpPr>
          <p:cNvPr id="42" name="Rectangle 41">
            <a:extLst>
              <a:ext uri="{FF2B5EF4-FFF2-40B4-BE49-F238E27FC236}">
                <a16:creationId xmlns:a16="http://schemas.microsoft.com/office/drawing/2014/main" id="{6D465FEA-324D-454C-A177-F4DC32EDF585}"/>
              </a:ext>
            </a:extLst>
          </p:cNvPr>
          <p:cNvSpPr/>
          <p:nvPr>
            <p:custDataLst>
              <p:tags r:id="rId3"/>
            </p:custDataLst>
          </p:nvPr>
        </p:nvSpPr>
        <p:spPr>
          <a:xfrm>
            <a:off x="2104391" y="1426843"/>
            <a:ext cx="5747839" cy="1902508"/>
          </a:xfrm>
          <a:prstGeom prst="rect">
            <a:avLst/>
          </a:prstGeom>
          <a:solidFill>
            <a:srgbClr val="04456B"/>
          </a:solidFill>
          <a:ln>
            <a:noFill/>
          </a:ln>
          <a:scene3d>
            <a:camera prst="orthographicFront"/>
            <a:lightRig rig="threePt" dir="t"/>
          </a:scene3d>
          <a:sp3d prstMaterial="soft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CA">
              <a:solidFill>
                <a:srgbClr val="FFFFFF"/>
              </a:solidFill>
              <a:latin typeface="Calibri" panose="020F0502020204030204"/>
            </a:endParaRPr>
          </a:p>
        </p:txBody>
      </p:sp>
      <p:sp>
        <p:nvSpPr>
          <p:cNvPr id="43" name="Rectangle 42">
            <a:extLst>
              <a:ext uri="{FF2B5EF4-FFF2-40B4-BE49-F238E27FC236}">
                <a16:creationId xmlns:a16="http://schemas.microsoft.com/office/drawing/2014/main" id="{2DFAA76D-F89B-453B-9436-EEEB4E950C58}"/>
              </a:ext>
            </a:extLst>
          </p:cNvPr>
          <p:cNvSpPr/>
          <p:nvPr>
            <p:custDataLst>
              <p:tags r:id="rId4"/>
            </p:custDataLst>
          </p:nvPr>
        </p:nvSpPr>
        <p:spPr>
          <a:xfrm>
            <a:off x="2142467" y="3551992"/>
            <a:ext cx="5747839" cy="873185"/>
          </a:xfrm>
          <a:prstGeom prst="rect">
            <a:avLst/>
          </a:prstGeom>
          <a:solidFill>
            <a:srgbClr val="04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CA">
              <a:solidFill>
                <a:srgbClr val="FFFFFF"/>
              </a:solidFill>
              <a:latin typeface="Calibri" panose="020F0502020204030204"/>
            </a:endParaRPr>
          </a:p>
        </p:txBody>
      </p:sp>
      <p:sp>
        <p:nvSpPr>
          <p:cNvPr id="44" name="Rectangle 43">
            <a:extLst>
              <a:ext uri="{FF2B5EF4-FFF2-40B4-BE49-F238E27FC236}">
                <a16:creationId xmlns:a16="http://schemas.microsoft.com/office/drawing/2014/main" id="{5DDF109C-3C1E-4BAD-B58F-EE216AF14C9D}"/>
              </a:ext>
            </a:extLst>
          </p:cNvPr>
          <p:cNvSpPr/>
          <p:nvPr>
            <p:custDataLst>
              <p:tags r:id="rId5"/>
            </p:custDataLst>
          </p:nvPr>
        </p:nvSpPr>
        <p:spPr>
          <a:xfrm>
            <a:off x="7932059" y="1440484"/>
            <a:ext cx="769258" cy="2984693"/>
          </a:xfrm>
          <a:prstGeom prst="rect">
            <a:avLst/>
          </a:prstGeom>
          <a:solidFill>
            <a:srgbClr val="044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CA">
              <a:solidFill>
                <a:srgbClr val="FFFFFF"/>
              </a:solidFill>
              <a:latin typeface="Calibri" panose="020F0502020204030204"/>
            </a:endParaRPr>
          </a:p>
        </p:txBody>
      </p:sp>
      <p:sp>
        <p:nvSpPr>
          <p:cNvPr id="26" name="Rectangle: Rounded Corners 25">
            <a:extLst>
              <a:ext uri="{FF2B5EF4-FFF2-40B4-BE49-F238E27FC236}">
                <a16:creationId xmlns:a16="http://schemas.microsoft.com/office/drawing/2014/main" id="{14FD2756-AF1B-438F-B210-AA12057D7F82}"/>
              </a:ext>
            </a:extLst>
          </p:cNvPr>
          <p:cNvSpPr/>
          <p:nvPr>
            <p:custDataLst>
              <p:tags r:id="rId6"/>
            </p:custDataLst>
          </p:nvPr>
        </p:nvSpPr>
        <p:spPr>
          <a:xfrm>
            <a:off x="3026229" y="2098531"/>
            <a:ext cx="1130969" cy="239486"/>
          </a:xfrm>
          <a:prstGeom prst="roundRect">
            <a:avLst/>
          </a:prstGeom>
          <a:solidFill>
            <a:srgbClr val="3B93D3"/>
          </a:solidFill>
          <a:ln>
            <a:noFill/>
          </a:ln>
          <a:scene3d>
            <a:camera prst="orthographicFront"/>
            <a:lightRig rig="threePt" dir="t"/>
          </a:scene3d>
          <a:sp3d prstMaterial="soft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1100">
                <a:solidFill>
                  <a:srgbClr val="FFFFFF"/>
                </a:solidFill>
                <a:latin typeface="Calibri" panose="020F0502020204030204"/>
              </a:rPr>
              <a:t>Données</a:t>
            </a:r>
          </a:p>
        </p:txBody>
      </p:sp>
      <p:sp>
        <p:nvSpPr>
          <p:cNvPr id="27" name="Rectangle: Rounded Corners 26">
            <a:extLst>
              <a:ext uri="{FF2B5EF4-FFF2-40B4-BE49-F238E27FC236}">
                <a16:creationId xmlns:a16="http://schemas.microsoft.com/office/drawing/2014/main" id="{5858B685-F809-4A49-BEE6-020C77A8D274}"/>
              </a:ext>
            </a:extLst>
          </p:cNvPr>
          <p:cNvSpPr/>
          <p:nvPr>
            <p:custDataLst>
              <p:tags r:id="rId7"/>
            </p:custDataLst>
          </p:nvPr>
        </p:nvSpPr>
        <p:spPr>
          <a:xfrm>
            <a:off x="3026228" y="2400434"/>
            <a:ext cx="1133856" cy="239486"/>
          </a:xfrm>
          <a:prstGeom prst="roundRect">
            <a:avLst/>
          </a:prstGeom>
          <a:solidFill>
            <a:srgbClr val="3B93D3"/>
          </a:solidFill>
          <a:ln>
            <a:noFill/>
          </a:ln>
          <a:scene3d>
            <a:camera prst="orthographicFront"/>
            <a:lightRig rig="threePt" dir="t"/>
          </a:scene3d>
          <a:sp3d prstMaterial="soft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Accès aux données</a:t>
            </a:r>
          </a:p>
        </p:txBody>
      </p:sp>
      <p:sp>
        <p:nvSpPr>
          <p:cNvPr id="28" name="Rectangle: Rounded Corners 27">
            <a:extLst>
              <a:ext uri="{FF2B5EF4-FFF2-40B4-BE49-F238E27FC236}">
                <a16:creationId xmlns:a16="http://schemas.microsoft.com/office/drawing/2014/main" id="{CCB6E34C-D4AB-4D22-A02A-36F86DEF61FD}"/>
              </a:ext>
            </a:extLst>
          </p:cNvPr>
          <p:cNvSpPr/>
          <p:nvPr>
            <p:custDataLst>
              <p:tags r:id="rId8"/>
            </p:custDataLst>
          </p:nvPr>
        </p:nvSpPr>
        <p:spPr>
          <a:xfrm>
            <a:off x="3026228" y="2700018"/>
            <a:ext cx="1133856" cy="239486"/>
          </a:xfrm>
          <a:prstGeom prst="roundRect">
            <a:avLst/>
          </a:prstGeom>
          <a:solidFill>
            <a:srgbClr val="3B93D3"/>
          </a:solidFill>
          <a:ln>
            <a:noFill/>
          </a:ln>
          <a:scene3d>
            <a:camera prst="orthographicFront"/>
            <a:lightRig rig="threePt" dir="t"/>
          </a:scene3d>
          <a:sp3d prstMaterial="soft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Qualité de données</a:t>
            </a:r>
          </a:p>
        </p:txBody>
      </p:sp>
      <p:sp>
        <p:nvSpPr>
          <p:cNvPr id="29" name="Rectangle: Rounded Corners 28">
            <a:extLst>
              <a:ext uri="{FF2B5EF4-FFF2-40B4-BE49-F238E27FC236}">
                <a16:creationId xmlns:a16="http://schemas.microsoft.com/office/drawing/2014/main" id="{D94F20A3-31DA-4ABB-8887-E2C186B1525A}"/>
              </a:ext>
            </a:extLst>
          </p:cNvPr>
          <p:cNvSpPr/>
          <p:nvPr>
            <p:custDataLst>
              <p:tags r:id="rId9"/>
            </p:custDataLst>
          </p:nvPr>
        </p:nvSpPr>
        <p:spPr>
          <a:xfrm>
            <a:off x="3026228" y="2999602"/>
            <a:ext cx="1133856" cy="239486"/>
          </a:xfrm>
          <a:prstGeom prst="roundRect">
            <a:avLst/>
          </a:prstGeom>
          <a:solidFill>
            <a:srgbClr val="3B93D3"/>
          </a:solidFill>
          <a:ln>
            <a:noFill/>
          </a:ln>
          <a:scene3d>
            <a:camera prst="orthographicFront"/>
            <a:lightRig rig="threePt" dir="t"/>
          </a:scene3d>
          <a:sp3d prstMaterial="soft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Préparation</a:t>
            </a:r>
          </a:p>
        </p:txBody>
      </p:sp>
      <p:sp>
        <p:nvSpPr>
          <p:cNvPr id="30" name="Rectangle: Rounded Corners 29">
            <a:extLst>
              <a:ext uri="{FF2B5EF4-FFF2-40B4-BE49-F238E27FC236}">
                <a16:creationId xmlns:a16="http://schemas.microsoft.com/office/drawing/2014/main" id="{6732B6E6-FAFE-4D4C-A9C9-556CFE6CAB18}"/>
              </a:ext>
            </a:extLst>
          </p:cNvPr>
          <p:cNvSpPr/>
          <p:nvPr>
            <p:custDataLst>
              <p:tags r:id="rId10"/>
            </p:custDataLst>
          </p:nvPr>
        </p:nvSpPr>
        <p:spPr>
          <a:xfrm>
            <a:off x="4228495" y="2400434"/>
            <a:ext cx="1133856" cy="137160"/>
          </a:xfrm>
          <a:prstGeom prst="roundRect">
            <a:avLst/>
          </a:prstGeom>
          <a:solidFill>
            <a:srgbClr val="9274FA"/>
          </a:solidFill>
          <a:ln>
            <a:noFill/>
          </a:ln>
          <a:scene3d>
            <a:camera prst="orthographicFront"/>
            <a:lightRig rig="threePt" dir="t"/>
          </a:scene3d>
          <a:sp3d prstMaterial="matt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Visualisation</a:t>
            </a:r>
          </a:p>
        </p:txBody>
      </p:sp>
      <p:sp>
        <p:nvSpPr>
          <p:cNvPr id="31" name="Rectangle: Rounded Corners 30">
            <a:extLst>
              <a:ext uri="{FF2B5EF4-FFF2-40B4-BE49-F238E27FC236}">
                <a16:creationId xmlns:a16="http://schemas.microsoft.com/office/drawing/2014/main" id="{108201F5-A659-4B47-B835-8CC6E413A983}"/>
              </a:ext>
            </a:extLst>
          </p:cNvPr>
          <p:cNvSpPr/>
          <p:nvPr>
            <p:custDataLst>
              <p:tags r:id="rId11"/>
            </p:custDataLst>
          </p:nvPr>
        </p:nvSpPr>
        <p:spPr>
          <a:xfrm>
            <a:off x="4228494" y="2575808"/>
            <a:ext cx="1133856" cy="137160"/>
          </a:xfrm>
          <a:prstGeom prst="roundRect">
            <a:avLst/>
          </a:prstGeom>
          <a:solidFill>
            <a:srgbClr val="9274FA"/>
          </a:solidFill>
          <a:ln>
            <a:noFill/>
          </a:ln>
          <a:scene3d>
            <a:camera prst="orthographicFront"/>
            <a:lightRig rig="threePt" dir="t"/>
          </a:scene3d>
          <a:sp3d prstMaterial="matt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Prévision</a:t>
            </a:r>
          </a:p>
        </p:txBody>
      </p:sp>
      <p:sp>
        <p:nvSpPr>
          <p:cNvPr id="32" name="Rectangle: Rounded Corners 31">
            <a:extLst>
              <a:ext uri="{FF2B5EF4-FFF2-40B4-BE49-F238E27FC236}">
                <a16:creationId xmlns:a16="http://schemas.microsoft.com/office/drawing/2014/main" id="{D59B2537-49BC-4D65-9BA1-B43F4119D6E6}"/>
              </a:ext>
            </a:extLst>
          </p:cNvPr>
          <p:cNvSpPr/>
          <p:nvPr>
            <p:custDataLst>
              <p:tags r:id="rId12"/>
            </p:custDataLst>
          </p:nvPr>
        </p:nvSpPr>
        <p:spPr>
          <a:xfrm>
            <a:off x="4228494" y="2751182"/>
            <a:ext cx="1133856" cy="137160"/>
          </a:xfrm>
          <a:prstGeom prst="roundRect">
            <a:avLst/>
          </a:prstGeom>
          <a:solidFill>
            <a:srgbClr val="9274FA"/>
          </a:solidFill>
          <a:ln>
            <a:noFill/>
          </a:ln>
          <a:scene3d>
            <a:camera prst="orthographicFront"/>
            <a:lightRig rig="threePt" dir="t"/>
          </a:scene3d>
          <a:sp3d prstMaterial="matt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Statistique</a:t>
            </a:r>
          </a:p>
        </p:txBody>
      </p:sp>
      <p:sp>
        <p:nvSpPr>
          <p:cNvPr id="33" name="Rectangle: Rounded Corners 32">
            <a:extLst>
              <a:ext uri="{FF2B5EF4-FFF2-40B4-BE49-F238E27FC236}">
                <a16:creationId xmlns:a16="http://schemas.microsoft.com/office/drawing/2014/main" id="{AB18C108-FD5D-409C-B760-3A3603E0B57C}"/>
              </a:ext>
            </a:extLst>
          </p:cNvPr>
          <p:cNvSpPr/>
          <p:nvPr>
            <p:custDataLst>
              <p:tags r:id="rId13"/>
            </p:custDataLst>
          </p:nvPr>
        </p:nvSpPr>
        <p:spPr>
          <a:xfrm>
            <a:off x="4228494" y="2926556"/>
            <a:ext cx="1133856" cy="137160"/>
          </a:xfrm>
          <a:prstGeom prst="roundRect">
            <a:avLst/>
          </a:prstGeom>
          <a:solidFill>
            <a:srgbClr val="9274FA"/>
          </a:solidFill>
          <a:ln>
            <a:noFill/>
          </a:ln>
          <a:scene3d>
            <a:camera prst="orthographicFront"/>
            <a:lightRig rig="threePt" dir="t"/>
          </a:scene3d>
          <a:sp3d prstMaterial="matt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IA et ML</a:t>
            </a:r>
          </a:p>
        </p:txBody>
      </p:sp>
      <p:sp>
        <p:nvSpPr>
          <p:cNvPr id="35" name="Rectangle: Rounded Corners 34">
            <a:extLst>
              <a:ext uri="{FF2B5EF4-FFF2-40B4-BE49-F238E27FC236}">
                <a16:creationId xmlns:a16="http://schemas.microsoft.com/office/drawing/2014/main" id="{27519475-2A0C-48FF-BA17-4EF0ED128751}"/>
              </a:ext>
            </a:extLst>
          </p:cNvPr>
          <p:cNvSpPr/>
          <p:nvPr>
            <p:custDataLst>
              <p:tags r:id="rId14"/>
            </p:custDataLst>
          </p:nvPr>
        </p:nvSpPr>
        <p:spPr>
          <a:xfrm>
            <a:off x="4227348" y="2084408"/>
            <a:ext cx="2325852" cy="253608"/>
          </a:xfrm>
          <a:prstGeom prst="roundRect">
            <a:avLst/>
          </a:prstGeom>
          <a:solidFill>
            <a:srgbClr val="9274FA"/>
          </a:solidFill>
          <a:ln>
            <a:noFill/>
          </a:ln>
          <a:scene3d>
            <a:camera prst="orthographicFront"/>
            <a:lightRig rig="threePt" dir="t"/>
          </a:scene3d>
          <a:sp3d prstMaterial="matt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1100">
                <a:solidFill>
                  <a:srgbClr val="FFFFFF"/>
                </a:solidFill>
                <a:latin typeface="Calibri" panose="020F0502020204030204"/>
              </a:rPr>
              <a:t>Analyse</a:t>
            </a:r>
          </a:p>
        </p:txBody>
      </p:sp>
      <p:sp>
        <p:nvSpPr>
          <p:cNvPr id="36" name="Rectangle: Rounded Corners 35">
            <a:extLst>
              <a:ext uri="{FF2B5EF4-FFF2-40B4-BE49-F238E27FC236}">
                <a16:creationId xmlns:a16="http://schemas.microsoft.com/office/drawing/2014/main" id="{CAA8AA2B-7793-421B-A23B-BF9B3A67C43C}"/>
              </a:ext>
            </a:extLst>
          </p:cNvPr>
          <p:cNvSpPr/>
          <p:nvPr>
            <p:custDataLst>
              <p:tags r:id="rId15"/>
            </p:custDataLst>
          </p:nvPr>
        </p:nvSpPr>
        <p:spPr>
          <a:xfrm>
            <a:off x="6618513" y="2098531"/>
            <a:ext cx="1132114" cy="239486"/>
          </a:xfrm>
          <a:prstGeom prst="roundRect">
            <a:avLst/>
          </a:prstGeom>
          <a:solidFill>
            <a:schemeClr val="accent3"/>
          </a:solidFill>
          <a:ln>
            <a:noFill/>
          </a:ln>
          <a:scene3d>
            <a:camera prst="orthographicFront"/>
            <a:lightRig rig="threePt" dir="t"/>
          </a:scene3d>
          <a:sp3d prstMaterial="soft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1100">
                <a:solidFill>
                  <a:srgbClr val="FFFFFF"/>
                </a:solidFill>
                <a:latin typeface="Calibri" panose="020F0502020204030204"/>
              </a:rPr>
              <a:t>Déploiement</a:t>
            </a:r>
          </a:p>
        </p:txBody>
      </p:sp>
      <p:sp>
        <p:nvSpPr>
          <p:cNvPr id="34" name="Rectangle: Rounded Corners 33">
            <a:extLst>
              <a:ext uri="{FF2B5EF4-FFF2-40B4-BE49-F238E27FC236}">
                <a16:creationId xmlns:a16="http://schemas.microsoft.com/office/drawing/2014/main" id="{E9B181E2-BA98-4694-87CA-6C6CC5565E48}"/>
              </a:ext>
            </a:extLst>
          </p:cNvPr>
          <p:cNvSpPr/>
          <p:nvPr>
            <p:custDataLst>
              <p:tags r:id="rId16"/>
            </p:custDataLst>
          </p:nvPr>
        </p:nvSpPr>
        <p:spPr>
          <a:xfrm>
            <a:off x="4228494" y="3101927"/>
            <a:ext cx="1133856" cy="137160"/>
          </a:xfrm>
          <a:prstGeom prst="roundRect">
            <a:avLst/>
          </a:prstGeom>
          <a:solidFill>
            <a:srgbClr val="9274FA"/>
          </a:solidFill>
          <a:ln>
            <a:noFill/>
          </a:ln>
          <a:scene3d>
            <a:camera prst="orthographicFront"/>
            <a:lightRig rig="threePt" dir="t"/>
          </a:scene3d>
          <a:sp3d prstMaterial="matt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Analyse de texte</a:t>
            </a:r>
          </a:p>
        </p:txBody>
      </p:sp>
      <p:sp>
        <p:nvSpPr>
          <p:cNvPr id="37" name="Rectangle: Rounded Corners 36">
            <a:extLst>
              <a:ext uri="{FF2B5EF4-FFF2-40B4-BE49-F238E27FC236}">
                <a16:creationId xmlns:a16="http://schemas.microsoft.com/office/drawing/2014/main" id="{1031011A-7EE2-405F-B0CE-5C3F6F824FE3}"/>
              </a:ext>
            </a:extLst>
          </p:cNvPr>
          <p:cNvSpPr/>
          <p:nvPr>
            <p:custDataLst>
              <p:tags r:id="rId17"/>
            </p:custDataLst>
          </p:nvPr>
        </p:nvSpPr>
        <p:spPr>
          <a:xfrm>
            <a:off x="6614886" y="2400434"/>
            <a:ext cx="1135741" cy="239486"/>
          </a:xfrm>
          <a:prstGeom prst="roundRect">
            <a:avLst/>
          </a:prstGeom>
          <a:solidFill>
            <a:schemeClr val="accent3"/>
          </a:solidFill>
          <a:ln>
            <a:noFill/>
          </a:ln>
          <a:scene3d>
            <a:camera prst="orthographicFront"/>
            <a:lightRig rig="threePt" dir="t"/>
          </a:scene3d>
          <a:sp3d prstMaterial="soft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Gestion des modèles</a:t>
            </a:r>
          </a:p>
        </p:txBody>
      </p:sp>
      <p:sp>
        <p:nvSpPr>
          <p:cNvPr id="38" name="Rectangle: Rounded Corners 37">
            <a:extLst>
              <a:ext uri="{FF2B5EF4-FFF2-40B4-BE49-F238E27FC236}">
                <a16:creationId xmlns:a16="http://schemas.microsoft.com/office/drawing/2014/main" id="{420BBE47-A516-4B63-99F5-844BB6CAA978}"/>
              </a:ext>
            </a:extLst>
          </p:cNvPr>
          <p:cNvSpPr/>
          <p:nvPr>
            <p:custDataLst>
              <p:tags r:id="rId18"/>
            </p:custDataLst>
          </p:nvPr>
        </p:nvSpPr>
        <p:spPr>
          <a:xfrm>
            <a:off x="6614886" y="2700018"/>
            <a:ext cx="1135741" cy="239486"/>
          </a:xfrm>
          <a:prstGeom prst="roundRect">
            <a:avLst/>
          </a:prstGeom>
          <a:solidFill>
            <a:schemeClr val="accent3"/>
          </a:solidFill>
          <a:ln w="12700">
            <a:noFill/>
            <a:prstDash val="solid"/>
            <a:extLst>
              <a:ext uri="{C807C97D-BFC1-408E-A445-0C87EB9F89A2}">
                <ask:lineSketchStyleProps xmlns:ask="http://schemas.microsoft.com/office/drawing/2018/sketchyshapes">
                  <ask:type>
                    <ask:lineSketchNone/>
                  </ask:type>
                </ask:lineSketchStyleProps>
              </a:ext>
            </a:extLst>
          </a:ln>
          <a:scene3d>
            <a:camera prst="orthographicFront"/>
            <a:lightRig rig="threePt" dir="t"/>
          </a:scene3d>
          <a:sp3d prstMaterial="soft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Gestion des décisions</a:t>
            </a:r>
          </a:p>
        </p:txBody>
      </p:sp>
      <p:sp>
        <p:nvSpPr>
          <p:cNvPr id="39" name="Rectangle: Rounded Corners 38">
            <a:extLst>
              <a:ext uri="{FF2B5EF4-FFF2-40B4-BE49-F238E27FC236}">
                <a16:creationId xmlns:a16="http://schemas.microsoft.com/office/drawing/2014/main" id="{928B1D83-401C-4836-8570-4D2E2566BF7F}"/>
              </a:ext>
            </a:extLst>
          </p:cNvPr>
          <p:cNvSpPr/>
          <p:nvPr>
            <p:custDataLst>
              <p:tags r:id="rId19"/>
            </p:custDataLst>
          </p:nvPr>
        </p:nvSpPr>
        <p:spPr>
          <a:xfrm>
            <a:off x="6614886" y="2999602"/>
            <a:ext cx="1135741" cy="239486"/>
          </a:xfrm>
          <a:prstGeom prst="roundRect">
            <a:avLst/>
          </a:prstGeom>
          <a:solidFill>
            <a:schemeClr val="accent3"/>
          </a:solidFill>
          <a:ln>
            <a:noFill/>
          </a:ln>
          <a:scene3d>
            <a:camera prst="orthographicFront"/>
            <a:lightRig rig="threePt" dir="t"/>
          </a:scene3d>
          <a:sp3d prstMaterial="softEdg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dirty="0">
                <a:solidFill>
                  <a:srgbClr val="FFFFFF"/>
                </a:solidFill>
                <a:latin typeface="Calibri" panose="020F0502020204030204"/>
              </a:rPr>
              <a:t>Analytique temps réel</a:t>
            </a:r>
          </a:p>
        </p:txBody>
      </p:sp>
      <p:sp>
        <p:nvSpPr>
          <p:cNvPr id="45" name="TextBox 44">
            <a:extLst>
              <a:ext uri="{FF2B5EF4-FFF2-40B4-BE49-F238E27FC236}">
                <a16:creationId xmlns:a16="http://schemas.microsoft.com/office/drawing/2014/main" id="{6A8E6150-B85D-4774-B44D-9BE0F6EABA8A}"/>
              </a:ext>
            </a:extLst>
          </p:cNvPr>
          <p:cNvSpPr txBox="1"/>
          <p:nvPr>
            <p:custDataLst>
              <p:tags r:id="rId20"/>
            </p:custDataLst>
          </p:nvPr>
        </p:nvSpPr>
        <p:spPr>
          <a:xfrm>
            <a:off x="475405" y="1456486"/>
            <a:ext cx="1197429" cy="372409"/>
          </a:xfrm>
          <a:prstGeom prst="rect">
            <a:avLst/>
          </a:prstGeom>
          <a:noFill/>
        </p:spPr>
        <p:txBody>
          <a:bodyPr wrap="square" rtlCol="0">
            <a:spAutoFit/>
          </a:bodyPr>
          <a:lstStyle/>
          <a:p>
            <a:pPr defTabSz="457189"/>
            <a:r>
              <a:rPr lang="fr-CA" sz="1600">
                <a:solidFill>
                  <a:srgbClr val="FFFFFF"/>
                </a:solidFill>
                <a:latin typeface="Calibri Light" panose="020F0302020204030204"/>
              </a:rPr>
              <a:t>Données</a:t>
            </a:r>
          </a:p>
        </p:txBody>
      </p:sp>
      <p:sp>
        <p:nvSpPr>
          <p:cNvPr id="61" name="TextBox 60">
            <a:extLst>
              <a:ext uri="{FF2B5EF4-FFF2-40B4-BE49-F238E27FC236}">
                <a16:creationId xmlns:a16="http://schemas.microsoft.com/office/drawing/2014/main" id="{33F0BE64-9A83-4A47-AF2F-0E12F177B8AD}"/>
              </a:ext>
            </a:extLst>
          </p:cNvPr>
          <p:cNvSpPr txBox="1"/>
          <p:nvPr>
            <p:custDataLst>
              <p:tags r:id="rId21"/>
            </p:custDataLst>
          </p:nvPr>
        </p:nvSpPr>
        <p:spPr>
          <a:xfrm>
            <a:off x="243170" y="3307447"/>
            <a:ext cx="1802790" cy="338554"/>
          </a:xfrm>
          <a:prstGeom prst="rect">
            <a:avLst/>
          </a:prstGeom>
          <a:noFill/>
        </p:spPr>
        <p:txBody>
          <a:bodyPr wrap="square" rtlCol="0">
            <a:spAutoFit/>
          </a:bodyPr>
          <a:lstStyle/>
          <a:p>
            <a:pPr defTabSz="457189"/>
            <a:r>
              <a:rPr lang="fr-CA" sz="1600">
                <a:solidFill>
                  <a:srgbClr val="FFFFFF"/>
                </a:solidFill>
                <a:latin typeface="Calibri Light" panose="020F0302020204030204"/>
              </a:rPr>
              <a:t>Environnements</a:t>
            </a:r>
          </a:p>
        </p:txBody>
      </p:sp>
      <p:sp>
        <p:nvSpPr>
          <p:cNvPr id="63" name="TextBox 62">
            <a:extLst>
              <a:ext uri="{FF2B5EF4-FFF2-40B4-BE49-F238E27FC236}">
                <a16:creationId xmlns:a16="http://schemas.microsoft.com/office/drawing/2014/main" id="{76BB0F16-F88C-4AE1-A90E-1AF18350F9B5}"/>
              </a:ext>
            </a:extLst>
          </p:cNvPr>
          <p:cNvSpPr txBox="1"/>
          <p:nvPr>
            <p:custDataLst>
              <p:tags r:id="rId22"/>
            </p:custDataLst>
          </p:nvPr>
        </p:nvSpPr>
        <p:spPr>
          <a:xfrm>
            <a:off x="897585" y="4059036"/>
            <a:ext cx="876344" cy="230832"/>
          </a:xfrm>
          <a:prstGeom prst="rect">
            <a:avLst/>
          </a:prstGeom>
          <a:noFill/>
        </p:spPr>
        <p:txBody>
          <a:bodyPr wrap="square" rtlCol="0">
            <a:spAutoFit/>
          </a:bodyPr>
          <a:lstStyle/>
          <a:p>
            <a:pPr defTabSz="457189"/>
            <a:r>
              <a:rPr lang="fr-CA" sz="900" b="1">
                <a:solidFill>
                  <a:srgbClr val="FFFFFF"/>
                </a:solidFill>
                <a:latin typeface="Calibri Light" panose="020F0302020204030204"/>
              </a:rPr>
              <a:t>Cloud hybride</a:t>
            </a:r>
          </a:p>
        </p:txBody>
      </p:sp>
      <p:sp>
        <p:nvSpPr>
          <p:cNvPr id="66" name="TextBox 65">
            <a:extLst>
              <a:ext uri="{FF2B5EF4-FFF2-40B4-BE49-F238E27FC236}">
                <a16:creationId xmlns:a16="http://schemas.microsoft.com/office/drawing/2014/main" id="{7FD95121-EC0B-4B45-A84E-92AE5A01A593}"/>
              </a:ext>
            </a:extLst>
          </p:cNvPr>
          <p:cNvSpPr txBox="1"/>
          <p:nvPr>
            <p:custDataLst>
              <p:tags r:id="rId23"/>
            </p:custDataLst>
          </p:nvPr>
        </p:nvSpPr>
        <p:spPr>
          <a:xfrm>
            <a:off x="2037190" y="1724884"/>
            <a:ext cx="1568897" cy="261610"/>
          </a:xfrm>
          <a:prstGeom prst="rect">
            <a:avLst/>
          </a:prstGeom>
          <a:noFill/>
        </p:spPr>
        <p:txBody>
          <a:bodyPr wrap="square" rtlCol="0">
            <a:spAutoFit/>
          </a:bodyPr>
          <a:lstStyle/>
          <a:p>
            <a:pPr defTabSz="457189"/>
            <a:r>
              <a:rPr lang="fr-CA" sz="1100" b="1">
                <a:solidFill>
                  <a:srgbClr val="FFFFFF"/>
                </a:solidFill>
                <a:latin typeface="Calibri Light" panose="020F0302020204030204"/>
              </a:rPr>
              <a:t>Fonctionnalités</a:t>
            </a:r>
          </a:p>
        </p:txBody>
      </p:sp>
      <p:sp>
        <p:nvSpPr>
          <p:cNvPr id="67" name="TextBox 66">
            <a:extLst>
              <a:ext uri="{FF2B5EF4-FFF2-40B4-BE49-F238E27FC236}">
                <a16:creationId xmlns:a16="http://schemas.microsoft.com/office/drawing/2014/main" id="{72A12959-BEDF-4980-A6EB-35DF35E66242}"/>
              </a:ext>
            </a:extLst>
          </p:cNvPr>
          <p:cNvSpPr txBox="1"/>
          <p:nvPr>
            <p:custDataLst>
              <p:tags r:id="rId24"/>
            </p:custDataLst>
          </p:nvPr>
        </p:nvSpPr>
        <p:spPr>
          <a:xfrm>
            <a:off x="3619050" y="3307447"/>
            <a:ext cx="3097158" cy="261610"/>
          </a:xfrm>
          <a:prstGeom prst="rect">
            <a:avLst/>
          </a:prstGeom>
          <a:noFill/>
        </p:spPr>
        <p:txBody>
          <a:bodyPr wrap="square" rtlCol="0">
            <a:spAutoFit/>
          </a:bodyPr>
          <a:lstStyle/>
          <a:p>
            <a:pPr algn="ctr" defTabSz="457189"/>
            <a:r>
              <a:rPr lang="fr-CA" sz="1100" b="1" dirty="0">
                <a:solidFill>
                  <a:srgbClr val="FFFFFF"/>
                </a:solidFill>
                <a:latin typeface="Calibri Light" panose="020F0302020204030204"/>
              </a:rPr>
              <a:t>Moteurs analytiques</a:t>
            </a:r>
          </a:p>
        </p:txBody>
      </p:sp>
      <p:grpSp>
        <p:nvGrpSpPr>
          <p:cNvPr id="92" name="Group 91">
            <a:extLst>
              <a:ext uri="{FF2B5EF4-FFF2-40B4-BE49-F238E27FC236}">
                <a16:creationId xmlns:a16="http://schemas.microsoft.com/office/drawing/2014/main" id="{DF95A8EF-430A-4D2B-90F7-6C3809BC898E}"/>
              </a:ext>
            </a:extLst>
          </p:cNvPr>
          <p:cNvGrpSpPr/>
          <p:nvPr>
            <p:custDataLst>
              <p:tags r:id="rId25"/>
            </p:custDataLst>
          </p:nvPr>
        </p:nvGrpSpPr>
        <p:grpSpPr>
          <a:xfrm>
            <a:off x="3033485" y="1498276"/>
            <a:ext cx="1136943" cy="544286"/>
            <a:chOff x="3033485" y="990600"/>
            <a:chExt cx="1136943" cy="544285"/>
          </a:xfrm>
        </p:grpSpPr>
        <p:sp>
          <p:nvSpPr>
            <p:cNvPr id="18" name="Rectangle 17">
              <a:extLst>
                <a:ext uri="{FF2B5EF4-FFF2-40B4-BE49-F238E27FC236}">
                  <a16:creationId xmlns:a16="http://schemas.microsoft.com/office/drawing/2014/main" id="{87AA08F9-966E-4489-928E-4C25E006DA10}"/>
                </a:ext>
              </a:extLst>
            </p:cNvPr>
            <p:cNvSpPr/>
            <p:nvPr/>
          </p:nvSpPr>
          <p:spPr>
            <a:xfrm>
              <a:off x="3033485" y="990600"/>
              <a:ext cx="1132114" cy="544285"/>
            </a:xfrm>
            <a:prstGeom prst="rect">
              <a:avLst/>
            </a:prstGeom>
            <a:solidFill>
              <a:srgbClr val="1465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CA">
                <a:solidFill>
                  <a:srgbClr val="FFFFFF"/>
                </a:solidFill>
                <a:latin typeface="Calibri" panose="020F0502020204030204"/>
              </a:endParaRPr>
            </a:p>
          </p:txBody>
        </p:sp>
        <p:pic>
          <p:nvPicPr>
            <p:cNvPr id="60" name="Picture 59">
              <a:extLst>
                <a:ext uri="{FF2B5EF4-FFF2-40B4-BE49-F238E27FC236}">
                  <a16:creationId xmlns:a16="http://schemas.microsoft.com/office/drawing/2014/main" id="{B0F9E7B3-8CD8-4DA8-8BEA-EABA2FCEC2FC}"/>
                </a:ext>
              </a:extLst>
            </p:cNvPr>
            <p:cNvPicPr>
              <a:picLocks noChangeAspect="1"/>
            </p:cNvPicPr>
            <p:nvPr/>
          </p:nvPicPr>
          <p:blipFill>
            <a:blip r:embed="rId49"/>
            <a:stretch>
              <a:fillRect/>
            </a:stretch>
          </p:blipFill>
          <p:spPr>
            <a:xfrm>
              <a:off x="3066278" y="1060301"/>
              <a:ext cx="293778" cy="362099"/>
            </a:xfrm>
            <a:prstGeom prst="rect">
              <a:avLst/>
            </a:prstGeom>
          </p:spPr>
        </p:pic>
        <p:sp>
          <p:nvSpPr>
            <p:cNvPr id="72" name="TextBox 71">
              <a:extLst>
                <a:ext uri="{FF2B5EF4-FFF2-40B4-BE49-F238E27FC236}">
                  <a16:creationId xmlns:a16="http://schemas.microsoft.com/office/drawing/2014/main" id="{947134D8-C9EB-46E3-8E53-69A2025CC72C}"/>
                </a:ext>
              </a:extLst>
            </p:cNvPr>
            <p:cNvSpPr txBox="1"/>
            <p:nvPr/>
          </p:nvSpPr>
          <p:spPr>
            <a:xfrm>
              <a:off x="3437885" y="1056684"/>
              <a:ext cx="732543" cy="369331"/>
            </a:xfrm>
            <a:prstGeom prst="rect">
              <a:avLst/>
            </a:prstGeom>
            <a:noFill/>
          </p:spPr>
          <p:txBody>
            <a:bodyPr wrap="square" rtlCol="0">
              <a:spAutoFit/>
            </a:bodyPr>
            <a:lstStyle/>
            <a:p>
              <a:pPr defTabSz="457189"/>
              <a:r>
                <a:rPr lang="fr-CA" sz="900" b="1">
                  <a:solidFill>
                    <a:srgbClr val="FFFFFF"/>
                  </a:solidFill>
                  <a:latin typeface="Calibri Light" panose="020F0302020204030204"/>
                </a:rPr>
                <a:t>Gestion </a:t>
              </a:r>
            </a:p>
            <a:p>
              <a:pPr defTabSz="457189"/>
              <a:r>
                <a:rPr lang="fr-CA" sz="900" b="1">
                  <a:solidFill>
                    <a:srgbClr val="FFFFFF"/>
                  </a:solidFill>
                  <a:latin typeface="Calibri Light" panose="020F0302020204030204"/>
                </a:rPr>
                <a:t>de données</a:t>
              </a:r>
            </a:p>
          </p:txBody>
        </p:sp>
      </p:grpSp>
      <p:grpSp>
        <p:nvGrpSpPr>
          <p:cNvPr id="100" name="Group 99">
            <a:extLst>
              <a:ext uri="{FF2B5EF4-FFF2-40B4-BE49-F238E27FC236}">
                <a16:creationId xmlns:a16="http://schemas.microsoft.com/office/drawing/2014/main" id="{0D9DCB14-D901-4DDA-AC6F-55B5F3DDD999}"/>
              </a:ext>
            </a:extLst>
          </p:cNvPr>
          <p:cNvGrpSpPr/>
          <p:nvPr>
            <p:custDataLst>
              <p:tags r:id="rId26"/>
            </p:custDataLst>
          </p:nvPr>
        </p:nvGrpSpPr>
        <p:grpSpPr>
          <a:xfrm>
            <a:off x="4228496" y="1498276"/>
            <a:ext cx="1169429" cy="544286"/>
            <a:chOff x="4228495" y="990600"/>
            <a:chExt cx="1169429" cy="544285"/>
          </a:xfrm>
        </p:grpSpPr>
        <p:sp>
          <p:nvSpPr>
            <p:cNvPr id="19" name="Rectangle 18">
              <a:extLst>
                <a:ext uri="{FF2B5EF4-FFF2-40B4-BE49-F238E27FC236}">
                  <a16:creationId xmlns:a16="http://schemas.microsoft.com/office/drawing/2014/main" id="{2FBFEC0D-31AF-49B0-8C85-288FA252B698}"/>
                </a:ext>
              </a:extLst>
            </p:cNvPr>
            <p:cNvSpPr/>
            <p:nvPr/>
          </p:nvSpPr>
          <p:spPr>
            <a:xfrm>
              <a:off x="4228495" y="990600"/>
              <a:ext cx="1132114" cy="544285"/>
            </a:xfrm>
            <a:prstGeom prst="rect">
              <a:avLst/>
            </a:prstGeom>
            <a:solidFill>
              <a:srgbClr val="1465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CA">
                <a:solidFill>
                  <a:srgbClr val="FFFFFF"/>
                </a:solidFill>
                <a:latin typeface="Calibri" panose="020F0502020204030204"/>
              </a:endParaRPr>
            </a:p>
          </p:txBody>
        </p:sp>
        <p:pic>
          <p:nvPicPr>
            <p:cNvPr id="68" name="Picture 67">
              <a:extLst>
                <a:ext uri="{FF2B5EF4-FFF2-40B4-BE49-F238E27FC236}">
                  <a16:creationId xmlns:a16="http://schemas.microsoft.com/office/drawing/2014/main" id="{228E5DA8-37F3-433E-9165-5CAEA45C52C0}"/>
                </a:ext>
              </a:extLst>
            </p:cNvPr>
            <p:cNvPicPr>
              <a:picLocks noChangeAspect="1"/>
            </p:cNvPicPr>
            <p:nvPr/>
          </p:nvPicPr>
          <p:blipFill>
            <a:blip r:embed="rId50"/>
            <a:stretch>
              <a:fillRect/>
            </a:stretch>
          </p:blipFill>
          <p:spPr>
            <a:xfrm>
              <a:off x="4259941" y="1053973"/>
              <a:ext cx="412865" cy="374754"/>
            </a:xfrm>
            <a:prstGeom prst="rect">
              <a:avLst/>
            </a:prstGeom>
          </p:spPr>
        </p:pic>
        <p:sp>
          <p:nvSpPr>
            <p:cNvPr id="73" name="TextBox 72">
              <a:extLst>
                <a:ext uri="{FF2B5EF4-FFF2-40B4-BE49-F238E27FC236}">
                  <a16:creationId xmlns:a16="http://schemas.microsoft.com/office/drawing/2014/main" id="{B4C2EA5E-B586-4479-AD1A-FCA81397741B}"/>
                </a:ext>
              </a:extLst>
            </p:cNvPr>
            <p:cNvSpPr txBox="1"/>
            <p:nvPr/>
          </p:nvSpPr>
          <p:spPr>
            <a:xfrm>
              <a:off x="4665381" y="1056684"/>
              <a:ext cx="732543" cy="369331"/>
            </a:xfrm>
            <a:prstGeom prst="rect">
              <a:avLst/>
            </a:prstGeom>
            <a:noFill/>
          </p:spPr>
          <p:txBody>
            <a:bodyPr wrap="square" rtlCol="0">
              <a:spAutoFit/>
            </a:bodyPr>
            <a:lstStyle/>
            <a:p>
              <a:pPr defTabSz="457189"/>
              <a:r>
                <a:rPr lang="fr-CA" sz="900" b="1">
                  <a:solidFill>
                    <a:srgbClr val="FFFFFF"/>
                  </a:solidFill>
                  <a:latin typeface="Calibri Light" panose="020F0302020204030204"/>
                </a:rPr>
                <a:t>Analytique avancée</a:t>
              </a:r>
            </a:p>
          </p:txBody>
        </p:sp>
      </p:grpSp>
      <p:grpSp>
        <p:nvGrpSpPr>
          <p:cNvPr id="101" name="Group 100">
            <a:extLst>
              <a:ext uri="{FF2B5EF4-FFF2-40B4-BE49-F238E27FC236}">
                <a16:creationId xmlns:a16="http://schemas.microsoft.com/office/drawing/2014/main" id="{8F3382B1-2A02-4EFC-B47A-EE7CE1FC4FAA}"/>
              </a:ext>
            </a:extLst>
          </p:cNvPr>
          <p:cNvGrpSpPr/>
          <p:nvPr>
            <p:custDataLst>
              <p:tags r:id="rId27"/>
            </p:custDataLst>
          </p:nvPr>
        </p:nvGrpSpPr>
        <p:grpSpPr>
          <a:xfrm>
            <a:off x="5423505" y="1506025"/>
            <a:ext cx="1132114" cy="544286"/>
            <a:chOff x="5423505" y="990600"/>
            <a:chExt cx="1132114" cy="544285"/>
          </a:xfrm>
        </p:grpSpPr>
        <p:sp>
          <p:nvSpPr>
            <p:cNvPr id="20" name="Rectangle 19">
              <a:extLst>
                <a:ext uri="{FF2B5EF4-FFF2-40B4-BE49-F238E27FC236}">
                  <a16:creationId xmlns:a16="http://schemas.microsoft.com/office/drawing/2014/main" id="{17FAF2AC-EE85-4351-97E4-6438DA873583}"/>
                </a:ext>
              </a:extLst>
            </p:cNvPr>
            <p:cNvSpPr/>
            <p:nvPr/>
          </p:nvSpPr>
          <p:spPr>
            <a:xfrm>
              <a:off x="5423505" y="990600"/>
              <a:ext cx="1132114" cy="544285"/>
            </a:xfrm>
            <a:prstGeom prst="rect">
              <a:avLst/>
            </a:prstGeom>
            <a:solidFill>
              <a:srgbClr val="1465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CA">
                <a:solidFill>
                  <a:srgbClr val="FFFFFF"/>
                </a:solidFill>
                <a:latin typeface="Calibri" panose="020F0502020204030204"/>
              </a:endParaRPr>
            </a:p>
          </p:txBody>
        </p:sp>
        <p:pic>
          <p:nvPicPr>
            <p:cNvPr id="69" name="Picture 68">
              <a:extLst>
                <a:ext uri="{FF2B5EF4-FFF2-40B4-BE49-F238E27FC236}">
                  <a16:creationId xmlns:a16="http://schemas.microsoft.com/office/drawing/2014/main" id="{64D475C8-BBD0-42D3-8DEE-C44E5A52CD15}"/>
                </a:ext>
              </a:extLst>
            </p:cNvPr>
            <p:cNvPicPr>
              <a:picLocks noChangeAspect="1"/>
            </p:cNvPicPr>
            <p:nvPr/>
          </p:nvPicPr>
          <p:blipFill>
            <a:blip r:embed="rId51"/>
            <a:stretch>
              <a:fillRect/>
            </a:stretch>
          </p:blipFill>
          <p:spPr>
            <a:xfrm>
              <a:off x="5454952" y="1032794"/>
              <a:ext cx="318522" cy="417112"/>
            </a:xfrm>
            <a:prstGeom prst="rect">
              <a:avLst/>
            </a:prstGeom>
          </p:spPr>
        </p:pic>
        <p:sp>
          <p:nvSpPr>
            <p:cNvPr id="74" name="TextBox 73">
              <a:extLst>
                <a:ext uri="{FF2B5EF4-FFF2-40B4-BE49-F238E27FC236}">
                  <a16:creationId xmlns:a16="http://schemas.microsoft.com/office/drawing/2014/main" id="{8A6FF429-A4DC-45A5-9B94-83863796BD88}"/>
                </a:ext>
              </a:extLst>
            </p:cNvPr>
            <p:cNvSpPr txBox="1"/>
            <p:nvPr/>
          </p:nvSpPr>
          <p:spPr>
            <a:xfrm>
              <a:off x="5773474" y="1056684"/>
              <a:ext cx="732543" cy="369331"/>
            </a:xfrm>
            <a:prstGeom prst="rect">
              <a:avLst/>
            </a:prstGeom>
            <a:noFill/>
          </p:spPr>
          <p:txBody>
            <a:bodyPr wrap="square" rtlCol="0">
              <a:spAutoFit/>
            </a:bodyPr>
            <a:lstStyle/>
            <a:p>
              <a:pPr defTabSz="457189"/>
              <a:r>
                <a:rPr lang="fr-CA" sz="900" b="1">
                  <a:solidFill>
                    <a:srgbClr val="FFFFFF"/>
                  </a:solidFill>
                  <a:latin typeface="Calibri Light" panose="020F0302020204030204"/>
                </a:rPr>
                <a:t>Analytique ouverte</a:t>
              </a:r>
            </a:p>
          </p:txBody>
        </p:sp>
      </p:grpSp>
      <p:grpSp>
        <p:nvGrpSpPr>
          <p:cNvPr id="103" name="Group 102">
            <a:extLst>
              <a:ext uri="{FF2B5EF4-FFF2-40B4-BE49-F238E27FC236}">
                <a16:creationId xmlns:a16="http://schemas.microsoft.com/office/drawing/2014/main" id="{E0F37FF3-8007-4EEE-A91F-51469361B75A}"/>
              </a:ext>
            </a:extLst>
          </p:cNvPr>
          <p:cNvGrpSpPr/>
          <p:nvPr>
            <p:custDataLst>
              <p:tags r:id="rId28"/>
            </p:custDataLst>
          </p:nvPr>
        </p:nvGrpSpPr>
        <p:grpSpPr>
          <a:xfrm>
            <a:off x="6618514" y="1498275"/>
            <a:ext cx="1156496" cy="544285"/>
            <a:chOff x="6618514" y="990600"/>
            <a:chExt cx="1156496" cy="544285"/>
          </a:xfrm>
        </p:grpSpPr>
        <p:sp>
          <p:nvSpPr>
            <p:cNvPr id="21" name="Rectangle 20">
              <a:extLst>
                <a:ext uri="{FF2B5EF4-FFF2-40B4-BE49-F238E27FC236}">
                  <a16:creationId xmlns:a16="http://schemas.microsoft.com/office/drawing/2014/main" id="{FA959844-A0B3-48CB-B39B-867CCBC620DB}"/>
                </a:ext>
              </a:extLst>
            </p:cNvPr>
            <p:cNvSpPr/>
            <p:nvPr/>
          </p:nvSpPr>
          <p:spPr>
            <a:xfrm>
              <a:off x="6618514" y="990600"/>
              <a:ext cx="1132114" cy="544285"/>
            </a:xfrm>
            <a:prstGeom prst="rect">
              <a:avLst/>
            </a:prstGeom>
            <a:solidFill>
              <a:srgbClr val="1465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fr-CA">
                <a:solidFill>
                  <a:srgbClr val="FFFFFF"/>
                </a:solidFill>
                <a:latin typeface="Calibri" panose="020F0502020204030204"/>
              </a:endParaRPr>
            </a:p>
          </p:txBody>
        </p:sp>
        <p:pic>
          <p:nvPicPr>
            <p:cNvPr id="70" name="Picture 69">
              <a:extLst>
                <a:ext uri="{FF2B5EF4-FFF2-40B4-BE49-F238E27FC236}">
                  <a16:creationId xmlns:a16="http://schemas.microsoft.com/office/drawing/2014/main" id="{B8C8A4E5-411C-44DE-9D34-E87C6A6ABDA1}"/>
                </a:ext>
              </a:extLst>
            </p:cNvPr>
            <p:cNvPicPr>
              <a:picLocks noChangeAspect="1"/>
            </p:cNvPicPr>
            <p:nvPr/>
          </p:nvPicPr>
          <p:blipFill>
            <a:blip r:embed="rId52"/>
            <a:stretch>
              <a:fillRect/>
            </a:stretch>
          </p:blipFill>
          <p:spPr>
            <a:xfrm>
              <a:off x="6633195" y="1077044"/>
              <a:ext cx="368969" cy="328613"/>
            </a:xfrm>
            <a:prstGeom prst="rect">
              <a:avLst/>
            </a:prstGeom>
          </p:spPr>
        </p:pic>
        <p:sp>
          <p:nvSpPr>
            <p:cNvPr id="75" name="TextBox 74">
              <a:extLst>
                <a:ext uri="{FF2B5EF4-FFF2-40B4-BE49-F238E27FC236}">
                  <a16:creationId xmlns:a16="http://schemas.microsoft.com/office/drawing/2014/main" id="{A820CC61-F32E-4B6F-B7DE-733166B1768F}"/>
                </a:ext>
              </a:extLst>
            </p:cNvPr>
            <p:cNvSpPr txBox="1"/>
            <p:nvPr/>
          </p:nvSpPr>
          <p:spPr>
            <a:xfrm>
              <a:off x="6990835" y="1056684"/>
              <a:ext cx="784175" cy="369332"/>
            </a:xfrm>
            <a:prstGeom prst="rect">
              <a:avLst/>
            </a:prstGeom>
            <a:noFill/>
          </p:spPr>
          <p:txBody>
            <a:bodyPr wrap="square" rtlCol="0">
              <a:spAutoFit/>
            </a:bodyPr>
            <a:lstStyle/>
            <a:p>
              <a:pPr defTabSz="457189"/>
              <a:r>
                <a:rPr lang="fr-CA" sz="900" b="1">
                  <a:solidFill>
                    <a:srgbClr val="FFFFFF"/>
                  </a:solidFill>
                  <a:latin typeface="Calibri Light" panose="020F0302020204030204"/>
                </a:rPr>
                <a:t>Analytique d’entreprise</a:t>
              </a:r>
            </a:p>
          </p:txBody>
        </p:sp>
      </p:grpSp>
      <p:sp>
        <p:nvSpPr>
          <p:cNvPr id="78" name="Rectangle: Rounded Corners 77">
            <a:extLst>
              <a:ext uri="{FF2B5EF4-FFF2-40B4-BE49-F238E27FC236}">
                <a16:creationId xmlns:a16="http://schemas.microsoft.com/office/drawing/2014/main" id="{7C985AB3-93DD-4258-95C6-E6E863B81E4C}"/>
              </a:ext>
            </a:extLst>
          </p:cNvPr>
          <p:cNvSpPr/>
          <p:nvPr>
            <p:custDataLst>
              <p:tags r:id="rId29"/>
            </p:custDataLst>
          </p:nvPr>
        </p:nvSpPr>
        <p:spPr>
          <a:xfrm rot="16200000">
            <a:off x="5211561" y="2637679"/>
            <a:ext cx="838654" cy="364163"/>
          </a:xfrm>
          <a:prstGeom prst="roundRect">
            <a:avLst/>
          </a:prstGeom>
          <a:solidFill>
            <a:srgbClr val="9274FA"/>
          </a:solidFill>
          <a:ln>
            <a:noFill/>
          </a:ln>
          <a:scene3d>
            <a:camera prst="orthographicFront"/>
            <a:lightRig rig="threePt" dir="t"/>
          </a:scene3d>
          <a:sp3d prstMaterial="matt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1200" dirty="0">
                <a:solidFill>
                  <a:srgbClr val="FFFFFF"/>
                </a:solidFill>
                <a:latin typeface="Calibri" panose="020F0502020204030204"/>
              </a:rPr>
              <a:t>SAS</a:t>
            </a:r>
            <a:endParaRPr lang="fr-CA" sz="800" dirty="0">
              <a:solidFill>
                <a:srgbClr val="FFFFFF"/>
              </a:solidFill>
              <a:latin typeface="Calibri" panose="020F0502020204030204"/>
            </a:endParaRPr>
          </a:p>
        </p:txBody>
      </p:sp>
      <p:sp>
        <p:nvSpPr>
          <p:cNvPr id="79" name="Rectangle: Rounded Corners 78">
            <a:extLst>
              <a:ext uri="{FF2B5EF4-FFF2-40B4-BE49-F238E27FC236}">
                <a16:creationId xmlns:a16="http://schemas.microsoft.com/office/drawing/2014/main" id="{D78AD092-0310-4662-8C06-2690FF5C8B4F}"/>
              </a:ext>
            </a:extLst>
          </p:cNvPr>
          <p:cNvSpPr/>
          <p:nvPr>
            <p:custDataLst>
              <p:tags r:id="rId30"/>
            </p:custDataLst>
          </p:nvPr>
        </p:nvSpPr>
        <p:spPr>
          <a:xfrm>
            <a:off x="5892673" y="2400434"/>
            <a:ext cx="595086" cy="573179"/>
          </a:xfrm>
          <a:prstGeom prst="roundRect">
            <a:avLst/>
          </a:prstGeom>
          <a:solidFill>
            <a:srgbClr val="9274FA"/>
          </a:solidFill>
          <a:ln>
            <a:noFill/>
          </a:ln>
          <a:scene3d>
            <a:camera prst="orthographicFront"/>
            <a:lightRig rig="threePt" dir="t"/>
          </a:scene3d>
          <a:sp3d prstMaterial="matt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Python</a:t>
            </a:r>
          </a:p>
          <a:p>
            <a:pPr algn="ctr" defTabSz="457189"/>
            <a:r>
              <a:rPr lang="fr-CA" sz="800">
                <a:solidFill>
                  <a:srgbClr val="FFFFFF"/>
                </a:solidFill>
                <a:latin typeface="Calibri" panose="020F0502020204030204"/>
              </a:rPr>
              <a:t>R</a:t>
            </a:r>
          </a:p>
          <a:p>
            <a:pPr algn="ctr" defTabSz="457189"/>
            <a:r>
              <a:rPr lang="fr-CA" sz="800" err="1">
                <a:solidFill>
                  <a:srgbClr val="FFFFFF"/>
                </a:solidFill>
                <a:latin typeface="Calibri" panose="020F0502020204030204"/>
              </a:rPr>
              <a:t>Lua</a:t>
            </a:r>
            <a:endParaRPr lang="fr-CA" sz="800">
              <a:solidFill>
                <a:srgbClr val="FFFFFF"/>
              </a:solidFill>
              <a:latin typeface="Calibri" panose="020F0502020204030204"/>
            </a:endParaRPr>
          </a:p>
          <a:p>
            <a:pPr algn="ctr" defTabSz="457189"/>
            <a:r>
              <a:rPr lang="fr-CA" sz="800">
                <a:solidFill>
                  <a:srgbClr val="FFFFFF"/>
                </a:solidFill>
                <a:latin typeface="Calibri" panose="020F0502020204030204"/>
              </a:rPr>
              <a:t>Java</a:t>
            </a:r>
          </a:p>
        </p:txBody>
      </p:sp>
      <p:sp>
        <p:nvSpPr>
          <p:cNvPr id="80" name="Rectangle: Rounded Corners 79">
            <a:extLst>
              <a:ext uri="{FF2B5EF4-FFF2-40B4-BE49-F238E27FC236}">
                <a16:creationId xmlns:a16="http://schemas.microsoft.com/office/drawing/2014/main" id="{DCC807C1-2CAD-44DD-A1F5-B38C0AF8176D}"/>
              </a:ext>
            </a:extLst>
          </p:cNvPr>
          <p:cNvSpPr/>
          <p:nvPr>
            <p:custDataLst>
              <p:tags r:id="rId31"/>
            </p:custDataLst>
          </p:nvPr>
        </p:nvSpPr>
        <p:spPr>
          <a:xfrm>
            <a:off x="5885416" y="3024549"/>
            <a:ext cx="595086" cy="206485"/>
          </a:xfrm>
          <a:prstGeom prst="roundRect">
            <a:avLst/>
          </a:prstGeom>
          <a:solidFill>
            <a:srgbClr val="9274FA"/>
          </a:solidFill>
          <a:ln>
            <a:noFill/>
          </a:ln>
          <a:scene3d>
            <a:camera prst="orthographicFront"/>
            <a:lightRig rig="threePt" dir="t"/>
          </a:scene3d>
          <a:sp3d prstMaterial="matte">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r>
              <a:rPr lang="fr-CA" sz="800">
                <a:solidFill>
                  <a:srgbClr val="FFFFFF"/>
                </a:solidFill>
                <a:latin typeface="Calibri" panose="020F0502020204030204"/>
              </a:rPr>
              <a:t>API</a:t>
            </a:r>
          </a:p>
        </p:txBody>
      </p:sp>
      <p:sp>
        <p:nvSpPr>
          <p:cNvPr id="77" name="Title 1">
            <a:extLst>
              <a:ext uri="{FF2B5EF4-FFF2-40B4-BE49-F238E27FC236}">
                <a16:creationId xmlns:a16="http://schemas.microsoft.com/office/drawing/2014/main" id="{6B5558DF-4E6A-4992-B93F-FF01D6F5B763}"/>
              </a:ext>
            </a:extLst>
          </p:cNvPr>
          <p:cNvSpPr>
            <a:spLocks noGrp="1"/>
          </p:cNvSpPr>
          <p:nvPr>
            <p:ph type="title"/>
            <p:custDataLst>
              <p:tags r:id="rId32"/>
            </p:custDataLst>
          </p:nvPr>
        </p:nvSpPr>
        <p:spPr>
          <a:xfrm>
            <a:off x="612026" y="20473"/>
            <a:ext cx="7886700" cy="457200"/>
          </a:xfrm>
        </p:spPr>
        <p:txBody>
          <a:bodyPr>
            <a:normAutofit fontScale="90000"/>
          </a:bodyPr>
          <a:lstStyle/>
          <a:p>
            <a:r>
              <a:rPr lang="fr-CA" dirty="0"/>
              <a:t>Composantes de la solution</a:t>
            </a:r>
            <a:endParaRPr lang="en-US" dirty="0"/>
          </a:p>
        </p:txBody>
      </p:sp>
      <p:sp>
        <p:nvSpPr>
          <p:cNvPr id="102" name="TextBox 101">
            <a:extLst>
              <a:ext uri="{FF2B5EF4-FFF2-40B4-BE49-F238E27FC236}">
                <a16:creationId xmlns:a16="http://schemas.microsoft.com/office/drawing/2014/main" id="{2912FDB3-1346-448D-95D1-31D83FCC49DF}"/>
              </a:ext>
            </a:extLst>
          </p:cNvPr>
          <p:cNvSpPr txBox="1"/>
          <p:nvPr>
            <p:custDataLst>
              <p:tags r:id="rId33"/>
            </p:custDataLst>
          </p:nvPr>
        </p:nvSpPr>
        <p:spPr>
          <a:xfrm>
            <a:off x="3096427" y="4369373"/>
            <a:ext cx="4477271" cy="523220"/>
          </a:xfrm>
          <a:prstGeom prst="rect">
            <a:avLst/>
          </a:prstGeom>
          <a:noFill/>
        </p:spPr>
        <p:txBody>
          <a:bodyPr wrap="square" rtlCol="0">
            <a:spAutoFit/>
          </a:bodyPr>
          <a:lstStyle/>
          <a:p>
            <a:pPr algn="ctr" defTabSz="457189"/>
            <a:r>
              <a:rPr lang="fr-CA" sz="1600" b="1" dirty="0">
                <a:solidFill>
                  <a:srgbClr val="768396">
                    <a:lumMod val="50000"/>
                  </a:srgbClr>
                </a:solidFill>
                <a:latin typeface="Calibri Light" panose="020F0302020204030204"/>
              </a:rPr>
              <a:t>Orchestration</a:t>
            </a:r>
          </a:p>
          <a:p>
            <a:pPr algn="ctr" defTabSz="457189"/>
            <a:r>
              <a:rPr lang="fr-CA" sz="1200" b="1" dirty="0">
                <a:solidFill>
                  <a:srgbClr val="768396">
                    <a:lumMod val="50000"/>
                  </a:srgbClr>
                </a:solidFill>
                <a:latin typeface="Calibri Light" panose="020F0302020204030204"/>
              </a:rPr>
              <a:t>Traçabilité, gouvernance, sécurité, administration centralisée </a:t>
            </a:r>
          </a:p>
        </p:txBody>
      </p:sp>
      <p:sp>
        <p:nvSpPr>
          <p:cNvPr id="123" name="TextBox 122">
            <a:extLst>
              <a:ext uri="{FF2B5EF4-FFF2-40B4-BE49-F238E27FC236}">
                <a16:creationId xmlns:a16="http://schemas.microsoft.com/office/drawing/2014/main" id="{4C2F8A13-7287-4B03-ABF1-5E8CD2840C42}"/>
              </a:ext>
            </a:extLst>
          </p:cNvPr>
          <p:cNvSpPr txBox="1"/>
          <p:nvPr>
            <p:custDataLst>
              <p:tags r:id="rId34"/>
            </p:custDataLst>
          </p:nvPr>
        </p:nvSpPr>
        <p:spPr>
          <a:xfrm>
            <a:off x="87695" y="622858"/>
            <a:ext cx="3432003" cy="584775"/>
          </a:xfrm>
          <a:prstGeom prst="rect">
            <a:avLst/>
          </a:prstGeom>
          <a:noFill/>
        </p:spPr>
        <p:txBody>
          <a:bodyPr wrap="square" rtlCol="0">
            <a:spAutoFit/>
          </a:bodyPr>
          <a:lstStyle/>
          <a:p>
            <a:pPr defTabSz="457189"/>
            <a:r>
              <a:rPr lang="fr-CA" sz="1600" b="1" dirty="0">
                <a:solidFill>
                  <a:schemeClr val="bg1"/>
                </a:solidFill>
                <a:latin typeface="Segoe UI" panose="020B0502040204020203" pitchFamily="34" charset="0"/>
                <a:cs typeface="Segoe UI" panose="020B0502040204020203" pitchFamily="34" charset="0"/>
              </a:rPr>
              <a:t>Solution évolutive de type Plateforme</a:t>
            </a:r>
          </a:p>
        </p:txBody>
      </p:sp>
      <p:grpSp>
        <p:nvGrpSpPr>
          <p:cNvPr id="132" name="Group 131">
            <a:extLst>
              <a:ext uri="{FF2B5EF4-FFF2-40B4-BE49-F238E27FC236}">
                <a16:creationId xmlns:a16="http://schemas.microsoft.com/office/drawing/2014/main" id="{B64546F5-200F-4C98-BFF3-06B2140B9A12}"/>
              </a:ext>
            </a:extLst>
          </p:cNvPr>
          <p:cNvGrpSpPr/>
          <p:nvPr/>
        </p:nvGrpSpPr>
        <p:grpSpPr>
          <a:xfrm>
            <a:off x="810757" y="3720621"/>
            <a:ext cx="945861" cy="569406"/>
            <a:chOff x="4362056" y="2733462"/>
            <a:chExt cx="861381" cy="518549"/>
          </a:xfrm>
        </p:grpSpPr>
        <p:sp>
          <p:nvSpPr>
            <p:cNvPr id="133" name="Freeform 6">
              <a:extLst>
                <a:ext uri="{FF2B5EF4-FFF2-40B4-BE49-F238E27FC236}">
                  <a16:creationId xmlns:a16="http://schemas.microsoft.com/office/drawing/2014/main" id="{8614F5D4-C886-4FB6-9915-CB4C938017D4}"/>
                </a:ext>
              </a:extLst>
            </p:cNvPr>
            <p:cNvSpPr>
              <a:spLocks noChangeAspect="1" noEditPoints="1"/>
            </p:cNvSpPr>
            <p:nvPr/>
          </p:nvSpPr>
          <p:spPr bwMode="auto">
            <a:xfrm>
              <a:off x="4525051" y="2779125"/>
              <a:ext cx="219367" cy="246221"/>
            </a:xfrm>
            <a:custGeom>
              <a:avLst/>
              <a:gdLst>
                <a:gd name="T0" fmla="*/ 2374 w 5131"/>
                <a:gd name="T1" fmla="*/ 4414 h 5758"/>
                <a:gd name="T2" fmla="*/ 1688 w 5131"/>
                <a:gd name="T3" fmla="*/ 4669 h 5758"/>
                <a:gd name="T4" fmla="*/ 3465 w 5131"/>
                <a:gd name="T5" fmla="*/ 4430 h 5758"/>
                <a:gd name="T6" fmla="*/ 2949 w 5131"/>
                <a:gd name="T7" fmla="*/ 4318 h 5758"/>
                <a:gd name="T8" fmla="*/ 2641 w 5131"/>
                <a:gd name="T9" fmla="*/ 4826 h 5758"/>
                <a:gd name="T10" fmla="*/ 1955 w 5131"/>
                <a:gd name="T11" fmla="*/ 4255 h 5758"/>
                <a:gd name="T12" fmla="*/ 1554 w 5131"/>
                <a:gd name="T13" fmla="*/ 4732 h 5758"/>
                <a:gd name="T14" fmla="*/ 4467 w 5131"/>
                <a:gd name="T15" fmla="*/ 4109 h 5758"/>
                <a:gd name="T16" fmla="*/ 4591 w 5131"/>
                <a:gd name="T17" fmla="*/ 4192 h 5758"/>
                <a:gd name="T18" fmla="*/ 4253 w 5131"/>
                <a:gd name="T19" fmla="*/ 3679 h 5758"/>
                <a:gd name="T20" fmla="*/ 2374 w 5131"/>
                <a:gd name="T21" fmla="*/ 3644 h 5758"/>
                <a:gd name="T22" fmla="*/ 1688 w 5131"/>
                <a:gd name="T23" fmla="*/ 3899 h 5758"/>
                <a:gd name="T24" fmla="*/ 3465 w 5131"/>
                <a:gd name="T25" fmla="*/ 3660 h 5758"/>
                <a:gd name="T26" fmla="*/ 2949 w 5131"/>
                <a:gd name="T27" fmla="*/ 3548 h 5758"/>
                <a:gd name="T28" fmla="*/ 2641 w 5131"/>
                <a:gd name="T29" fmla="*/ 4056 h 5758"/>
                <a:gd name="T30" fmla="*/ 1955 w 5131"/>
                <a:gd name="T31" fmla="*/ 3485 h 5758"/>
                <a:gd name="T32" fmla="*/ 1554 w 5131"/>
                <a:gd name="T33" fmla="*/ 3962 h 5758"/>
                <a:gd name="T34" fmla="*/ 395 w 5131"/>
                <a:gd name="T35" fmla="*/ 3353 h 5758"/>
                <a:gd name="T36" fmla="*/ 709 w 5131"/>
                <a:gd name="T37" fmla="*/ 3253 h 5758"/>
                <a:gd name="T38" fmla="*/ 309 w 5131"/>
                <a:gd name="T39" fmla="*/ 3267 h 5758"/>
                <a:gd name="T40" fmla="*/ 773 w 5131"/>
                <a:gd name="T41" fmla="*/ 2986 h 5758"/>
                <a:gd name="T42" fmla="*/ 4624 w 5131"/>
                <a:gd name="T43" fmla="*/ 3382 h 5758"/>
                <a:gd name="T44" fmla="*/ 4174 w 5131"/>
                <a:gd name="T45" fmla="*/ 2958 h 5758"/>
                <a:gd name="T46" fmla="*/ 674 w 5131"/>
                <a:gd name="T47" fmla="*/ 2923 h 5758"/>
                <a:gd name="T48" fmla="*/ 288 w 5131"/>
                <a:gd name="T49" fmla="*/ 2948 h 5758"/>
                <a:gd name="T50" fmla="*/ 3287 w 5131"/>
                <a:gd name="T51" fmla="*/ 2873 h 5758"/>
                <a:gd name="T52" fmla="*/ 1699 w 5131"/>
                <a:gd name="T53" fmla="*/ 2876 h 5758"/>
                <a:gd name="T54" fmla="*/ 3399 w 5131"/>
                <a:gd name="T55" fmla="*/ 2765 h 5758"/>
                <a:gd name="T56" fmla="*/ 2910 w 5131"/>
                <a:gd name="T57" fmla="*/ 3128 h 5758"/>
                <a:gd name="T58" fmla="*/ 2760 w 5131"/>
                <a:gd name="T59" fmla="*/ 3206 h 5758"/>
                <a:gd name="T60" fmla="*/ 2360 w 5131"/>
                <a:gd name="T61" fmla="*/ 2730 h 5758"/>
                <a:gd name="T62" fmla="*/ 1674 w 5131"/>
                <a:gd name="T63" fmla="*/ 3300 h 5758"/>
                <a:gd name="T64" fmla="*/ 395 w 5131"/>
                <a:gd name="T65" fmla="*/ 2621 h 5758"/>
                <a:gd name="T66" fmla="*/ 669 w 5131"/>
                <a:gd name="T67" fmla="*/ 2759 h 5758"/>
                <a:gd name="T68" fmla="*/ 293 w 5131"/>
                <a:gd name="T69" fmla="*/ 2785 h 5758"/>
                <a:gd name="T70" fmla="*/ 4478 w 5131"/>
                <a:gd name="T71" fmla="*/ 2361 h 5758"/>
                <a:gd name="T72" fmla="*/ 873 w 5131"/>
                <a:gd name="T73" fmla="*/ 2354 h 5758"/>
                <a:gd name="T74" fmla="*/ 4591 w 5131"/>
                <a:gd name="T75" fmla="*/ 2712 h 5758"/>
                <a:gd name="T76" fmla="*/ 4253 w 5131"/>
                <a:gd name="T77" fmla="*/ 2199 h 5758"/>
                <a:gd name="T78" fmla="*/ 709 w 5131"/>
                <a:gd name="T79" fmla="*/ 2155 h 5758"/>
                <a:gd name="T80" fmla="*/ 309 w 5131"/>
                <a:gd name="T81" fmla="*/ 2169 h 5758"/>
                <a:gd name="T82" fmla="*/ 1714 w 5131"/>
                <a:gd name="T83" fmla="*/ 2115 h 5758"/>
                <a:gd name="T84" fmla="*/ 150 w 5131"/>
                <a:gd name="T85" fmla="*/ 2031 h 5758"/>
                <a:gd name="T86" fmla="*/ 2730 w 5131"/>
                <a:gd name="T87" fmla="*/ 2009 h 5758"/>
                <a:gd name="T88" fmla="*/ 2242 w 5131"/>
                <a:gd name="T89" fmla="*/ 2372 h 5758"/>
                <a:gd name="T90" fmla="*/ 2074 w 5131"/>
                <a:gd name="T91" fmla="*/ 2450 h 5758"/>
                <a:gd name="T92" fmla="*/ 1674 w 5131"/>
                <a:gd name="T93" fmla="*/ 1974 h 5758"/>
                <a:gd name="T94" fmla="*/ 3549 w 5131"/>
                <a:gd name="T95" fmla="*/ 1595 h 5758"/>
                <a:gd name="T96" fmla="*/ 4563 w 5131"/>
                <a:gd name="T97" fmla="*/ 1483 h 5758"/>
                <a:gd name="T98" fmla="*/ 4075 w 5131"/>
                <a:gd name="T99" fmla="*/ 1846 h 5758"/>
                <a:gd name="T100" fmla="*/ 3924 w 5131"/>
                <a:gd name="T101" fmla="*/ 1923 h 5758"/>
                <a:gd name="T102" fmla="*/ 3525 w 5131"/>
                <a:gd name="T103" fmla="*/ 1448 h 5758"/>
                <a:gd name="T104" fmla="*/ 3184 w 5131"/>
                <a:gd name="T105" fmla="*/ 1248 h 5758"/>
                <a:gd name="T106" fmla="*/ 3923 w 5131"/>
                <a:gd name="T107" fmla="*/ 2684 h 5758"/>
                <a:gd name="T108" fmla="*/ 3219 w 5131"/>
                <a:gd name="T109" fmla="*/ 1244 h 5758"/>
                <a:gd name="T110" fmla="*/ 1636 w 5131"/>
                <a:gd name="T111" fmla="*/ 1768 h 5758"/>
                <a:gd name="T112" fmla="*/ 1334 w 5131"/>
                <a:gd name="T113" fmla="*/ 5430 h 5758"/>
                <a:gd name="T114" fmla="*/ 3539 w 5131"/>
                <a:gd name="T115" fmla="*/ 2421 h 5758"/>
                <a:gd name="T116" fmla="*/ 3219 w 5131"/>
                <a:gd name="T117" fmla="*/ 1066 h 5758"/>
                <a:gd name="T118" fmla="*/ 4820 w 5131"/>
                <a:gd name="T119" fmla="*/ 5007 h 5758"/>
                <a:gd name="T120" fmla="*/ 1239 w 5131"/>
                <a:gd name="T121" fmla="*/ 5611 h 5758"/>
                <a:gd name="T122" fmla="*/ 44 w 5131"/>
                <a:gd name="T123" fmla="*/ 1928 h 5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31" h="5758">
                  <a:moveTo>
                    <a:pt x="3088" y="4398"/>
                  </a:moveTo>
                  <a:lnTo>
                    <a:pt x="3073" y="4402"/>
                  </a:lnTo>
                  <a:lnTo>
                    <a:pt x="3062" y="4414"/>
                  </a:lnTo>
                  <a:lnTo>
                    <a:pt x="3057" y="4430"/>
                  </a:lnTo>
                  <a:lnTo>
                    <a:pt x="3057" y="4653"/>
                  </a:lnTo>
                  <a:lnTo>
                    <a:pt x="3062" y="4669"/>
                  </a:lnTo>
                  <a:lnTo>
                    <a:pt x="3073" y="4679"/>
                  </a:lnTo>
                  <a:lnTo>
                    <a:pt x="3088" y="4685"/>
                  </a:lnTo>
                  <a:lnTo>
                    <a:pt x="3287" y="4685"/>
                  </a:lnTo>
                  <a:lnTo>
                    <a:pt x="3303" y="4679"/>
                  </a:lnTo>
                  <a:lnTo>
                    <a:pt x="3315" y="4669"/>
                  </a:lnTo>
                  <a:lnTo>
                    <a:pt x="3319" y="4653"/>
                  </a:lnTo>
                  <a:lnTo>
                    <a:pt x="3319" y="4430"/>
                  </a:lnTo>
                  <a:lnTo>
                    <a:pt x="3315" y="4414"/>
                  </a:lnTo>
                  <a:lnTo>
                    <a:pt x="3303" y="4402"/>
                  </a:lnTo>
                  <a:lnTo>
                    <a:pt x="3287" y="4398"/>
                  </a:lnTo>
                  <a:lnTo>
                    <a:pt x="3088" y="4398"/>
                  </a:lnTo>
                  <a:close/>
                  <a:moveTo>
                    <a:pt x="2402" y="4398"/>
                  </a:moveTo>
                  <a:lnTo>
                    <a:pt x="2386" y="4402"/>
                  </a:lnTo>
                  <a:lnTo>
                    <a:pt x="2374" y="4414"/>
                  </a:lnTo>
                  <a:lnTo>
                    <a:pt x="2371" y="4430"/>
                  </a:lnTo>
                  <a:lnTo>
                    <a:pt x="2371" y="4653"/>
                  </a:lnTo>
                  <a:lnTo>
                    <a:pt x="2374" y="4669"/>
                  </a:lnTo>
                  <a:lnTo>
                    <a:pt x="2386" y="4679"/>
                  </a:lnTo>
                  <a:lnTo>
                    <a:pt x="2402" y="4685"/>
                  </a:lnTo>
                  <a:lnTo>
                    <a:pt x="2601" y="4685"/>
                  </a:lnTo>
                  <a:lnTo>
                    <a:pt x="2617" y="4679"/>
                  </a:lnTo>
                  <a:lnTo>
                    <a:pt x="2627" y="4669"/>
                  </a:lnTo>
                  <a:lnTo>
                    <a:pt x="2633" y="4653"/>
                  </a:lnTo>
                  <a:lnTo>
                    <a:pt x="2633" y="4430"/>
                  </a:lnTo>
                  <a:lnTo>
                    <a:pt x="2627" y="4414"/>
                  </a:lnTo>
                  <a:lnTo>
                    <a:pt x="2617" y="4402"/>
                  </a:lnTo>
                  <a:lnTo>
                    <a:pt x="2601" y="4398"/>
                  </a:lnTo>
                  <a:lnTo>
                    <a:pt x="2402" y="4398"/>
                  </a:lnTo>
                  <a:close/>
                  <a:moveTo>
                    <a:pt x="1714" y="4398"/>
                  </a:moveTo>
                  <a:lnTo>
                    <a:pt x="1699" y="4402"/>
                  </a:lnTo>
                  <a:lnTo>
                    <a:pt x="1688" y="4414"/>
                  </a:lnTo>
                  <a:lnTo>
                    <a:pt x="1683" y="4430"/>
                  </a:lnTo>
                  <a:lnTo>
                    <a:pt x="1683" y="4653"/>
                  </a:lnTo>
                  <a:lnTo>
                    <a:pt x="1688" y="4669"/>
                  </a:lnTo>
                  <a:lnTo>
                    <a:pt x="1699" y="4679"/>
                  </a:lnTo>
                  <a:lnTo>
                    <a:pt x="1714" y="4685"/>
                  </a:lnTo>
                  <a:lnTo>
                    <a:pt x="1913" y="4685"/>
                  </a:lnTo>
                  <a:lnTo>
                    <a:pt x="1929" y="4679"/>
                  </a:lnTo>
                  <a:lnTo>
                    <a:pt x="1941" y="4669"/>
                  </a:lnTo>
                  <a:lnTo>
                    <a:pt x="1945" y="4653"/>
                  </a:lnTo>
                  <a:lnTo>
                    <a:pt x="1945" y="4430"/>
                  </a:lnTo>
                  <a:lnTo>
                    <a:pt x="1941" y="4414"/>
                  </a:lnTo>
                  <a:lnTo>
                    <a:pt x="1929" y="4402"/>
                  </a:lnTo>
                  <a:lnTo>
                    <a:pt x="1913" y="4398"/>
                  </a:lnTo>
                  <a:lnTo>
                    <a:pt x="1714" y="4398"/>
                  </a:lnTo>
                  <a:close/>
                  <a:moveTo>
                    <a:pt x="3088" y="4250"/>
                  </a:moveTo>
                  <a:lnTo>
                    <a:pt x="3287" y="4250"/>
                  </a:lnTo>
                  <a:lnTo>
                    <a:pt x="3329" y="4255"/>
                  </a:lnTo>
                  <a:lnTo>
                    <a:pt x="3366" y="4269"/>
                  </a:lnTo>
                  <a:lnTo>
                    <a:pt x="3399" y="4290"/>
                  </a:lnTo>
                  <a:lnTo>
                    <a:pt x="3427" y="4318"/>
                  </a:lnTo>
                  <a:lnTo>
                    <a:pt x="3448" y="4351"/>
                  </a:lnTo>
                  <a:lnTo>
                    <a:pt x="3462" y="4388"/>
                  </a:lnTo>
                  <a:lnTo>
                    <a:pt x="3465" y="4430"/>
                  </a:lnTo>
                  <a:lnTo>
                    <a:pt x="3465" y="4653"/>
                  </a:lnTo>
                  <a:lnTo>
                    <a:pt x="3462" y="4693"/>
                  </a:lnTo>
                  <a:lnTo>
                    <a:pt x="3448" y="4732"/>
                  </a:lnTo>
                  <a:lnTo>
                    <a:pt x="3427" y="4765"/>
                  </a:lnTo>
                  <a:lnTo>
                    <a:pt x="3399" y="4791"/>
                  </a:lnTo>
                  <a:lnTo>
                    <a:pt x="3366" y="4814"/>
                  </a:lnTo>
                  <a:lnTo>
                    <a:pt x="3329" y="4826"/>
                  </a:lnTo>
                  <a:lnTo>
                    <a:pt x="3287" y="4831"/>
                  </a:lnTo>
                  <a:lnTo>
                    <a:pt x="3088" y="4831"/>
                  </a:lnTo>
                  <a:lnTo>
                    <a:pt x="3048" y="4826"/>
                  </a:lnTo>
                  <a:lnTo>
                    <a:pt x="3010" y="4814"/>
                  </a:lnTo>
                  <a:lnTo>
                    <a:pt x="2977" y="4791"/>
                  </a:lnTo>
                  <a:lnTo>
                    <a:pt x="2949" y="4765"/>
                  </a:lnTo>
                  <a:lnTo>
                    <a:pt x="2928" y="4732"/>
                  </a:lnTo>
                  <a:lnTo>
                    <a:pt x="2915" y="4693"/>
                  </a:lnTo>
                  <a:lnTo>
                    <a:pt x="2910" y="4653"/>
                  </a:lnTo>
                  <a:lnTo>
                    <a:pt x="2910" y="4430"/>
                  </a:lnTo>
                  <a:lnTo>
                    <a:pt x="2915" y="4388"/>
                  </a:lnTo>
                  <a:lnTo>
                    <a:pt x="2928" y="4351"/>
                  </a:lnTo>
                  <a:lnTo>
                    <a:pt x="2949" y="4318"/>
                  </a:lnTo>
                  <a:lnTo>
                    <a:pt x="2977" y="4290"/>
                  </a:lnTo>
                  <a:lnTo>
                    <a:pt x="3010" y="4269"/>
                  </a:lnTo>
                  <a:lnTo>
                    <a:pt x="3048" y="4255"/>
                  </a:lnTo>
                  <a:lnTo>
                    <a:pt x="3088" y="4250"/>
                  </a:lnTo>
                  <a:close/>
                  <a:moveTo>
                    <a:pt x="2402" y="4250"/>
                  </a:moveTo>
                  <a:lnTo>
                    <a:pt x="2601" y="4250"/>
                  </a:lnTo>
                  <a:lnTo>
                    <a:pt x="2641" y="4255"/>
                  </a:lnTo>
                  <a:lnTo>
                    <a:pt x="2680" y="4269"/>
                  </a:lnTo>
                  <a:lnTo>
                    <a:pt x="2711" y="4290"/>
                  </a:lnTo>
                  <a:lnTo>
                    <a:pt x="2739" y="4318"/>
                  </a:lnTo>
                  <a:lnTo>
                    <a:pt x="2760" y="4351"/>
                  </a:lnTo>
                  <a:lnTo>
                    <a:pt x="2774" y="4388"/>
                  </a:lnTo>
                  <a:lnTo>
                    <a:pt x="2779" y="4430"/>
                  </a:lnTo>
                  <a:lnTo>
                    <a:pt x="2779" y="4653"/>
                  </a:lnTo>
                  <a:lnTo>
                    <a:pt x="2774" y="4693"/>
                  </a:lnTo>
                  <a:lnTo>
                    <a:pt x="2760" y="4732"/>
                  </a:lnTo>
                  <a:lnTo>
                    <a:pt x="2739" y="4765"/>
                  </a:lnTo>
                  <a:lnTo>
                    <a:pt x="2711" y="4791"/>
                  </a:lnTo>
                  <a:lnTo>
                    <a:pt x="2680" y="4814"/>
                  </a:lnTo>
                  <a:lnTo>
                    <a:pt x="2641" y="4826"/>
                  </a:lnTo>
                  <a:lnTo>
                    <a:pt x="2601" y="4831"/>
                  </a:lnTo>
                  <a:lnTo>
                    <a:pt x="2402" y="4831"/>
                  </a:lnTo>
                  <a:lnTo>
                    <a:pt x="2360" y="4826"/>
                  </a:lnTo>
                  <a:lnTo>
                    <a:pt x="2324" y="4814"/>
                  </a:lnTo>
                  <a:lnTo>
                    <a:pt x="2290" y="4791"/>
                  </a:lnTo>
                  <a:lnTo>
                    <a:pt x="2262" y="4765"/>
                  </a:lnTo>
                  <a:lnTo>
                    <a:pt x="2242" y="4732"/>
                  </a:lnTo>
                  <a:lnTo>
                    <a:pt x="2228" y="4693"/>
                  </a:lnTo>
                  <a:lnTo>
                    <a:pt x="2222" y="4653"/>
                  </a:lnTo>
                  <a:lnTo>
                    <a:pt x="2222" y="4430"/>
                  </a:lnTo>
                  <a:lnTo>
                    <a:pt x="2228" y="4388"/>
                  </a:lnTo>
                  <a:lnTo>
                    <a:pt x="2242" y="4351"/>
                  </a:lnTo>
                  <a:lnTo>
                    <a:pt x="2262" y="4318"/>
                  </a:lnTo>
                  <a:lnTo>
                    <a:pt x="2290" y="4290"/>
                  </a:lnTo>
                  <a:lnTo>
                    <a:pt x="2324" y="4269"/>
                  </a:lnTo>
                  <a:lnTo>
                    <a:pt x="2360" y="4255"/>
                  </a:lnTo>
                  <a:lnTo>
                    <a:pt x="2402" y="4250"/>
                  </a:lnTo>
                  <a:close/>
                  <a:moveTo>
                    <a:pt x="1714" y="4250"/>
                  </a:moveTo>
                  <a:lnTo>
                    <a:pt x="1913" y="4250"/>
                  </a:lnTo>
                  <a:lnTo>
                    <a:pt x="1955" y="4255"/>
                  </a:lnTo>
                  <a:lnTo>
                    <a:pt x="1992" y="4269"/>
                  </a:lnTo>
                  <a:lnTo>
                    <a:pt x="2025" y="4290"/>
                  </a:lnTo>
                  <a:lnTo>
                    <a:pt x="2053" y="4318"/>
                  </a:lnTo>
                  <a:lnTo>
                    <a:pt x="2074" y="4351"/>
                  </a:lnTo>
                  <a:lnTo>
                    <a:pt x="2088" y="4388"/>
                  </a:lnTo>
                  <a:lnTo>
                    <a:pt x="2091" y="4430"/>
                  </a:lnTo>
                  <a:lnTo>
                    <a:pt x="2091" y="4653"/>
                  </a:lnTo>
                  <a:lnTo>
                    <a:pt x="2088" y="4693"/>
                  </a:lnTo>
                  <a:lnTo>
                    <a:pt x="2074" y="4732"/>
                  </a:lnTo>
                  <a:lnTo>
                    <a:pt x="2053" y="4765"/>
                  </a:lnTo>
                  <a:lnTo>
                    <a:pt x="2025" y="4791"/>
                  </a:lnTo>
                  <a:lnTo>
                    <a:pt x="1992" y="4814"/>
                  </a:lnTo>
                  <a:lnTo>
                    <a:pt x="1955" y="4826"/>
                  </a:lnTo>
                  <a:lnTo>
                    <a:pt x="1913" y="4831"/>
                  </a:lnTo>
                  <a:lnTo>
                    <a:pt x="1714" y="4831"/>
                  </a:lnTo>
                  <a:lnTo>
                    <a:pt x="1674" y="4826"/>
                  </a:lnTo>
                  <a:lnTo>
                    <a:pt x="1636" y="4814"/>
                  </a:lnTo>
                  <a:lnTo>
                    <a:pt x="1603" y="4791"/>
                  </a:lnTo>
                  <a:lnTo>
                    <a:pt x="1575" y="4765"/>
                  </a:lnTo>
                  <a:lnTo>
                    <a:pt x="1554" y="4732"/>
                  </a:lnTo>
                  <a:lnTo>
                    <a:pt x="1541" y="4693"/>
                  </a:lnTo>
                  <a:lnTo>
                    <a:pt x="1536" y="4653"/>
                  </a:lnTo>
                  <a:lnTo>
                    <a:pt x="1536" y="4430"/>
                  </a:lnTo>
                  <a:lnTo>
                    <a:pt x="1541" y="4388"/>
                  </a:lnTo>
                  <a:lnTo>
                    <a:pt x="1554" y="4351"/>
                  </a:lnTo>
                  <a:lnTo>
                    <a:pt x="1575" y="4318"/>
                  </a:lnTo>
                  <a:lnTo>
                    <a:pt x="1603" y="4290"/>
                  </a:lnTo>
                  <a:lnTo>
                    <a:pt x="1636" y="4269"/>
                  </a:lnTo>
                  <a:lnTo>
                    <a:pt x="1674" y="4255"/>
                  </a:lnTo>
                  <a:lnTo>
                    <a:pt x="1714" y="4250"/>
                  </a:lnTo>
                  <a:close/>
                  <a:moveTo>
                    <a:pt x="4253" y="3826"/>
                  </a:moveTo>
                  <a:lnTo>
                    <a:pt x="4237" y="3831"/>
                  </a:lnTo>
                  <a:lnTo>
                    <a:pt x="4225" y="3841"/>
                  </a:lnTo>
                  <a:lnTo>
                    <a:pt x="4221" y="3857"/>
                  </a:lnTo>
                  <a:lnTo>
                    <a:pt x="4221" y="4081"/>
                  </a:lnTo>
                  <a:lnTo>
                    <a:pt x="4225" y="4096"/>
                  </a:lnTo>
                  <a:lnTo>
                    <a:pt x="4237" y="4109"/>
                  </a:lnTo>
                  <a:lnTo>
                    <a:pt x="4253" y="4112"/>
                  </a:lnTo>
                  <a:lnTo>
                    <a:pt x="4452" y="4112"/>
                  </a:lnTo>
                  <a:lnTo>
                    <a:pt x="4467" y="4109"/>
                  </a:lnTo>
                  <a:lnTo>
                    <a:pt x="4478" y="4096"/>
                  </a:lnTo>
                  <a:lnTo>
                    <a:pt x="4483" y="4081"/>
                  </a:lnTo>
                  <a:lnTo>
                    <a:pt x="4483" y="3857"/>
                  </a:lnTo>
                  <a:lnTo>
                    <a:pt x="4478" y="3841"/>
                  </a:lnTo>
                  <a:lnTo>
                    <a:pt x="4467" y="3831"/>
                  </a:lnTo>
                  <a:lnTo>
                    <a:pt x="4452" y="3826"/>
                  </a:lnTo>
                  <a:lnTo>
                    <a:pt x="4253" y="3826"/>
                  </a:lnTo>
                  <a:close/>
                  <a:moveTo>
                    <a:pt x="4253" y="3679"/>
                  </a:moveTo>
                  <a:lnTo>
                    <a:pt x="4452" y="3679"/>
                  </a:lnTo>
                  <a:lnTo>
                    <a:pt x="4492" y="3684"/>
                  </a:lnTo>
                  <a:lnTo>
                    <a:pt x="4530" y="3697"/>
                  </a:lnTo>
                  <a:lnTo>
                    <a:pt x="4563" y="3718"/>
                  </a:lnTo>
                  <a:lnTo>
                    <a:pt x="4591" y="3745"/>
                  </a:lnTo>
                  <a:lnTo>
                    <a:pt x="4612" y="3779"/>
                  </a:lnTo>
                  <a:lnTo>
                    <a:pt x="4624" y="3817"/>
                  </a:lnTo>
                  <a:lnTo>
                    <a:pt x="4630" y="3857"/>
                  </a:lnTo>
                  <a:lnTo>
                    <a:pt x="4630" y="4081"/>
                  </a:lnTo>
                  <a:lnTo>
                    <a:pt x="4624" y="4123"/>
                  </a:lnTo>
                  <a:lnTo>
                    <a:pt x="4612" y="4159"/>
                  </a:lnTo>
                  <a:lnTo>
                    <a:pt x="4591" y="4192"/>
                  </a:lnTo>
                  <a:lnTo>
                    <a:pt x="4563" y="4220"/>
                  </a:lnTo>
                  <a:lnTo>
                    <a:pt x="4530" y="4241"/>
                  </a:lnTo>
                  <a:lnTo>
                    <a:pt x="4492" y="4255"/>
                  </a:lnTo>
                  <a:lnTo>
                    <a:pt x="4452" y="4259"/>
                  </a:lnTo>
                  <a:lnTo>
                    <a:pt x="4253" y="4259"/>
                  </a:lnTo>
                  <a:lnTo>
                    <a:pt x="4211" y="4255"/>
                  </a:lnTo>
                  <a:lnTo>
                    <a:pt x="4174" y="4241"/>
                  </a:lnTo>
                  <a:lnTo>
                    <a:pt x="4141" y="4220"/>
                  </a:lnTo>
                  <a:lnTo>
                    <a:pt x="4113" y="4192"/>
                  </a:lnTo>
                  <a:lnTo>
                    <a:pt x="4092" y="4159"/>
                  </a:lnTo>
                  <a:lnTo>
                    <a:pt x="4078" y="4123"/>
                  </a:lnTo>
                  <a:lnTo>
                    <a:pt x="4075" y="4081"/>
                  </a:lnTo>
                  <a:lnTo>
                    <a:pt x="4075" y="3857"/>
                  </a:lnTo>
                  <a:lnTo>
                    <a:pt x="4078" y="3817"/>
                  </a:lnTo>
                  <a:lnTo>
                    <a:pt x="4092" y="3779"/>
                  </a:lnTo>
                  <a:lnTo>
                    <a:pt x="4113" y="3745"/>
                  </a:lnTo>
                  <a:lnTo>
                    <a:pt x="4141" y="3718"/>
                  </a:lnTo>
                  <a:lnTo>
                    <a:pt x="4174" y="3697"/>
                  </a:lnTo>
                  <a:lnTo>
                    <a:pt x="4211" y="3684"/>
                  </a:lnTo>
                  <a:lnTo>
                    <a:pt x="4253" y="3679"/>
                  </a:lnTo>
                  <a:close/>
                  <a:moveTo>
                    <a:pt x="3088" y="3629"/>
                  </a:moveTo>
                  <a:lnTo>
                    <a:pt x="3073" y="3632"/>
                  </a:lnTo>
                  <a:lnTo>
                    <a:pt x="3062" y="3644"/>
                  </a:lnTo>
                  <a:lnTo>
                    <a:pt x="3057" y="3660"/>
                  </a:lnTo>
                  <a:lnTo>
                    <a:pt x="3057" y="3883"/>
                  </a:lnTo>
                  <a:lnTo>
                    <a:pt x="3062" y="3899"/>
                  </a:lnTo>
                  <a:lnTo>
                    <a:pt x="3073" y="3910"/>
                  </a:lnTo>
                  <a:lnTo>
                    <a:pt x="3088" y="3915"/>
                  </a:lnTo>
                  <a:lnTo>
                    <a:pt x="3287" y="3915"/>
                  </a:lnTo>
                  <a:lnTo>
                    <a:pt x="3303" y="3910"/>
                  </a:lnTo>
                  <a:lnTo>
                    <a:pt x="3315" y="3899"/>
                  </a:lnTo>
                  <a:lnTo>
                    <a:pt x="3319" y="3883"/>
                  </a:lnTo>
                  <a:lnTo>
                    <a:pt x="3319" y="3660"/>
                  </a:lnTo>
                  <a:lnTo>
                    <a:pt x="3315" y="3644"/>
                  </a:lnTo>
                  <a:lnTo>
                    <a:pt x="3303" y="3632"/>
                  </a:lnTo>
                  <a:lnTo>
                    <a:pt x="3287" y="3629"/>
                  </a:lnTo>
                  <a:lnTo>
                    <a:pt x="3088" y="3629"/>
                  </a:lnTo>
                  <a:close/>
                  <a:moveTo>
                    <a:pt x="2402" y="3629"/>
                  </a:moveTo>
                  <a:lnTo>
                    <a:pt x="2386" y="3632"/>
                  </a:lnTo>
                  <a:lnTo>
                    <a:pt x="2374" y="3644"/>
                  </a:lnTo>
                  <a:lnTo>
                    <a:pt x="2371" y="3660"/>
                  </a:lnTo>
                  <a:lnTo>
                    <a:pt x="2371" y="3883"/>
                  </a:lnTo>
                  <a:lnTo>
                    <a:pt x="2374" y="3899"/>
                  </a:lnTo>
                  <a:lnTo>
                    <a:pt x="2386" y="3910"/>
                  </a:lnTo>
                  <a:lnTo>
                    <a:pt x="2402" y="3915"/>
                  </a:lnTo>
                  <a:lnTo>
                    <a:pt x="2601" y="3915"/>
                  </a:lnTo>
                  <a:lnTo>
                    <a:pt x="2617" y="3910"/>
                  </a:lnTo>
                  <a:lnTo>
                    <a:pt x="2627" y="3899"/>
                  </a:lnTo>
                  <a:lnTo>
                    <a:pt x="2633" y="3883"/>
                  </a:lnTo>
                  <a:lnTo>
                    <a:pt x="2633" y="3660"/>
                  </a:lnTo>
                  <a:lnTo>
                    <a:pt x="2627" y="3644"/>
                  </a:lnTo>
                  <a:lnTo>
                    <a:pt x="2617" y="3632"/>
                  </a:lnTo>
                  <a:lnTo>
                    <a:pt x="2601" y="3629"/>
                  </a:lnTo>
                  <a:lnTo>
                    <a:pt x="2402" y="3629"/>
                  </a:lnTo>
                  <a:close/>
                  <a:moveTo>
                    <a:pt x="1714" y="3629"/>
                  </a:moveTo>
                  <a:lnTo>
                    <a:pt x="1699" y="3632"/>
                  </a:lnTo>
                  <a:lnTo>
                    <a:pt x="1688" y="3644"/>
                  </a:lnTo>
                  <a:lnTo>
                    <a:pt x="1683" y="3660"/>
                  </a:lnTo>
                  <a:lnTo>
                    <a:pt x="1683" y="3883"/>
                  </a:lnTo>
                  <a:lnTo>
                    <a:pt x="1688" y="3899"/>
                  </a:lnTo>
                  <a:lnTo>
                    <a:pt x="1699" y="3910"/>
                  </a:lnTo>
                  <a:lnTo>
                    <a:pt x="1714" y="3915"/>
                  </a:lnTo>
                  <a:lnTo>
                    <a:pt x="1913" y="3915"/>
                  </a:lnTo>
                  <a:lnTo>
                    <a:pt x="1929" y="3910"/>
                  </a:lnTo>
                  <a:lnTo>
                    <a:pt x="1941" y="3899"/>
                  </a:lnTo>
                  <a:lnTo>
                    <a:pt x="1945" y="3883"/>
                  </a:lnTo>
                  <a:lnTo>
                    <a:pt x="1945" y="3660"/>
                  </a:lnTo>
                  <a:lnTo>
                    <a:pt x="1941" y="3644"/>
                  </a:lnTo>
                  <a:lnTo>
                    <a:pt x="1929" y="3632"/>
                  </a:lnTo>
                  <a:lnTo>
                    <a:pt x="1913" y="3629"/>
                  </a:lnTo>
                  <a:lnTo>
                    <a:pt x="1714" y="3629"/>
                  </a:lnTo>
                  <a:close/>
                  <a:moveTo>
                    <a:pt x="3088" y="3482"/>
                  </a:moveTo>
                  <a:lnTo>
                    <a:pt x="3287" y="3482"/>
                  </a:lnTo>
                  <a:lnTo>
                    <a:pt x="3329" y="3485"/>
                  </a:lnTo>
                  <a:lnTo>
                    <a:pt x="3366" y="3499"/>
                  </a:lnTo>
                  <a:lnTo>
                    <a:pt x="3399" y="3520"/>
                  </a:lnTo>
                  <a:lnTo>
                    <a:pt x="3427" y="3548"/>
                  </a:lnTo>
                  <a:lnTo>
                    <a:pt x="3448" y="3581"/>
                  </a:lnTo>
                  <a:lnTo>
                    <a:pt x="3462" y="3618"/>
                  </a:lnTo>
                  <a:lnTo>
                    <a:pt x="3465" y="3660"/>
                  </a:lnTo>
                  <a:lnTo>
                    <a:pt x="3465" y="3883"/>
                  </a:lnTo>
                  <a:lnTo>
                    <a:pt x="3462" y="3924"/>
                  </a:lnTo>
                  <a:lnTo>
                    <a:pt x="3448" y="3962"/>
                  </a:lnTo>
                  <a:lnTo>
                    <a:pt x="3427" y="3995"/>
                  </a:lnTo>
                  <a:lnTo>
                    <a:pt x="3399" y="4023"/>
                  </a:lnTo>
                  <a:lnTo>
                    <a:pt x="3366" y="4044"/>
                  </a:lnTo>
                  <a:lnTo>
                    <a:pt x="3329" y="4056"/>
                  </a:lnTo>
                  <a:lnTo>
                    <a:pt x="3287" y="4061"/>
                  </a:lnTo>
                  <a:lnTo>
                    <a:pt x="3088" y="4061"/>
                  </a:lnTo>
                  <a:lnTo>
                    <a:pt x="3048" y="4056"/>
                  </a:lnTo>
                  <a:lnTo>
                    <a:pt x="3010" y="4044"/>
                  </a:lnTo>
                  <a:lnTo>
                    <a:pt x="2977" y="4023"/>
                  </a:lnTo>
                  <a:lnTo>
                    <a:pt x="2949" y="3995"/>
                  </a:lnTo>
                  <a:lnTo>
                    <a:pt x="2928" y="3962"/>
                  </a:lnTo>
                  <a:lnTo>
                    <a:pt x="2915" y="3924"/>
                  </a:lnTo>
                  <a:lnTo>
                    <a:pt x="2910" y="3883"/>
                  </a:lnTo>
                  <a:lnTo>
                    <a:pt x="2910" y="3660"/>
                  </a:lnTo>
                  <a:lnTo>
                    <a:pt x="2915" y="3618"/>
                  </a:lnTo>
                  <a:lnTo>
                    <a:pt x="2928" y="3581"/>
                  </a:lnTo>
                  <a:lnTo>
                    <a:pt x="2949" y="3548"/>
                  </a:lnTo>
                  <a:lnTo>
                    <a:pt x="2977" y="3520"/>
                  </a:lnTo>
                  <a:lnTo>
                    <a:pt x="3010" y="3499"/>
                  </a:lnTo>
                  <a:lnTo>
                    <a:pt x="3048" y="3485"/>
                  </a:lnTo>
                  <a:lnTo>
                    <a:pt x="3088" y="3482"/>
                  </a:lnTo>
                  <a:close/>
                  <a:moveTo>
                    <a:pt x="2402" y="3482"/>
                  </a:moveTo>
                  <a:lnTo>
                    <a:pt x="2601" y="3482"/>
                  </a:lnTo>
                  <a:lnTo>
                    <a:pt x="2641" y="3485"/>
                  </a:lnTo>
                  <a:lnTo>
                    <a:pt x="2680" y="3499"/>
                  </a:lnTo>
                  <a:lnTo>
                    <a:pt x="2711" y="3520"/>
                  </a:lnTo>
                  <a:lnTo>
                    <a:pt x="2739" y="3548"/>
                  </a:lnTo>
                  <a:lnTo>
                    <a:pt x="2760" y="3581"/>
                  </a:lnTo>
                  <a:lnTo>
                    <a:pt x="2774" y="3618"/>
                  </a:lnTo>
                  <a:lnTo>
                    <a:pt x="2779" y="3660"/>
                  </a:lnTo>
                  <a:lnTo>
                    <a:pt x="2779" y="3883"/>
                  </a:lnTo>
                  <a:lnTo>
                    <a:pt x="2774" y="3924"/>
                  </a:lnTo>
                  <a:lnTo>
                    <a:pt x="2760" y="3962"/>
                  </a:lnTo>
                  <a:lnTo>
                    <a:pt x="2739" y="3995"/>
                  </a:lnTo>
                  <a:lnTo>
                    <a:pt x="2711" y="4023"/>
                  </a:lnTo>
                  <a:lnTo>
                    <a:pt x="2680" y="4044"/>
                  </a:lnTo>
                  <a:lnTo>
                    <a:pt x="2641" y="4056"/>
                  </a:lnTo>
                  <a:lnTo>
                    <a:pt x="2601" y="4061"/>
                  </a:lnTo>
                  <a:lnTo>
                    <a:pt x="2402" y="4061"/>
                  </a:lnTo>
                  <a:lnTo>
                    <a:pt x="2360" y="4056"/>
                  </a:lnTo>
                  <a:lnTo>
                    <a:pt x="2324" y="4044"/>
                  </a:lnTo>
                  <a:lnTo>
                    <a:pt x="2290" y="4023"/>
                  </a:lnTo>
                  <a:lnTo>
                    <a:pt x="2262" y="3995"/>
                  </a:lnTo>
                  <a:lnTo>
                    <a:pt x="2242" y="3962"/>
                  </a:lnTo>
                  <a:lnTo>
                    <a:pt x="2228" y="3924"/>
                  </a:lnTo>
                  <a:lnTo>
                    <a:pt x="2222" y="3883"/>
                  </a:lnTo>
                  <a:lnTo>
                    <a:pt x="2222" y="3660"/>
                  </a:lnTo>
                  <a:lnTo>
                    <a:pt x="2228" y="3618"/>
                  </a:lnTo>
                  <a:lnTo>
                    <a:pt x="2242" y="3581"/>
                  </a:lnTo>
                  <a:lnTo>
                    <a:pt x="2262" y="3548"/>
                  </a:lnTo>
                  <a:lnTo>
                    <a:pt x="2290" y="3520"/>
                  </a:lnTo>
                  <a:lnTo>
                    <a:pt x="2324" y="3499"/>
                  </a:lnTo>
                  <a:lnTo>
                    <a:pt x="2360" y="3485"/>
                  </a:lnTo>
                  <a:lnTo>
                    <a:pt x="2402" y="3482"/>
                  </a:lnTo>
                  <a:close/>
                  <a:moveTo>
                    <a:pt x="1714" y="3482"/>
                  </a:moveTo>
                  <a:lnTo>
                    <a:pt x="1913" y="3482"/>
                  </a:lnTo>
                  <a:lnTo>
                    <a:pt x="1955" y="3485"/>
                  </a:lnTo>
                  <a:lnTo>
                    <a:pt x="1992" y="3499"/>
                  </a:lnTo>
                  <a:lnTo>
                    <a:pt x="2025" y="3520"/>
                  </a:lnTo>
                  <a:lnTo>
                    <a:pt x="2053" y="3548"/>
                  </a:lnTo>
                  <a:lnTo>
                    <a:pt x="2074" y="3581"/>
                  </a:lnTo>
                  <a:lnTo>
                    <a:pt x="2088" y="3618"/>
                  </a:lnTo>
                  <a:lnTo>
                    <a:pt x="2091" y="3660"/>
                  </a:lnTo>
                  <a:lnTo>
                    <a:pt x="2091" y="3883"/>
                  </a:lnTo>
                  <a:lnTo>
                    <a:pt x="2088" y="3924"/>
                  </a:lnTo>
                  <a:lnTo>
                    <a:pt x="2074" y="3962"/>
                  </a:lnTo>
                  <a:lnTo>
                    <a:pt x="2053" y="3995"/>
                  </a:lnTo>
                  <a:lnTo>
                    <a:pt x="2025" y="4023"/>
                  </a:lnTo>
                  <a:lnTo>
                    <a:pt x="1992" y="4044"/>
                  </a:lnTo>
                  <a:lnTo>
                    <a:pt x="1955" y="4056"/>
                  </a:lnTo>
                  <a:lnTo>
                    <a:pt x="1913" y="4061"/>
                  </a:lnTo>
                  <a:lnTo>
                    <a:pt x="1714" y="4061"/>
                  </a:lnTo>
                  <a:lnTo>
                    <a:pt x="1674" y="4056"/>
                  </a:lnTo>
                  <a:lnTo>
                    <a:pt x="1636" y="4044"/>
                  </a:lnTo>
                  <a:lnTo>
                    <a:pt x="1603" y="4023"/>
                  </a:lnTo>
                  <a:lnTo>
                    <a:pt x="1575" y="3995"/>
                  </a:lnTo>
                  <a:lnTo>
                    <a:pt x="1554" y="3962"/>
                  </a:lnTo>
                  <a:lnTo>
                    <a:pt x="1541" y="3924"/>
                  </a:lnTo>
                  <a:lnTo>
                    <a:pt x="1536" y="3883"/>
                  </a:lnTo>
                  <a:lnTo>
                    <a:pt x="1536" y="3660"/>
                  </a:lnTo>
                  <a:lnTo>
                    <a:pt x="1541" y="3618"/>
                  </a:lnTo>
                  <a:lnTo>
                    <a:pt x="1554" y="3581"/>
                  </a:lnTo>
                  <a:lnTo>
                    <a:pt x="1575" y="3548"/>
                  </a:lnTo>
                  <a:lnTo>
                    <a:pt x="1603" y="3520"/>
                  </a:lnTo>
                  <a:lnTo>
                    <a:pt x="1636" y="3499"/>
                  </a:lnTo>
                  <a:lnTo>
                    <a:pt x="1674" y="3485"/>
                  </a:lnTo>
                  <a:lnTo>
                    <a:pt x="1714" y="3482"/>
                  </a:lnTo>
                  <a:close/>
                  <a:moveTo>
                    <a:pt x="773" y="3353"/>
                  </a:moveTo>
                  <a:lnTo>
                    <a:pt x="773" y="3452"/>
                  </a:lnTo>
                  <a:lnTo>
                    <a:pt x="873" y="3452"/>
                  </a:lnTo>
                  <a:lnTo>
                    <a:pt x="873" y="3353"/>
                  </a:lnTo>
                  <a:lnTo>
                    <a:pt x="773" y="3353"/>
                  </a:lnTo>
                  <a:close/>
                  <a:moveTo>
                    <a:pt x="395" y="3353"/>
                  </a:moveTo>
                  <a:lnTo>
                    <a:pt x="395" y="3452"/>
                  </a:lnTo>
                  <a:lnTo>
                    <a:pt x="494" y="3452"/>
                  </a:lnTo>
                  <a:lnTo>
                    <a:pt x="494" y="3353"/>
                  </a:lnTo>
                  <a:lnTo>
                    <a:pt x="395" y="3353"/>
                  </a:lnTo>
                  <a:close/>
                  <a:moveTo>
                    <a:pt x="735" y="3248"/>
                  </a:moveTo>
                  <a:lnTo>
                    <a:pt x="911" y="3248"/>
                  </a:lnTo>
                  <a:lnTo>
                    <a:pt x="937" y="3253"/>
                  </a:lnTo>
                  <a:lnTo>
                    <a:pt x="958" y="3267"/>
                  </a:lnTo>
                  <a:lnTo>
                    <a:pt x="974" y="3288"/>
                  </a:lnTo>
                  <a:lnTo>
                    <a:pt x="979" y="3314"/>
                  </a:lnTo>
                  <a:lnTo>
                    <a:pt x="979" y="3491"/>
                  </a:lnTo>
                  <a:lnTo>
                    <a:pt x="974" y="3517"/>
                  </a:lnTo>
                  <a:lnTo>
                    <a:pt x="958" y="3538"/>
                  </a:lnTo>
                  <a:lnTo>
                    <a:pt x="937" y="3553"/>
                  </a:lnTo>
                  <a:lnTo>
                    <a:pt x="911" y="3559"/>
                  </a:lnTo>
                  <a:lnTo>
                    <a:pt x="735" y="3559"/>
                  </a:lnTo>
                  <a:lnTo>
                    <a:pt x="709" y="3553"/>
                  </a:lnTo>
                  <a:lnTo>
                    <a:pt x="688" y="3538"/>
                  </a:lnTo>
                  <a:lnTo>
                    <a:pt x="674" y="3517"/>
                  </a:lnTo>
                  <a:lnTo>
                    <a:pt x="669" y="3491"/>
                  </a:lnTo>
                  <a:lnTo>
                    <a:pt x="669" y="3314"/>
                  </a:lnTo>
                  <a:lnTo>
                    <a:pt x="674" y="3288"/>
                  </a:lnTo>
                  <a:lnTo>
                    <a:pt x="688" y="3267"/>
                  </a:lnTo>
                  <a:lnTo>
                    <a:pt x="709" y="3253"/>
                  </a:lnTo>
                  <a:lnTo>
                    <a:pt x="735" y="3248"/>
                  </a:lnTo>
                  <a:close/>
                  <a:moveTo>
                    <a:pt x="356" y="3248"/>
                  </a:moveTo>
                  <a:lnTo>
                    <a:pt x="532" y="3248"/>
                  </a:lnTo>
                  <a:lnTo>
                    <a:pt x="559" y="3253"/>
                  </a:lnTo>
                  <a:lnTo>
                    <a:pt x="580" y="3267"/>
                  </a:lnTo>
                  <a:lnTo>
                    <a:pt x="594" y="3288"/>
                  </a:lnTo>
                  <a:lnTo>
                    <a:pt x="599" y="3314"/>
                  </a:lnTo>
                  <a:lnTo>
                    <a:pt x="599" y="3491"/>
                  </a:lnTo>
                  <a:lnTo>
                    <a:pt x="594" y="3517"/>
                  </a:lnTo>
                  <a:lnTo>
                    <a:pt x="580" y="3538"/>
                  </a:lnTo>
                  <a:lnTo>
                    <a:pt x="559" y="3553"/>
                  </a:lnTo>
                  <a:lnTo>
                    <a:pt x="532" y="3559"/>
                  </a:lnTo>
                  <a:lnTo>
                    <a:pt x="356" y="3559"/>
                  </a:lnTo>
                  <a:lnTo>
                    <a:pt x="330" y="3553"/>
                  </a:lnTo>
                  <a:lnTo>
                    <a:pt x="309" y="3538"/>
                  </a:lnTo>
                  <a:lnTo>
                    <a:pt x="293" y="3517"/>
                  </a:lnTo>
                  <a:lnTo>
                    <a:pt x="288" y="3491"/>
                  </a:lnTo>
                  <a:lnTo>
                    <a:pt x="288" y="3314"/>
                  </a:lnTo>
                  <a:lnTo>
                    <a:pt x="293" y="3288"/>
                  </a:lnTo>
                  <a:lnTo>
                    <a:pt x="309" y="3267"/>
                  </a:lnTo>
                  <a:lnTo>
                    <a:pt x="330" y="3253"/>
                  </a:lnTo>
                  <a:lnTo>
                    <a:pt x="356" y="3248"/>
                  </a:lnTo>
                  <a:close/>
                  <a:moveTo>
                    <a:pt x="4253" y="3086"/>
                  </a:moveTo>
                  <a:lnTo>
                    <a:pt x="4237" y="3091"/>
                  </a:lnTo>
                  <a:lnTo>
                    <a:pt x="4225" y="3101"/>
                  </a:lnTo>
                  <a:lnTo>
                    <a:pt x="4221" y="3117"/>
                  </a:lnTo>
                  <a:lnTo>
                    <a:pt x="4221" y="3342"/>
                  </a:lnTo>
                  <a:lnTo>
                    <a:pt x="4225" y="3358"/>
                  </a:lnTo>
                  <a:lnTo>
                    <a:pt x="4237" y="3368"/>
                  </a:lnTo>
                  <a:lnTo>
                    <a:pt x="4253" y="3374"/>
                  </a:lnTo>
                  <a:lnTo>
                    <a:pt x="4452" y="3374"/>
                  </a:lnTo>
                  <a:lnTo>
                    <a:pt x="4467" y="3368"/>
                  </a:lnTo>
                  <a:lnTo>
                    <a:pt x="4478" y="3358"/>
                  </a:lnTo>
                  <a:lnTo>
                    <a:pt x="4483" y="3342"/>
                  </a:lnTo>
                  <a:lnTo>
                    <a:pt x="4483" y="3117"/>
                  </a:lnTo>
                  <a:lnTo>
                    <a:pt x="4478" y="3101"/>
                  </a:lnTo>
                  <a:lnTo>
                    <a:pt x="4467" y="3091"/>
                  </a:lnTo>
                  <a:lnTo>
                    <a:pt x="4452" y="3086"/>
                  </a:lnTo>
                  <a:lnTo>
                    <a:pt x="4253" y="3086"/>
                  </a:lnTo>
                  <a:close/>
                  <a:moveTo>
                    <a:pt x="773" y="2986"/>
                  </a:moveTo>
                  <a:lnTo>
                    <a:pt x="773" y="3087"/>
                  </a:lnTo>
                  <a:lnTo>
                    <a:pt x="873" y="3087"/>
                  </a:lnTo>
                  <a:lnTo>
                    <a:pt x="873" y="2986"/>
                  </a:lnTo>
                  <a:lnTo>
                    <a:pt x="773" y="2986"/>
                  </a:lnTo>
                  <a:close/>
                  <a:moveTo>
                    <a:pt x="395" y="2986"/>
                  </a:moveTo>
                  <a:lnTo>
                    <a:pt x="395" y="3087"/>
                  </a:lnTo>
                  <a:lnTo>
                    <a:pt x="494" y="3087"/>
                  </a:lnTo>
                  <a:lnTo>
                    <a:pt x="494" y="2986"/>
                  </a:lnTo>
                  <a:lnTo>
                    <a:pt x="395" y="2986"/>
                  </a:lnTo>
                  <a:close/>
                  <a:moveTo>
                    <a:pt x="4253" y="2939"/>
                  </a:moveTo>
                  <a:lnTo>
                    <a:pt x="4452" y="2939"/>
                  </a:lnTo>
                  <a:lnTo>
                    <a:pt x="4492" y="2944"/>
                  </a:lnTo>
                  <a:lnTo>
                    <a:pt x="4530" y="2958"/>
                  </a:lnTo>
                  <a:lnTo>
                    <a:pt x="4563" y="2979"/>
                  </a:lnTo>
                  <a:lnTo>
                    <a:pt x="4591" y="3007"/>
                  </a:lnTo>
                  <a:lnTo>
                    <a:pt x="4612" y="3040"/>
                  </a:lnTo>
                  <a:lnTo>
                    <a:pt x="4624" y="3077"/>
                  </a:lnTo>
                  <a:lnTo>
                    <a:pt x="4630" y="3117"/>
                  </a:lnTo>
                  <a:lnTo>
                    <a:pt x="4630" y="3342"/>
                  </a:lnTo>
                  <a:lnTo>
                    <a:pt x="4624" y="3382"/>
                  </a:lnTo>
                  <a:lnTo>
                    <a:pt x="4612" y="3421"/>
                  </a:lnTo>
                  <a:lnTo>
                    <a:pt x="4591" y="3454"/>
                  </a:lnTo>
                  <a:lnTo>
                    <a:pt x="4563" y="3480"/>
                  </a:lnTo>
                  <a:lnTo>
                    <a:pt x="4530" y="3501"/>
                  </a:lnTo>
                  <a:lnTo>
                    <a:pt x="4492" y="3515"/>
                  </a:lnTo>
                  <a:lnTo>
                    <a:pt x="4452" y="3520"/>
                  </a:lnTo>
                  <a:lnTo>
                    <a:pt x="4253" y="3520"/>
                  </a:lnTo>
                  <a:lnTo>
                    <a:pt x="4211" y="3515"/>
                  </a:lnTo>
                  <a:lnTo>
                    <a:pt x="4174" y="3501"/>
                  </a:lnTo>
                  <a:lnTo>
                    <a:pt x="4141" y="3480"/>
                  </a:lnTo>
                  <a:lnTo>
                    <a:pt x="4113" y="3454"/>
                  </a:lnTo>
                  <a:lnTo>
                    <a:pt x="4092" y="3421"/>
                  </a:lnTo>
                  <a:lnTo>
                    <a:pt x="4078" y="3382"/>
                  </a:lnTo>
                  <a:lnTo>
                    <a:pt x="4075" y="3342"/>
                  </a:lnTo>
                  <a:lnTo>
                    <a:pt x="4075" y="3117"/>
                  </a:lnTo>
                  <a:lnTo>
                    <a:pt x="4078" y="3077"/>
                  </a:lnTo>
                  <a:lnTo>
                    <a:pt x="4092" y="3040"/>
                  </a:lnTo>
                  <a:lnTo>
                    <a:pt x="4113" y="3007"/>
                  </a:lnTo>
                  <a:lnTo>
                    <a:pt x="4141" y="2979"/>
                  </a:lnTo>
                  <a:lnTo>
                    <a:pt x="4174" y="2958"/>
                  </a:lnTo>
                  <a:lnTo>
                    <a:pt x="4211" y="2944"/>
                  </a:lnTo>
                  <a:lnTo>
                    <a:pt x="4253" y="2939"/>
                  </a:lnTo>
                  <a:close/>
                  <a:moveTo>
                    <a:pt x="735" y="2881"/>
                  </a:moveTo>
                  <a:lnTo>
                    <a:pt x="911" y="2881"/>
                  </a:lnTo>
                  <a:lnTo>
                    <a:pt x="937" y="2887"/>
                  </a:lnTo>
                  <a:lnTo>
                    <a:pt x="958" y="2902"/>
                  </a:lnTo>
                  <a:lnTo>
                    <a:pt x="974" y="2923"/>
                  </a:lnTo>
                  <a:lnTo>
                    <a:pt x="979" y="2948"/>
                  </a:lnTo>
                  <a:lnTo>
                    <a:pt x="979" y="3126"/>
                  </a:lnTo>
                  <a:lnTo>
                    <a:pt x="974" y="3152"/>
                  </a:lnTo>
                  <a:lnTo>
                    <a:pt x="958" y="3173"/>
                  </a:lnTo>
                  <a:lnTo>
                    <a:pt x="937" y="3187"/>
                  </a:lnTo>
                  <a:lnTo>
                    <a:pt x="911" y="3192"/>
                  </a:lnTo>
                  <a:lnTo>
                    <a:pt x="735" y="3192"/>
                  </a:lnTo>
                  <a:lnTo>
                    <a:pt x="709" y="3187"/>
                  </a:lnTo>
                  <a:lnTo>
                    <a:pt x="688" y="3173"/>
                  </a:lnTo>
                  <a:lnTo>
                    <a:pt x="674" y="3152"/>
                  </a:lnTo>
                  <a:lnTo>
                    <a:pt x="669" y="3126"/>
                  </a:lnTo>
                  <a:lnTo>
                    <a:pt x="669" y="2948"/>
                  </a:lnTo>
                  <a:lnTo>
                    <a:pt x="674" y="2923"/>
                  </a:lnTo>
                  <a:lnTo>
                    <a:pt x="688" y="2902"/>
                  </a:lnTo>
                  <a:lnTo>
                    <a:pt x="709" y="2887"/>
                  </a:lnTo>
                  <a:lnTo>
                    <a:pt x="735" y="2881"/>
                  </a:lnTo>
                  <a:close/>
                  <a:moveTo>
                    <a:pt x="356" y="2881"/>
                  </a:moveTo>
                  <a:lnTo>
                    <a:pt x="532" y="2881"/>
                  </a:lnTo>
                  <a:lnTo>
                    <a:pt x="559" y="2887"/>
                  </a:lnTo>
                  <a:lnTo>
                    <a:pt x="580" y="2902"/>
                  </a:lnTo>
                  <a:lnTo>
                    <a:pt x="594" y="2923"/>
                  </a:lnTo>
                  <a:lnTo>
                    <a:pt x="599" y="2948"/>
                  </a:lnTo>
                  <a:lnTo>
                    <a:pt x="599" y="3126"/>
                  </a:lnTo>
                  <a:lnTo>
                    <a:pt x="594" y="3152"/>
                  </a:lnTo>
                  <a:lnTo>
                    <a:pt x="580" y="3173"/>
                  </a:lnTo>
                  <a:lnTo>
                    <a:pt x="559" y="3187"/>
                  </a:lnTo>
                  <a:lnTo>
                    <a:pt x="532" y="3192"/>
                  </a:lnTo>
                  <a:lnTo>
                    <a:pt x="356" y="3192"/>
                  </a:lnTo>
                  <a:lnTo>
                    <a:pt x="330" y="3187"/>
                  </a:lnTo>
                  <a:lnTo>
                    <a:pt x="309" y="3173"/>
                  </a:lnTo>
                  <a:lnTo>
                    <a:pt x="293" y="3152"/>
                  </a:lnTo>
                  <a:lnTo>
                    <a:pt x="288" y="3126"/>
                  </a:lnTo>
                  <a:lnTo>
                    <a:pt x="288" y="2948"/>
                  </a:lnTo>
                  <a:lnTo>
                    <a:pt x="293" y="2923"/>
                  </a:lnTo>
                  <a:lnTo>
                    <a:pt x="309" y="2902"/>
                  </a:lnTo>
                  <a:lnTo>
                    <a:pt x="330" y="2887"/>
                  </a:lnTo>
                  <a:lnTo>
                    <a:pt x="356" y="2881"/>
                  </a:lnTo>
                  <a:close/>
                  <a:moveTo>
                    <a:pt x="3088" y="2873"/>
                  </a:moveTo>
                  <a:lnTo>
                    <a:pt x="3073" y="2876"/>
                  </a:lnTo>
                  <a:lnTo>
                    <a:pt x="3062" y="2888"/>
                  </a:lnTo>
                  <a:lnTo>
                    <a:pt x="3057" y="2904"/>
                  </a:lnTo>
                  <a:lnTo>
                    <a:pt x="3057" y="3128"/>
                  </a:lnTo>
                  <a:lnTo>
                    <a:pt x="3062" y="3143"/>
                  </a:lnTo>
                  <a:lnTo>
                    <a:pt x="3073" y="3154"/>
                  </a:lnTo>
                  <a:lnTo>
                    <a:pt x="3088" y="3159"/>
                  </a:lnTo>
                  <a:lnTo>
                    <a:pt x="3287" y="3159"/>
                  </a:lnTo>
                  <a:lnTo>
                    <a:pt x="3303" y="3154"/>
                  </a:lnTo>
                  <a:lnTo>
                    <a:pt x="3315" y="3143"/>
                  </a:lnTo>
                  <a:lnTo>
                    <a:pt x="3319" y="3128"/>
                  </a:lnTo>
                  <a:lnTo>
                    <a:pt x="3319" y="2904"/>
                  </a:lnTo>
                  <a:lnTo>
                    <a:pt x="3315" y="2888"/>
                  </a:lnTo>
                  <a:lnTo>
                    <a:pt x="3303" y="2876"/>
                  </a:lnTo>
                  <a:lnTo>
                    <a:pt x="3287" y="2873"/>
                  </a:lnTo>
                  <a:lnTo>
                    <a:pt x="3088" y="2873"/>
                  </a:lnTo>
                  <a:close/>
                  <a:moveTo>
                    <a:pt x="2402" y="2873"/>
                  </a:moveTo>
                  <a:lnTo>
                    <a:pt x="2386" y="2876"/>
                  </a:lnTo>
                  <a:lnTo>
                    <a:pt x="2374" y="2888"/>
                  </a:lnTo>
                  <a:lnTo>
                    <a:pt x="2371" y="2904"/>
                  </a:lnTo>
                  <a:lnTo>
                    <a:pt x="2371" y="3128"/>
                  </a:lnTo>
                  <a:lnTo>
                    <a:pt x="2374" y="3143"/>
                  </a:lnTo>
                  <a:lnTo>
                    <a:pt x="2386" y="3154"/>
                  </a:lnTo>
                  <a:lnTo>
                    <a:pt x="2402" y="3159"/>
                  </a:lnTo>
                  <a:lnTo>
                    <a:pt x="2601" y="3159"/>
                  </a:lnTo>
                  <a:lnTo>
                    <a:pt x="2617" y="3154"/>
                  </a:lnTo>
                  <a:lnTo>
                    <a:pt x="2627" y="3143"/>
                  </a:lnTo>
                  <a:lnTo>
                    <a:pt x="2633" y="3128"/>
                  </a:lnTo>
                  <a:lnTo>
                    <a:pt x="2633" y="2904"/>
                  </a:lnTo>
                  <a:lnTo>
                    <a:pt x="2627" y="2888"/>
                  </a:lnTo>
                  <a:lnTo>
                    <a:pt x="2617" y="2876"/>
                  </a:lnTo>
                  <a:lnTo>
                    <a:pt x="2601" y="2873"/>
                  </a:lnTo>
                  <a:lnTo>
                    <a:pt x="2402" y="2873"/>
                  </a:lnTo>
                  <a:close/>
                  <a:moveTo>
                    <a:pt x="1714" y="2873"/>
                  </a:moveTo>
                  <a:lnTo>
                    <a:pt x="1699" y="2876"/>
                  </a:lnTo>
                  <a:lnTo>
                    <a:pt x="1688" y="2888"/>
                  </a:lnTo>
                  <a:lnTo>
                    <a:pt x="1683" y="2904"/>
                  </a:lnTo>
                  <a:lnTo>
                    <a:pt x="1683" y="3128"/>
                  </a:lnTo>
                  <a:lnTo>
                    <a:pt x="1688" y="3143"/>
                  </a:lnTo>
                  <a:lnTo>
                    <a:pt x="1699" y="3154"/>
                  </a:lnTo>
                  <a:lnTo>
                    <a:pt x="1714" y="3159"/>
                  </a:lnTo>
                  <a:lnTo>
                    <a:pt x="1913" y="3159"/>
                  </a:lnTo>
                  <a:lnTo>
                    <a:pt x="1929" y="3154"/>
                  </a:lnTo>
                  <a:lnTo>
                    <a:pt x="1941" y="3143"/>
                  </a:lnTo>
                  <a:lnTo>
                    <a:pt x="1945" y="3128"/>
                  </a:lnTo>
                  <a:lnTo>
                    <a:pt x="1945" y="2904"/>
                  </a:lnTo>
                  <a:lnTo>
                    <a:pt x="1941" y="2888"/>
                  </a:lnTo>
                  <a:lnTo>
                    <a:pt x="1929" y="2876"/>
                  </a:lnTo>
                  <a:lnTo>
                    <a:pt x="1913" y="2873"/>
                  </a:lnTo>
                  <a:lnTo>
                    <a:pt x="1714" y="2873"/>
                  </a:lnTo>
                  <a:close/>
                  <a:moveTo>
                    <a:pt x="3088" y="2724"/>
                  </a:moveTo>
                  <a:lnTo>
                    <a:pt x="3287" y="2724"/>
                  </a:lnTo>
                  <a:lnTo>
                    <a:pt x="3329" y="2730"/>
                  </a:lnTo>
                  <a:lnTo>
                    <a:pt x="3366" y="2744"/>
                  </a:lnTo>
                  <a:lnTo>
                    <a:pt x="3399" y="2765"/>
                  </a:lnTo>
                  <a:lnTo>
                    <a:pt x="3427" y="2792"/>
                  </a:lnTo>
                  <a:lnTo>
                    <a:pt x="3448" y="2826"/>
                  </a:lnTo>
                  <a:lnTo>
                    <a:pt x="3462" y="2862"/>
                  </a:lnTo>
                  <a:lnTo>
                    <a:pt x="3465" y="2904"/>
                  </a:lnTo>
                  <a:lnTo>
                    <a:pt x="3465" y="3128"/>
                  </a:lnTo>
                  <a:lnTo>
                    <a:pt x="3462" y="3168"/>
                  </a:lnTo>
                  <a:lnTo>
                    <a:pt x="3448" y="3206"/>
                  </a:lnTo>
                  <a:lnTo>
                    <a:pt x="3427" y="3239"/>
                  </a:lnTo>
                  <a:lnTo>
                    <a:pt x="3399" y="3267"/>
                  </a:lnTo>
                  <a:lnTo>
                    <a:pt x="3366" y="3288"/>
                  </a:lnTo>
                  <a:lnTo>
                    <a:pt x="3329" y="3300"/>
                  </a:lnTo>
                  <a:lnTo>
                    <a:pt x="3287" y="3306"/>
                  </a:lnTo>
                  <a:lnTo>
                    <a:pt x="3088" y="3306"/>
                  </a:lnTo>
                  <a:lnTo>
                    <a:pt x="3048" y="3300"/>
                  </a:lnTo>
                  <a:lnTo>
                    <a:pt x="3010" y="3288"/>
                  </a:lnTo>
                  <a:lnTo>
                    <a:pt x="2977" y="3267"/>
                  </a:lnTo>
                  <a:lnTo>
                    <a:pt x="2949" y="3239"/>
                  </a:lnTo>
                  <a:lnTo>
                    <a:pt x="2928" y="3206"/>
                  </a:lnTo>
                  <a:lnTo>
                    <a:pt x="2915" y="3168"/>
                  </a:lnTo>
                  <a:lnTo>
                    <a:pt x="2910" y="3128"/>
                  </a:lnTo>
                  <a:lnTo>
                    <a:pt x="2910" y="2904"/>
                  </a:lnTo>
                  <a:lnTo>
                    <a:pt x="2915" y="2862"/>
                  </a:lnTo>
                  <a:lnTo>
                    <a:pt x="2928" y="2826"/>
                  </a:lnTo>
                  <a:lnTo>
                    <a:pt x="2949" y="2792"/>
                  </a:lnTo>
                  <a:lnTo>
                    <a:pt x="2977" y="2765"/>
                  </a:lnTo>
                  <a:lnTo>
                    <a:pt x="3010" y="2744"/>
                  </a:lnTo>
                  <a:lnTo>
                    <a:pt x="3048" y="2730"/>
                  </a:lnTo>
                  <a:lnTo>
                    <a:pt x="3088" y="2724"/>
                  </a:lnTo>
                  <a:close/>
                  <a:moveTo>
                    <a:pt x="2402" y="2724"/>
                  </a:moveTo>
                  <a:lnTo>
                    <a:pt x="2601" y="2724"/>
                  </a:lnTo>
                  <a:lnTo>
                    <a:pt x="2641" y="2730"/>
                  </a:lnTo>
                  <a:lnTo>
                    <a:pt x="2680" y="2744"/>
                  </a:lnTo>
                  <a:lnTo>
                    <a:pt x="2711" y="2765"/>
                  </a:lnTo>
                  <a:lnTo>
                    <a:pt x="2739" y="2792"/>
                  </a:lnTo>
                  <a:lnTo>
                    <a:pt x="2760" y="2826"/>
                  </a:lnTo>
                  <a:lnTo>
                    <a:pt x="2774" y="2862"/>
                  </a:lnTo>
                  <a:lnTo>
                    <a:pt x="2779" y="2904"/>
                  </a:lnTo>
                  <a:lnTo>
                    <a:pt x="2779" y="3128"/>
                  </a:lnTo>
                  <a:lnTo>
                    <a:pt x="2774" y="3168"/>
                  </a:lnTo>
                  <a:lnTo>
                    <a:pt x="2760" y="3206"/>
                  </a:lnTo>
                  <a:lnTo>
                    <a:pt x="2739" y="3239"/>
                  </a:lnTo>
                  <a:lnTo>
                    <a:pt x="2711" y="3267"/>
                  </a:lnTo>
                  <a:lnTo>
                    <a:pt x="2680" y="3288"/>
                  </a:lnTo>
                  <a:lnTo>
                    <a:pt x="2641" y="3300"/>
                  </a:lnTo>
                  <a:lnTo>
                    <a:pt x="2601" y="3306"/>
                  </a:lnTo>
                  <a:lnTo>
                    <a:pt x="2402" y="3306"/>
                  </a:lnTo>
                  <a:lnTo>
                    <a:pt x="2360" y="3300"/>
                  </a:lnTo>
                  <a:lnTo>
                    <a:pt x="2324" y="3288"/>
                  </a:lnTo>
                  <a:lnTo>
                    <a:pt x="2290" y="3267"/>
                  </a:lnTo>
                  <a:lnTo>
                    <a:pt x="2262" y="3239"/>
                  </a:lnTo>
                  <a:lnTo>
                    <a:pt x="2242" y="3206"/>
                  </a:lnTo>
                  <a:lnTo>
                    <a:pt x="2228" y="3168"/>
                  </a:lnTo>
                  <a:lnTo>
                    <a:pt x="2222" y="3128"/>
                  </a:lnTo>
                  <a:lnTo>
                    <a:pt x="2222" y="2904"/>
                  </a:lnTo>
                  <a:lnTo>
                    <a:pt x="2228" y="2862"/>
                  </a:lnTo>
                  <a:lnTo>
                    <a:pt x="2242" y="2826"/>
                  </a:lnTo>
                  <a:lnTo>
                    <a:pt x="2262" y="2792"/>
                  </a:lnTo>
                  <a:lnTo>
                    <a:pt x="2290" y="2765"/>
                  </a:lnTo>
                  <a:lnTo>
                    <a:pt x="2324" y="2744"/>
                  </a:lnTo>
                  <a:lnTo>
                    <a:pt x="2360" y="2730"/>
                  </a:lnTo>
                  <a:lnTo>
                    <a:pt x="2402" y="2724"/>
                  </a:lnTo>
                  <a:close/>
                  <a:moveTo>
                    <a:pt x="1714" y="2724"/>
                  </a:moveTo>
                  <a:lnTo>
                    <a:pt x="1913" y="2724"/>
                  </a:lnTo>
                  <a:lnTo>
                    <a:pt x="1955" y="2730"/>
                  </a:lnTo>
                  <a:lnTo>
                    <a:pt x="1992" y="2744"/>
                  </a:lnTo>
                  <a:lnTo>
                    <a:pt x="2025" y="2765"/>
                  </a:lnTo>
                  <a:lnTo>
                    <a:pt x="2053" y="2792"/>
                  </a:lnTo>
                  <a:lnTo>
                    <a:pt x="2074" y="2826"/>
                  </a:lnTo>
                  <a:lnTo>
                    <a:pt x="2088" y="2862"/>
                  </a:lnTo>
                  <a:lnTo>
                    <a:pt x="2091" y="2904"/>
                  </a:lnTo>
                  <a:lnTo>
                    <a:pt x="2091" y="3128"/>
                  </a:lnTo>
                  <a:lnTo>
                    <a:pt x="2088" y="3168"/>
                  </a:lnTo>
                  <a:lnTo>
                    <a:pt x="2074" y="3206"/>
                  </a:lnTo>
                  <a:lnTo>
                    <a:pt x="2053" y="3239"/>
                  </a:lnTo>
                  <a:lnTo>
                    <a:pt x="2025" y="3267"/>
                  </a:lnTo>
                  <a:lnTo>
                    <a:pt x="1992" y="3288"/>
                  </a:lnTo>
                  <a:lnTo>
                    <a:pt x="1955" y="3300"/>
                  </a:lnTo>
                  <a:lnTo>
                    <a:pt x="1913" y="3306"/>
                  </a:lnTo>
                  <a:lnTo>
                    <a:pt x="1714" y="3306"/>
                  </a:lnTo>
                  <a:lnTo>
                    <a:pt x="1674" y="3300"/>
                  </a:lnTo>
                  <a:lnTo>
                    <a:pt x="1636" y="3288"/>
                  </a:lnTo>
                  <a:lnTo>
                    <a:pt x="1603" y="3267"/>
                  </a:lnTo>
                  <a:lnTo>
                    <a:pt x="1575" y="3239"/>
                  </a:lnTo>
                  <a:lnTo>
                    <a:pt x="1554" y="3206"/>
                  </a:lnTo>
                  <a:lnTo>
                    <a:pt x="1541" y="3168"/>
                  </a:lnTo>
                  <a:lnTo>
                    <a:pt x="1536" y="3128"/>
                  </a:lnTo>
                  <a:lnTo>
                    <a:pt x="1536" y="2904"/>
                  </a:lnTo>
                  <a:lnTo>
                    <a:pt x="1541" y="2862"/>
                  </a:lnTo>
                  <a:lnTo>
                    <a:pt x="1554" y="2826"/>
                  </a:lnTo>
                  <a:lnTo>
                    <a:pt x="1575" y="2792"/>
                  </a:lnTo>
                  <a:lnTo>
                    <a:pt x="1603" y="2765"/>
                  </a:lnTo>
                  <a:lnTo>
                    <a:pt x="1636" y="2744"/>
                  </a:lnTo>
                  <a:lnTo>
                    <a:pt x="1674" y="2730"/>
                  </a:lnTo>
                  <a:lnTo>
                    <a:pt x="1714" y="2724"/>
                  </a:lnTo>
                  <a:close/>
                  <a:moveTo>
                    <a:pt x="773" y="2621"/>
                  </a:moveTo>
                  <a:lnTo>
                    <a:pt x="773" y="2721"/>
                  </a:lnTo>
                  <a:lnTo>
                    <a:pt x="873" y="2721"/>
                  </a:lnTo>
                  <a:lnTo>
                    <a:pt x="873" y="2621"/>
                  </a:lnTo>
                  <a:lnTo>
                    <a:pt x="773" y="2621"/>
                  </a:lnTo>
                  <a:close/>
                  <a:moveTo>
                    <a:pt x="395" y="2621"/>
                  </a:moveTo>
                  <a:lnTo>
                    <a:pt x="395" y="2721"/>
                  </a:lnTo>
                  <a:lnTo>
                    <a:pt x="494" y="2721"/>
                  </a:lnTo>
                  <a:lnTo>
                    <a:pt x="494" y="2621"/>
                  </a:lnTo>
                  <a:lnTo>
                    <a:pt x="395" y="2621"/>
                  </a:lnTo>
                  <a:close/>
                  <a:moveTo>
                    <a:pt x="735" y="2517"/>
                  </a:moveTo>
                  <a:lnTo>
                    <a:pt x="911" y="2517"/>
                  </a:lnTo>
                  <a:lnTo>
                    <a:pt x="937" y="2522"/>
                  </a:lnTo>
                  <a:lnTo>
                    <a:pt x="958" y="2536"/>
                  </a:lnTo>
                  <a:lnTo>
                    <a:pt x="974" y="2557"/>
                  </a:lnTo>
                  <a:lnTo>
                    <a:pt x="979" y="2583"/>
                  </a:lnTo>
                  <a:lnTo>
                    <a:pt x="979" y="2759"/>
                  </a:lnTo>
                  <a:lnTo>
                    <a:pt x="974" y="2785"/>
                  </a:lnTo>
                  <a:lnTo>
                    <a:pt x="958" y="2806"/>
                  </a:lnTo>
                  <a:lnTo>
                    <a:pt x="937" y="2820"/>
                  </a:lnTo>
                  <a:lnTo>
                    <a:pt x="911" y="2826"/>
                  </a:lnTo>
                  <a:lnTo>
                    <a:pt x="735" y="2826"/>
                  </a:lnTo>
                  <a:lnTo>
                    <a:pt x="709" y="2820"/>
                  </a:lnTo>
                  <a:lnTo>
                    <a:pt x="688" y="2806"/>
                  </a:lnTo>
                  <a:lnTo>
                    <a:pt x="674" y="2785"/>
                  </a:lnTo>
                  <a:lnTo>
                    <a:pt x="669" y="2759"/>
                  </a:lnTo>
                  <a:lnTo>
                    <a:pt x="669" y="2583"/>
                  </a:lnTo>
                  <a:lnTo>
                    <a:pt x="674" y="2557"/>
                  </a:lnTo>
                  <a:lnTo>
                    <a:pt x="688" y="2536"/>
                  </a:lnTo>
                  <a:lnTo>
                    <a:pt x="709" y="2522"/>
                  </a:lnTo>
                  <a:lnTo>
                    <a:pt x="735" y="2517"/>
                  </a:lnTo>
                  <a:close/>
                  <a:moveTo>
                    <a:pt x="356" y="2517"/>
                  </a:moveTo>
                  <a:lnTo>
                    <a:pt x="532" y="2517"/>
                  </a:lnTo>
                  <a:lnTo>
                    <a:pt x="559" y="2522"/>
                  </a:lnTo>
                  <a:lnTo>
                    <a:pt x="580" y="2536"/>
                  </a:lnTo>
                  <a:lnTo>
                    <a:pt x="594" y="2557"/>
                  </a:lnTo>
                  <a:lnTo>
                    <a:pt x="599" y="2583"/>
                  </a:lnTo>
                  <a:lnTo>
                    <a:pt x="599" y="2759"/>
                  </a:lnTo>
                  <a:lnTo>
                    <a:pt x="594" y="2785"/>
                  </a:lnTo>
                  <a:lnTo>
                    <a:pt x="580" y="2806"/>
                  </a:lnTo>
                  <a:lnTo>
                    <a:pt x="559" y="2820"/>
                  </a:lnTo>
                  <a:lnTo>
                    <a:pt x="532" y="2826"/>
                  </a:lnTo>
                  <a:lnTo>
                    <a:pt x="356" y="2826"/>
                  </a:lnTo>
                  <a:lnTo>
                    <a:pt x="330" y="2820"/>
                  </a:lnTo>
                  <a:lnTo>
                    <a:pt x="309" y="2806"/>
                  </a:lnTo>
                  <a:lnTo>
                    <a:pt x="293" y="2785"/>
                  </a:lnTo>
                  <a:lnTo>
                    <a:pt x="288" y="2759"/>
                  </a:lnTo>
                  <a:lnTo>
                    <a:pt x="288" y="2583"/>
                  </a:lnTo>
                  <a:lnTo>
                    <a:pt x="293" y="2557"/>
                  </a:lnTo>
                  <a:lnTo>
                    <a:pt x="309" y="2536"/>
                  </a:lnTo>
                  <a:lnTo>
                    <a:pt x="330" y="2522"/>
                  </a:lnTo>
                  <a:lnTo>
                    <a:pt x="356" y="2517"/>
                  </a:lnTo>
                  <a:close/>
                  <a:moveTo>
                    <a:pt x="4253" y="2346"/>
                  </a:moveTo>
                  <a:lnTo>
                    <a:pt x="4237" y="2351"/>
                  </a:lnTo>
                  <a:lnTo>
                    <a:pt x="4225" y="2361"/>
                  </a:lnTo>
                  <a:lnTo>
                    <a:pt x="4221" y="2377"/>
                  </a:lnTo>
                  <a:lnTo>
                    <a:pt x="4221" y="2602"/>
                  </a:lnTo>
                  <a:lnTo>
                    <a:pt x="4225" y="2618"/>
                  </a:lnTo>
                  <a:lnTo>
                    <a:pt x="4237" y="2628"/>
                  </a:lnTo>
                  <a:lnTo>
                    <a:pt x="4253" y="2634"/>
                  </a:lnTo>
                  <a:lnTo>
                    <a:pt x="4452" y="2634"/>
                  </a:lnTo>
                  <a:lnTo>
                    <a:pt x="4467" y="2628"/>
                  </a:lnTo>
                  <a:lnTo>
                    <a:pt x="4478" y="2618"/>
                  </a:lnTo>
                  <a:lnTo>
                    <a:pt x="4483" y="2602"/>
                  </a:lnTo>
                  <a:lnTo>
                    <a:pt x="4483" y="2377"/>
                  </a:lnTo>
                  <a:lnTo>
                    <a:pt x="4478" y="2361"/>
                  </a:lnTo>
                  <a:lnTo>
                    <a:pt x="4467" y="2351"/>
                  </a:lnTo>
                  <a:lnTo>
                    <a:pt x="4452" y="2346"/>
                  </a:lnTo>
                  <a:lnTo>
                    <a:pt x="4253" y="2346"/>
                  </a:lnTo>
                  <a:close/>
                  <a:moveTo>
                    <a:pt x="3706" y="2346"/>
                  </a:moveTo>
                  <a:lnTo>
                    <a:pt x="3741" y="2403"/>
                  </a:lnTo>
                  <a:lnTo>
                    <a:pt x="3767" y="2463"/>
                  </a:lnTo>
                  <a:lnTo>
                    <a:pt x="3783" y="2527"/>
                  </a:lnTo>
                  <a:lnTo>
                    <a:pt x="3788" y="2593"/>
                  </a:lnTo>
                  <a:lnTo>
                    <a:pt x="3788" y="2620"/>
                  </a:lnTo>
                  <a:lnTo>
                    <a:pt x="3794" y="2614"/>
                  </a:lnTo>
                  <a:lnTo>
                    <a:pt x="3795" y="2609"/>
                  </a:lnTo>
                  <a:lnTo>
                    <a:pt x="3795" y="2602"/>
                  </a:lnTo>
                  <a:lnTo>
                    <a:pt x="3795" y="2377"/>
                  </a:lnTo>
                  <a:lnTo>
                    <a:pt x="3792" y="2361"/>
                  </a:lnTo>
                  <a:lnTo>
                    <a:pt x="3780" y="2351"/>
                  </a:lnTo>
                  <a:lnTo>
                    <a:pt x="3764" y="2346"/>
                  </a:lnTo>
                  <a:lnTo>
                    <a:pt x="3706" y="2346"/>
                  </a:lnTo>
                  <a:close/>
                  <a:moveTo>
                    <a:pt x="773" y="2255"/>
                  </a:moveTo>
                  <a:lnTo>
                    <a:pt x="773" y="2354"/>
                  </a:lnTo>
                  <a:lnTo>
                    <a:pt x="873" y="2354"/>
                  </a:lnTo>
                  <a:lnTo>
                    <a:pt x="873" y="2255"/>
                  </a:lnTo>
                  <a:lnTo>
                    <a:pt x="773" y="2255"/>
                  </a:lnTo>
                  <a:close/>
                  <a:moveTo>
                    <a:pt x="395" y="2255"/>
                  </a:moveTo>
                  <a:lnTo>
                    <a:pt x="395" y="2354"/>
                  </a:lnTo>
                  <a:lnTo>
                    <a:pt x="494" y="2354"/>
                  </a:lnTo>
                  <a:lnTo>
                    <a:pt x="494" y="2255"/>
                  </a:lnTo>
                  <a:lnTo>
                    <a:pt x="395" y="2255"/>
                  </a:lnTo>
                  <a:close/>
                  <a:moveTo>
                    <a:pt x="4253" y="2199"/>
                  </a:moveTo>
                  <a:lnTo>
                    <a:pt x="4452" y="2199"/>
                  </a:lnTo>
                  <a:lnTo>
                    <a:pt x="4492" y="2204"/>
                  </a:lnTo>
                  <a:lnTo>
                    <a:pt x="4530" y="2218"/>
                  </a:lnTo>
                  <a:lnTo>
                    <a:pt x="4563" y="2239"/>
                  </a:lnTo>
                  <a:lnTo>
                    <a:pt x="4591" y="2267"/>
                  </a:lnTo>
                  <a:lnTo>
                    <a:pt x="4612" y="2299"/>
                  </a:lnTo>
                  <a:lnTo>
                    <a:pt x="4624" y="2337"/>
                  </a:lnTo>
                  <a:lnTo>
                    <a:pt x="4630" y="2377"/>
                  </a:lnTo>
                  <a:lnTo>
                    <a:pt x="4630" y="2602"/>
                  </a:lnTo>
                  <a:lnTo>
                    <a:pt x="4624" y="2642"/>
                  </a:lnTo>
                  <a:lnTo>
                    <a:pt x="4612" y="2681"/>
                  </a:lnTo>
                  <a:lnTo>
                    <a:pt x="4591" y="2712"/>
                  </a:lnTo>
                  <a:lnTo>
                    <a:pt x="4563" y="2740"/>
                  </a:lnTo>
                  <a:lnTo>
                    <a:pt x="4530" y="2761"/>
                  </a:lnTo>
                  <a:lnTo>
                    <a:pt x="4492" y="2775"/>
                  </a:lnTo>
                  <a:lnTo>
                    <a:pt x="4452" y="2780"/>
                  </a:lnTo>
                  <a:lnTo>
                    <a:pt x="4253" y="2780"/>
                  </a:lnTo>
                  <a:lnTo>
                    <a:pt x="4211" y="2775"/>
                  </a:lnTo>
                  <a:lnTo>
                    <a:pt x="4174" y="2761"/>
                  </a:lnTo>
                  <a:lnTo>
                    <a:pt x="4141" y="2740"/>
                  </a:lnTo>
                  <a:lnTo>
                    <a:pt x="4113" y="2712"/>
                  </a:lnTo>
                  <a:lnTo>
                    <a:pt x="4092" y="2681"/>
                  </a:lnTo>
                  <a:lnTo>
                    <a:pt x="4078" y="2642"/>
                  </a:lnTo>
                  <a:lnTo>
                    <a:pt x="4075" y="2602"/>
                  </a:lnTo>
                  <a:lnTo>
                    <a:pt x="4075" y="2377"/>
                  </a:lnTo>
                  <a:lnTo>
                    <a:pt x="4078" y="2337"/>
                  </a:lnTo>
                  <a:lnTo>
                    <a:pt x="4092" y="2299"/>
                  </a:lnTo>
                  <a:lnTo>
                    <a:pt x="4113" y="2267"/>
                  </a:lnTo>
                  <a:lnTo>
                    <a:pt x="4141" y="2239"/>
                  </a:lnTo>
                  <a:lnTo>
                    <a:pt x="4174" y="2218"/>
                  </a:lnTo>
                  <a:lnTo>
                    <a:pt x="4211" y="2204"/>
                  </a:lnTo>
                  <a:lnTo>
                    <a:pt x="4253" y="2199"/>
                  </a:lnTo>
                  <a:close/>
                  <a:moveTo>
                    <a:pt x="735" y="2150"/>
                  </a:moveTo>
                  <a:lnTo>
                    <a:pt x="911" y="2150"/>
                  </a:lnTo>
                  <a:lnTo>
                    <a:pt x="937" y="2155"/>
                  </a:lnTo>
                  <a:lnTo>
                    <a:pt x="958" y="2169"/>
                  </a:lnTo>
                  <a:lnTo>
                    <a:pt x="974" y="2190"/>
                  </a:lnTo>
                  <a:lnTo>
                    <a:pt x="979" y="2216"/>
                  </a:lnTo>
                  <a:lnTo>
                    <a:pt x="979" y="2393"/>
                  </a:lnTo>
                  <a:lnTo>
                    <a:pt x="974" y="2419"/>
                  </a:lnTo>
                  <a:lnTo>
                    <a:pt x="958" y="2440"/>
                  </a:lnTo>
                  <a:lnTo>
                    <a:pt x="937" y="2454"/>
                  </a:lnTo>
                  <a:lnTo>
                    <a:pt x="911" y="2459"/>
                  </a:lnTo>
                  <a:lnTo>
                    <a:pt x="735" y="2459"/>
                  </a:lnTo>
                  <a:lnTo>
                    <a:pt x="709" y="2454"/>
                  </a:lnTo>
                  <a:lnTo>
                    <a:pt x="688" y="2440"/>
                  </a:lnTo>
                  <a:lnTo>
                    <a:pt x="674" y="2419"/>
                  </a:lnTo>
                  <a:lnTo>
                    <a:pt x="669" y="2393"/>
                  </a:lnTo>
                  <a:lnTo>
                    <a:pt x="669" y="2216"/>
                  </a:lnTo>
                  <a:lnTo>
                    <a:pt x="674" y="2190"/>
                  </a:lnTo>
                  <a:lnTo>
                    <a:pt x="688" y="2169"/>
                  </a:lnTo>
                  <a:lnTo>
                    <a:pt x="709" y="2155"/>
                  </a:lnTo>
                  <a:lnTo>
                    <a:pt x="735" y="2150"/>
                  </a:lnTo>
                  <a:close/>
                  <a:moveTo>
                    <a:pt x="356" y="2150"/>
                  </a:moveTo>
                  <a:lnTo>
                    <a:pt x="532" y="2150"/>
                  </a:lnTo>
                  <a:lnTo>
                    <a:pt x="559" y="2155"/>
                  </a:lnTo>
                  <a:lnTo>
                    <a:pt x="580" y="2169"/>
                  </a:lnTo>
                  <a:lnTo>
                    <a:pt x="594" y="2190"/>
                  </a:lnTo>
                  <a:lnTo>
                    <a:pt x="599" y="2216"/>
                  </a:lnTo>
                  <a:lnTo>
                    <a:pt x="599" y="2393"/>
                  </a:lnTo>
                  <a:lnTo>
                    <a:pt x="594" y="2419"/>
                  </a:lnTo>
                  <a:lnTo>
                    <a:pt x="580" y="2440"/>
                  </a:lnTo>
                  <a:lnTo>
                    <a:pt x="559" y="2454"/>
                  </a:lnTo>
                  <a:lnTo>
                    <a:pt x="532" y="2459"/>
                  </a:lnTo>
                  <a:lnTo>
                    <a:pt x="356" y="2459"/>
                  </a:lnTo>
                  <a:lnTo>
                    <a:pt x="330" y="2454"/>
                  </a:lnTo>
                  <a:lnTo>
                    <a:pt x="309" y="2440"/>
                  </a:lnTo>
                  <a:lnTo>
                    <a:pt x="293" y="2419"/>
                  </a:lnTo>
                  <a:lnTo>
                    <a:pt x="288" y="2393"/>
                  </a:lnTo>
                  <a:lnTo>
                    <a:pt x="288" y="2216"/>
                  </a:lnTo>
                  <a:lnTo>
                    <a:pt x="293" y="2190"/>
                  </a:lnTo>
                  <a:lnTo>
                    <a:pt x="309" y="2169"/>
                  </a:lnTo>
                  <a:lnTo>
                    <a:pt x="330" y="2155"/>
                  </a:lnTo>
                  <a:lnTo>
                    <a:pt x="356" y="2150"/>
                  </a:lnTo>
                  <a:close/>
                  <a:moveTo>
                    <a:pt x="2420" y="2115"/>
                  </a:moveTo>
                  <a:lnTo>
                    <a:pt x="2404" y="2120"/>
                  </a:lnTo>
                  <a:lnTo>
                    <a:pt x="2392" y="2131"/>
                  </a:lnTo>
                  <a:lnTo>
                    <a:pt x="2388" y="2147"/>
                  </a:lnTo>
                  <a:lnTo>
                    <a:pt x="2388" y="2372"/>
                  </a:lnTo>
                  <a:lnTo>
                    <a:pt x="2392" y="2388"/>
                  </a:lnTo>
                  <a:lnTo>
                    <a:pt x="2404" y="2398"/>
                  </a:lnTo>
                  <a:lnTo>
                    <a:pt x="2420" y="2403"/>
                  </a:lnTo>
                  <a:lnTo>
                    <a:pt x="2619" y="2403"/>
                  </a:lnTo>
                  <a:lnTo>
                    <a:pt x="2634" y="2398"/>
                  </a:lnTo>
                  <a:lnTo>
                    <a:pt x="2645" y="2388"/>
                  </a:lnTo>
                  <a:lnTo>
                    <a:pt x="2650" y="2372"/>
                  </a:lnTo>
                  <a:lnTo>
                    <a:pt x="2650" y="2147"/>
                  </a:lnTo>
                  <a:lnTo>
                    <a:pt x="2645" y="2131"/>
                  </a:lnTo>
                  <a:lnTo>
                    <a:pt x="2634" y="2120"/>
                  </a:lnTo>
                  <a:lnTo>
                    <a:pt x="2619" y="2115"/>
                  </a:lnTo>
                  <a:lnTo>
                    <a:pt x="2420" y="2115"/>
                  </a:lnTo>
                  <a:close/>
                  <a:moveTo>
                    <a:pt x="1714" y="2115"/>
                  </a:moveTo>
                  <a:lnTo>
                    <a:pt x="1699" y="2120"/>
                  </a:lnTo>
                  <a:lnTo>
                    <a:pt x="1688" y="2131"/>
                  </a:lnTo>
                  <a:lnTo>
                    <a:pt x="1683" y="2147"/>
                  </a:lnTo>
                  <a:lnTo>
                    <a:pt x="1683" y="2372"/>
                  </a:lnTo>
                  <a:lnTo>
                    <a:pt x="1688" y="2388"/>
                  </a:lnTo>
                  <a:lnTo>
                    <a:pt x="1699" y="2398"/>
                  </a:lnTo>
                  <a:lnTo>
                    <a:pt x="1714" y="2403"/>
                  </a:lnTo>
                  <a:lnTo>
                    <a:pt x="1913" y="2403"/>
                  </a:lnTo>
                  <a:lnTo>
                    <a:pt x="1929" y="2398"/>
                  </a:lnTo>
                  <a:lnTo>
                    <a:pt x="1941" y="2388"/>
                  </a:lnTo>
                  <a:lnTo>
                    <a:pt x="1945" y="2372"/>
                  </a:lnTo>
                  <a:lnTo>
                    <a:pt x="1945" y="2147"/>
                  </a:lnTo>
                  <a:lnTo>
                    <a:pt x="1941" y="2131"/>
                  </a:lnTo>
                  <a:lnTo>
                    <a:pt x="1929" y="2120"/>
                  </a:lnTo>
                  <a:lnTo>
                    <a:pt x="1913" y="2115"/>
                  </a:lnTo>
                  <a:lnTo>
                    <a:pt x="1714" y="2115"/>
                  </a:lnTo>
                  <a:close/>
                  <a:moveTo>
                    <a:pt x="199" y="2000"/>
                  </a:moveTo>
                  <a:lnTo>
                    <a:pt x="178" y="2004"/>
                  </a:lnTo>
                  <a:lnTo>
                    <a:pt x="162" y="2016"/>
                  </a:lnTo>
                  <a:lnTo>
                    <a:pt x="150" y="2031"/>
                  </a:lnTo>
                  <a:lnTo>
                    <a:pt x="147" y="2052"/>
                  </a:lnTo>
                  <a:lnTo>
                    <a:pt x="147" y="3615"/>
                  </a:lnTo>
                  <a:lnTo>
                    <a:pt x="150" y="3636"/>
                  </a:lnTo>
                  <a:lnTo>
                    <a:pt x="162" y="3653"/>
                  </a:lnTo>
                  <a:lnTo>
                    <a:pt x="178" y="3663"/>
                  </a:lnTo>
                  <a:lnTo>
                    <a:pt x="199" y="3667"/>
                  </a:lnTo>
                  <a:lnTo>
                    <a:pt x="1091" y="3667"/>
                  </a:lnTo>
                  <a:lnTo>
                    <a:pt x="1109" y="3663"/>
                  </a:lnTo>
                  <a:lnTo>
                    <a:pt x="1124" y="3653"/>
                  </a:lnTo>
                  <a:lnTo>
                    <a:pt x="1136" y="3639"/>
                  </a:lnTo>
                  <a:lnTo>
                    <a:pt x="1136" y="2028"/>
                  </a:lnTo>
                  <a:lnTo>
                    <a:pt x="1124" y="2014"/>
                  </a:lnTo>
                  <a:lnTo>
                    <a:pt x="1109" y="2004"/>
                  </a:lnTo>
                  <a:lnTo>
                    <a:pt x="1091" y="2000"/>
                  </a:lnTo>
                  <a:lnTo>
                    <a:pt x="199" y="2000"/>
                  </a:lnTo>
                  <a:close/>
                  <a:moveTo>
                    <a:pt x="2420" y="1969"/>
                  </a:moveTo>
                  <a:lnTo>
                    <a:pt x="2619" y="1969"/>
                  </a:lnTo>
                  <a:lnTo>
                    <a:pt x="2659" y="1974"/>
                  </a:lnTo>
                  <a:lnTo>
                    <a:pt x="2697" y="1988"/>
                  </a:lnTo>
                  <a:lnTo>
                    <a:pt x="2730" y="2009"/>
                  </a:lnTo>
                  <a:lnTo>
                    <a:pt x="2757" y="2037"/>
                  </a:lnTo>
                  <a:lnTo>
                    <a:pt x="2779" y="2070"/>
                  </a:lnTo>
                  <a:lnTo>
                    <a:pt x="2791" y="2107"/>
                  </a:lnTo>
                  <a:lnTo>
                    <a:pt x="2797" y="2147"/>
                  </a:lnTo>
                  <a:lnTo>
                    <a:pt x="2797" y="2372"/>
                  </a:lnTo>
                  <a:lnTo>
                    <a:pt x="2791" y="2412"/>
                  </a:lnTo>
                  <a:lnTo>
                    <a:pt x="2779" y="2450"/>
                  </a:lnTo>
                  <a:lnTo>
                    <a:pt x="2757" y="2484"/>
                  </a:lnTo>
                  <a:lnTo>
                    <a:pt x="2730" y="2510"/>
                  </a:lnTo>
                  <a:lnTo>
                    <a:pt x="2697" y="2531"/>
                  </a:lnTo>
                  <a:lnTo>
                    <a:pt x="2659" y="2545"/>
                  </a:lnTo>
                  <a:lnTo>
                    <a:pt x="2619" y="2550"/>
                  </a:lnTo>
                  <a:lnTo>
                    <a:pt x="2420" y="2550"/>
                  </a:lnTo>
                  <a:lnTo>
                    <a:pt x="2378" y="2545"/>
                  </a:lnTo>
                  <a:lnTo>
                    <a:pt x="2341" y="2531"/>
                  </a:lnTo>
                  <a:lnTo>
                    <a:pt x="2308" y="2510"/>
                  </a:lnTo>
                  <a:lnTo>
                    <a:pt x="2280" y="2484"/>
                  </a:lnTo>
                  <a:lnTo>
                    <a:pt x="2259" y="2450"/>
                  </a:lnTo>
                  <a:lnTo>
                    <a:pt x="2245" y="2412"/>
                  </a:lnTo>
                  <a:lnTo>
                    <a:pt x="2242" y="2372"/>
                  </a:lnTo>
                  <a:lnTo>
                    <a:pt x="2242" y="2147"/>
                  </a:lnTo>
                  <a:lnTo>
                    <a:pt x="2245" y="2107"/>
                  </a:lnTo>
                  <a:lnTo>
                    <a:pt x="2259" y="2070"/>
                  </a:lnTo>
                  <a:lnTo>
                    <a:pt x="2280" y="2037"/>
                  </a:lnTo>
                  <a:lnTo>
                    <a:pt x="2308" y="2009"/>
                  </a:lnTo>
                  <a:lnTo>
                    <a:pt x="2341" y="1988"/>
                  </a:lnTo>
                  <a:lnTo>
                    <a:pt x="2378" y="1974"/>
                  </a:lnTo>
                  <a:lnTo>
                    <a:pt x="2420" y="1969"/>
                  </a:lnTo>
                  <a:close/>
                  <a:moveTo>
                    <a:pt x="1714" y="1969"/>
                  </a:moveTo>
                  <a:lnTo>
                    <a:pt x="1913" y="1969"/>
                  </a:lnTo>
                  <a:lnTo>
                    <a:pt x="1955" y="1974"/>
                  </a:lnTo>
                  <a:lnTo>
                    <a:pt x="1992" y="1988"/>
                  </a:lnTo>
                  <a:lnTo>
                    <a:pt x="2025" y="2009"/>
                  </a:lnTo>
                  <a:lnTo>
                    <a:pt x="2053" y="2037"/>
                  </a:lnTo>
                  <a:lnTo>
                    <a:pt x="2074" y="2070"/>
                  </a:lnTo>
                  <a:lnTo>
                    <a:pt x="2088" y="2107"/>
                  </a:lnTo>
                  <a:lnTo>
                    <a:pt x="2091" y="2147"/>
                  </a:lnTo>
                  <a:lnTo>
                    <a:pt x="2091" y="2372"/>
                  </a:lnTo>
                  <a:lnTo>
                    <a:pt x="2088" y="2412"/>
                  </a:lnTo>
                  <a:lnTo>
                    <a:pt x="2074" y="2450"/>
                  </a:lnTo>
                  <a:lnTo>
                    <a:pt x="2053" y="2484"/>
                  </a:lnTo>
                  <a:lnTo>
                    <a:pt x="2025" y="2510"/>
                  </a:lnTo>
                  <a:lnTo>
                    <a:pt x="1992" y="2531"/>
                  </a:lnTo>
                  <a:lnTo>
                    <a:pt x="1955" y="2545"/>
                  </a:lnTo>
                  <a:lnTo>
                    <a:pt x="1913" y="2550"/>
                  </a:lnTo>
                  <a:lnTo>
                    <a:pt x="1714" y="2550"/>
                  </a:lnTo>
                  <a:lnTo>
                    <a:pt x="1674" y="2545"/>
                  </a:lnTo>
                  <a:lnTo>
                    <a:pt x="1636" y="2531"/>
                  </a:lnTo>
                  <a:lnTo>
                    <a:pt x="1603" y="2510"/>
                  </a:lnTo>
                  <a:lnTo>
                    <a:pt x="1575" y="2484"/>
                  </a:lnTo>
                  <a:lnTo>
                    <a:pt x="1554" y="2450"/>
                  </a:lnTo>
                  <a:lnTo>
                    <a:pt x="1541" y="2412"/>
                  </a:lnTo>
                  <a:lnTo>
                    <a:pt x="1536" y="2372"/>
                  </a:lnTo>
                  <a:lnTo>
                    <a:pt x="1536" y="2147"/>
                  </a:lnTo>
                  <a:lnTo>
                    <a:pt x="1541" y="2107"/>
                  </a:lnTo>
                  <a:lnTo>
                    <a:pt x="1554" y="2070"/>
                  </a:lnTo>
                  <a:lnTo>
                    <a:pt x="1575" y="2037"/>
                  </a:lnTo>
                  <a:lnTo>
                    <a:pt x="1603" y="2009"/>
                  </a:lnTo>
                  <a:lnTo>
                    <a:pt x="1636" y="1988"/>
                  </a:lnTo>
                  <a:lnTo>
                    <a:pt x="1674" y="1974"/>
                  </a:lnTo>
                  <a:lnTo>
                    <a:pt x="1714" y="1969"/>
                  </a:lnTo>
                  <a:close/>
                  <a:moveTo>
                    <a:pt x="4253" y="1590"/>
                  </a:moveTo>
                  <a:lnTo>
                    <a:pt x="4237" y="1595"/>
                  </a:lnTo>
                  <a:lnTo>
                    <a:pt x="4225" y="1606"/>
                  </a:lnTo>
                  <a:lnTo>
                    <a:pt x="4221" y="1621"/>
                  </a:lnTo>
                  <a:lnTo>
                    <a:pt x="4221" y="1846"/>
                  </a:lnTo>
                  <a:lnTo>
                    <a:pt x="4225" y="1862"/>
                  </a:lnTo>
                  <a:lnTo>
                    <a:pt x="4237" y="1873"/>
                  </a:lnTo>
                  <a:lnTo>
                    <a:pt x="4253" y="1878"/>
                  </a:lnTo>
                  <a:lnTo>
                    <a:pt x="4452" y="1878"/>
                  </a:lnTo>
                  <a:lnTo>
                    <a:pt x="4467" y="1873"/>
                  </a:lnTo>
                  <a:lnTo>
                    <a:pt x="4478" y="1862"/>
                  </a:lnTo>
                  <a:lnTo>
                    <a:pt x="4483" y="1846"/>
                  </a:lnTo>
                  <a:lnTo>
                    <a:pt x="4483" y="1621"/>
                  </a:lnTo>
                  <a:lnTo>
                    <a:pt x="4478" y="1606"/>
                  </a:lnTo>
                  <a:lnTo>
                    <a:pt x="4467" y="1595"/>
                  </a:lnTo>
                  <a:lnTo>
                    <a:pt x="4452" y="1590"/>
                  </a:lnTo>
                  <a:lnTo>
                    <a:pt x="4253" y="1590"/>
                  </a:lnTo>
                  <a:close/>
                  <a:moveTo>
                    <a:pt x="3565" y="1590"/>
                  </a:moveTo>
                  <a:lnTo>
                    <a:pt x="3549" y="1595"/>
                  </a:lnTo>
                  <a:lnTo>
                    <a:pt x="3539" y="1606"/>
                  </a:lnTo>
                  <a:lnTo>
                    <a:pt x="3533" y="1621"/>
                  </a:lnTo>
                  <a:lnTo>
                    <a:pt x="3533" y="1846"/>
                  </a:lnTo>
                  <a:lnTo>
                    <a:pt x="3539" y="1862"/>
                  </a:lnTo>
                  <a:lnTo>
                    <a:pt x="3549" y="1873"/>
                  </a:lnTo>
                  <a:lnTo>
                    <a:pt x="3565" y="1878"/>
                  </a:lnTo>
                  <a:lnTo>
                    <a:pt x="3764" y="1878"/>
                  </a:lnTo>
                  <a:lnTo>
                    <a:pt x="3780" y="1873"/>
                  </a:lnTo>
                  <a:lnTo>
                    <a:pt x="3792" y="1862"/>
                  </a:lnTo>
                  <a:lnTo>
                    <a:pt x="3795" y="1846"/>
                  </a:lnTo>
                  <a:lnTo>
                    <a:pt x="3795" y="1621"/>
                  </a:lnTo>
                  <a:lnTo>
                    <a:pt x="3792" y="1606"/>
                  </a:lnTo>
                  <a:lnTo>
                    <a:pt x="3780" y="1595"/>
                  </a:lnTo>
                  <a:lnTo>
                    <a:pt x="3764" y="1590"/>
                  </a:lnTo>
                  <a:lnTo>
                    <a:pt x="3565" y="1590"/>
                  </a:lnTo>
                  <a:close/>
                  <a:moveTo>
                    <a:pt x="4253" y="1443"/>
                  </a:moveTo>
                  <a:lnTo>
                    <a:pt x="4452" y="1443"/>
                  </a:lnTo>
                  <a:lnTo>
                    <a:pt x="4492" y="1448"/>
                  </a:lnTo>
                  <a:lnTo>
                    <a:pt x="4530" y="1462"/>
                  </a:lnTo>
                  <a:lnTo>
                    <a:pt x="4563" y="1483"/>
                  </a:lnTo>
                  <a:lnTo>
                    <a:pt x="4591" y="1510"/>
                  </a:lnTo>
                  <a:lnTo>
                    <a:pt x="4612" y="1543"/>
                  </a:lnTo>
                  <a:lnTo>
                    <a:pt x="4624" y="1581"/>
                  </a:lnTo>
                  <a:lnTo>
                    <a:pt x="4630" y="1621"/>
                  </a:lnTo>
                  <a:lnTo>
                    <a:pt x="4630" y="1846"/>
                  </a:lnTo>
                  <a:lnTo>
                    <a:pt x="4624" y="1887"/>
                  </a:lnTo>
                  <a:lnTo>
                    <a:pt x="4612" y="1923"/>
                  </a:lnTo>
                  <a:lnTo>
                    <a:pt x="4591" y="1956"/>
                  </a:lnTo>
                  <a:lnTo>
                    <a:pt x="4563" y="1984"/>
                  </a:lnTo>
                  <a:lnTo>
                    <a:pt x="4530" y="2005"/>
                  </a:lnTo>
                  <a:lnTo>
                    <a:pt x="4492" y="2019"/>
                  </a:lnTo>
                  <a:lnTo>
                    <a:pt x="4452" y="2024"/>
                  </a:lnTo>
                  <a:lnTo>
                    <a:pt x="4253" y="2024"/>
                  </a:lnTo>
                  <a:lnTo>
                    <a:pt x="4211" y="2019"/>
                  </a:lnTo>
                  <a:lnTo>
                    <a:pt x="4174" y="2005"/>
                  </a:lnTo>
                  <a:lnTo>
                    <a:pt x="4141" y="1984"/>
                  </a:lnTo>
                  <a:lnTo>
                    <a:pt x="4113" y="1956"/>
                  </a:lnTo>
                  <a:lnTo>
                    <a:pt x="4092" y="1923"/>
                  </a:lnTo>
                  <a:lnTo>
                    <a:pt x="4078" y="1887"/>
                  </a:lnTo>
                  <a:lnTo>
                    <a:pt x="4075" y="1846"/>
                  </a:lnTo>
                  <a:lnTo>
                    <a:pt x="4075" y="1621"/>
                  </a:lnTo>
                  <a:lnTo>
                    <a:pt x="4078" y="1581"/>
                  </a:lnTo>
                  <a:lnTo>
                    <a:pt x="4092" y="1543"/>
                  </a:lnTo>
                  <a:lnTo>
                    <a:pt x="4113" y="1510"/>
                  </a:lnTo>
                  <a:lnTo>
                    <a:pt x="4141" y="1483"/>
                  </a:lnTo>
                  <a:lnTo>
                    <a:pt x="4174" y="1462"/>
                  </a:lnTo>
                  <a:lnTo>
                    <a:pt x="4211" y="1448"/>
                  </a:lnTo>
                  <a:lnTo>
                    <a:pt x="4253" y="1443"/>
                  </a:lnTo>
                  <a:close/>
                  <a:moveTo>
                    <a:pt x="3565" y="1443"/>
                  </a:moveTo>
                  <a:lnTo>
                    <a:pt x="3764" y="1443"/>
                  </a:lnTo>
                  <a:lnTo>
                    <a:pt x="3806" y="1448"/>
                  </a:lnTo>
                  <a:lnTo>
                    <a:pt x="3842" y="1462"/>
                  </a:lnTo>
                  <a:lnTo>
                    <a:pt x="3876" y="1483"/>
                  </a:lnTo>
                  <a:lnTo>
                    <a:pt x="3903" y="1510"/>
                  </a:lnTo>
                  <a:lnTo>
                    <a:pt x="3924" y="1543"/>
                  </a:lnTo>
                  <a:lnTo>
                    <a:pt x="3938" y="1581"/>
                  </a:lnTo>
                  <a:lnTo>
                    <a:pt x="3944" y="1621"/>
                  </a:lnTo>
                  <a:lnTo>
                    <a:pt x="3944" y="1846"/>
                  </a:lnTo>
                  <a:lnTo>
                    <a:pt x="3938" y="1887"/>
                  </a:lnTo>
                  <a:lnTo>
                    <a:pt x="3924" y="1923"/>
                  </a:lnTo>
                  <a:lnTo>
                    <a:pt x="3903" y="1956"/>
                  </a:lnTo>
                  <a:lnTo>
                    <a:pt x="3876" y="1984"/>
                  </a:lnTo>
                  <a:lnTo>
                    <a:pt x="3842" y="2005"/>
                  </a:lnTo>
                  <a:lnTo>
                    <a:pt x="3806" y="2019"/>
                  </a:lnTo>
                  <a:lnTo>
                    <a:pt x="3764" y="2024"/>
                  </a:lnTo>
                  <a:lnTo>
                    <a:pt x="3565" y="2024"/>
                  </a:lnTo>
                  <a:lnTo>
                    <a:pt x="3525" y="2019"/>
                  </a:lnTo>
                  <a:lnTo>
                    <a:pt x="3486" y="2005"/>
                  </a:lnTo>
                  <a:lnTo>
                    <a:pt x="3455" y="1984"/>
                  </a:lnTo>
                  <a:lnTo>
                    <a:pt x="3427" y="1956"/>
                  </a:lnTo>
                  <a:lnTo>
                    <a:pt x="3406" y="1923"/>
                  </a:lnTo>
                  <a:lnTo>
                    <a:pt x="3392" y="1887"/>
                  </a:lnTo>
                  <a:lnTo>
                    <a:pt x="3387" y="1846"/>
                  </a:lnTo>
                  <a:lnTo>
                    <a:pt x="3387" y="1621"/>
                  </a:lnTo>
                  <a:lnTo>
                    <a:pt x="3392" y="1581"/>
                  </a:lnTo>
                  <a:lnTo>
                    <a:pt x="3406" y="1543"/>
                  </a:lnTo>
                  <a:lnTo>
                    <a:pt x="3427" y="1510"/>
                  </a:lnTo>
                  <a:lnTo>
                    <a:pt x="3455" y="1483"/>
                  </a:lnTo>
                  <a:lnTo>
                    <a:pt x="3486" y="1462"/>
                  </a:lnTo>
                  <a:lnTo>
                    <a:pt x="3525" y="1448"/>
                  </a:lnTo>
                  <a:lnTo>
                    <a:pt x="3565" y="1443"/>
                  </a:lnTo>
                  <a:close/>
                  <a:moveTo>
                    <a:pt x="1714" y="1352"/>
                  </a:moveTo>
                  <a:lnTo>
                    <a:pt x="1699" y="1356"/>
                  </a:lnTo>
                  <a:lnTo>
                    <a:pt x="1688" y="1368"/>
                  </a:lnTo>
                  <a:lnTo>
                    <a:pt x="1683" y="1384"/>
                  </a:lnTo>
                  <a:lnTo>
                    <a:pt x="1683" y="1607"/>
                  </a:lnTo>
                  <a:lnTo>
                    <a:pt x="1688" y="1623"/>
                  </a:lnTo>
                  <a:lnTo>
                    <a:pt x="1699" y="1633"/>
                  </a:lnTo>
                  <a:lnTo>
                    <a:pt x="1714" y="1639"/>
                  </a:lnTo>
                  <a:lnTo>
                    <a:pt x="1913" y="1639"/>
                  </a:lnTo>
                  <a:lnTo>
                    <a:pt x="1929" y="1633"/>
                  </a:lnTo>
                  <a:lnTo>
                    <a:pt x="1941" y="1623"/>
                  </a:lnTo>
                  <a:lnTo>
                    <a:pt x="1945" y="1607"/>
                  </a:lnTo>
                  <a:lnTo>
                    <a:pt x="1945" y="1384"/>
                  </a:lnTo>
                  <a:lnTo>
                    <a:pt x="1941" y="1368"/>
                  </a:lnTo>
                  <a:lnTo>
                    <a:pt x="1929" y="1356"/>
                  </a:lnTo>
                  <a:lnTo>
                    <a:pt x="1913" y="1352"/>
                  </a:lnTo>
                  <a:lnTo>
                    <a:pt x="1714" y="1352"/>
                  </a:lnTo>
                  <a:close/>
                  <a:moveTo>
                    <a:pt x="3219" y="1244"/>
                  </a:moveTo>
                  <a:lnTo>
                    <a:pt x="3184" y="1248"/>
                  </a:lnTo>
                  <a:lnTo>
                    <a:pt x="3153" y="1262"/>
                  </a:lnTo>
                  <a:lnTo>
                    <a:pt x="3127" y="1283"/>
                  </a:lnTo>
                  <a:lnTo>
                    <a:pt x="3106" y="1309"/>
                  </a:lnTo>
                  <a:lnTo>
                    <a:pt x="3092" y="1342"/>
                  </a:lnTo>
                  <a:lnTo>
                    <a:pt x="3086" y="1377"/>
                  </a:lnTo>
                  <a:lnTo>
                    <a:pt x="3086" y="1716"/>
                  </a:lnTo>
                  <a:lnTo>
                    <a:pt x="3086" y="1717"/>
                  </a:lnTo>
                  <a:lnTo>
                    <a:pt x="3086" y="1719"/>
                  </a:lnTo>
                  <a:lnTo>
                    <a:pt x="3568" y="2199"/>
                  </a:lnTo>
                  <a:lnTo>
                    <a:pt x="3764" y="2199"/>
                  </a:lnTo>
                  <a:lnTo>
                    <a:pt x="3806" y="2204"/>
                  </a:lnTo>
                  <a:lnTo>
                    <a:pt x="3842" y="2218"/>
                  </a:lnTo>
                  <a:lnTo>
                    <a:pt x="3876" y="2239"/>
                  </a:lnTo>
                  <a:lnTo>
                    <a:pt x="3903" y="2267"/>
                  </a:lnTo>
                  <a:lnTo>
                    <a:pt x="3924" y="2299"/>
                  </a:lnTo>
                  <a:lnTo>
                    <a:pt x="3938" y="2337"/>
                  </a:lnTo>
                  <a:lnTo>
                    <a:pt x="3944" y="2377"/>
                  </a:lnTo>
                  <a:lnTo>
                    <a:pt x="3944" y="2602"/>
                  </a:lnTo>
                  <a:lnTo>
                    <a:pt x="3937" y="2646"/>
                  </a:lnTo>
                  <a:lnTo>
                    <a:pt x="3923" y="2684"/>
                  </a:lnTo>
                  <a:lnTo>
                    <a:pt x="3898" y="2719"/>
                  </a:lnTo>
                  <a:lnTo>
                    <a:pt x="3867" y="2747"/>
                  </a:lnTo>
                  <a:lnTo>
                    <a:pt x="3830" y="2766"/>
                  </a:lnTo>
                  <a:lnTo>
                    <a:pt x="3788" y="2777"/>
                  </a:lnTo>
                  <a:lnTo>
                    <a:pt x="3788" y="4829"/>
                  </a:lnTo>
                  <a:lnTo>
                    <a:pt x="4820" y="4829"/>
                  </a:lnTo>
                  <a:lnTo>
                    <a:pt x="4855" y="4824"/>
                  </a:lnTo>
                  <a:lnTo>
                    <a:pt x="4888" y="4812"/>
                  </a:lnTo>
                  <a:lnTo>
                    <a:pt x="4914" y="4791"/>
                  </a:lnTo>
                  <a:lnTo>
                    <a:pt x="4935" y="4763"/>
                  </a:lnTo>
                  <a:lnTo>
                    <a:pt x="4949" y="4732"/>
                  </a:lnTo>
                  <a:lnTo>
                    <a:pt x="4953" y="4697"/>
                  </a:lnTo>
                  <a:lnTo>
                    <a:pt x="4953" y="1377"/>
                  </a:lnTo>
                  <a:lnTo>
                    <a:pt x="4949" y="1342"/>
                  </a:lnTo>
                  <a:lnTo>
                    <a:pt x="4935" y="1309"/>
                  </a:lnTo>
                  <a:lnTo>
                    <a:pt x="4914" y="1283"/>
                  </a:lnTo>
                  <a:lnTo>
                    <a:pt x="4888" y="1262"/>
                  </a:lnTo>
                  <a:lnTo>
                    <a:pt x="4855" y="1248"/>
                  </a:lnTo>
                  <a:lnTo>
                    <a:pt x="4820" y="1244"/>
                  </a:lnTo>
                  <a:lnTo>
                    <a:pt x="3219" y="1244"/>
                  </a:lnTo>
                  <a:close/>
                  <a:moveTo>
                    <a:pt x="1714" y="1206"/>
                  </a:moveTo>
                  <a:lnTo>
                    <a:pt x="1913" y="1206"/>
                  </a:lnTo>
                  <a:lnTo>
                    <a:pt x="1955" y="1209"/>
                  </a:lnTo>
                  <a:lnTo>
                    <a:pt x="1992" y="1223"/>
                  </a:lnTo>
                  <a:lnTo>
                    <a:pt x="2025" y="1244"/>
                  </a:lnTo>
                  <a:lnTo>
                    <a:pt x="2053" y="1272"/>
                  </a:lnTo>
                  <a:lnTo>
                    <a:pt x="2074" y="1305"/>
                  </a:lnTo>
                  <a:lnTo>
                    <a:pt x="2088" y="1342"/>
                  </a:lnTo>
                  <a:lnTo>
                    <a:pt x="2091" y="1384"/>
                  </a:lnTo>
                  <a:lnTo>
                    <a:pt x="2091" y="1607"/>
                  </a:lnTo>
                  <a:lnTo>
                    <a:pt x="2088" y="1647"/>
                  </a:lnTo>
                  <a:lnTo>
                    <a:pt x="2074" y="1686"/>
                  </a:lnTo>
                  <a:lnTo>
                    <a:pt x="2053" y="1719"/>
                  </a:lnTo>
                  <a:lnTo>
                    <a:pt x="2025" y="1747"/>
                  </a:lnTo>
                  <a:lnTo>
                    <a:pt x="1992" y="1768"/>
                  </a:lnTo>
                  <a:lnTo>
                    <a:pt x="1955" y="1780"/>
                  </a:lnTo>
                  <a:lnTo>
                    <a:pt x="1913" y="1785"/>
                  </a:lnTo>
                  <a:lnTo>
                    <a:pt x="1714" y="1785"/>
                  </a:lnTo>
                  <a:lnTo>
                    <a:pt x="1674" y="1780"/>
                  </a:lnTo>
                  <a:lnTo>
                    <a:pt x="1636" y="1768"/>
                  </a:lnTo>
                  <a:lnTo>
                    <a:pt x="1603" y="1747"/>
                  </a:lnTo>
                  <a:lnTo>
                    <a:pt x="1575" y="1719"/>
                  </a:lnTo>
                  <a:lnTo>
                    <a:pt x="1554" y="1686"/>
                  </a:lnTo>
                  <a:lnTo>
                    <a:pt x="1541" y="1647"/>
                  </a:lnTo>
                  <a:lnTo>
                    <a:pt x="1536" y="1607"/>
                  </a:lnTo>
                  <a:lnTo>
                    <a:pt x="1536" y="1384"/>
                  </a:lnTo>
                  <a:lnTo>
                    <a:pt x="1541" y="1342"/>
                  </a:lnTo>
                  <a:lnTo>
                    <a:pt x="1554" y="1305"/>
                  </a:lnTo>
                  <a:lnTo>
                    <a:pt x="1575" y="1272"/>
                  </a:lnTo>
                  <a:lnTo>
                    <a:pt x="1603" y="1244"/>
                  </a:lnTo>
                  <a:lnTo>
                    <a:pt x="1636" y="1223"/>
                  </a:lnTo>
                  <a:lnTo>
                    <a:pt x="1674" y="1209"/>
                  </a:lnTo>
                  <a:lnTo>
                    <a:pt x="1714" y="1206"/>
                  </a:lnTo>
                  <a:close/>
                  <a:moveTo>
                    <a:pt x="1335" y="223"/>
                  </a:moveTo>
                  <a:lnTo>
                    <a:pt x="1323" y="256"/>
                  </a:lnTo>
                  <a:lnTo>
                    <a:pt x="1316" y="289"/>
                  </a:lnTo>
                  <a:lnTo>
                    <a:pt x="1315" y="324"/>
                  </a:lnTo>
                  <a:lnTo>
                    <a:pt x="1315" y="5334"/>
                  </a:lnTo>
                  <a:lnTo>
                    <a:pt x="1318" y="5383"/>
                  </a:lnTo>
                  <a:lnTo>
                    <a:pt x="1334" y="5430"/>
                  </a:lnTo>
                  <a:lnTo>
                    <a:pt x="1356" y="5472"/>
                  </a:lnTo>
                  <a:lnTo>
                    <a:pt x="1386" y="5508"/>
                  </a:lnTo>
                  <a:lnTo>
                    <a:pt x="1423" y="5538"/>
                  </a:lnTo>
                  <a:lnTo>
                    <a:pt x="1465" y="5561"/>
                  </a:lnTo>
                  <a:lnTo>
                    <a:pt x="1510" y="5575"/>
                  </a:lnTo>
                  <a:lnTo>
                    <a:pt x="1561" y="5580"/>
                  </a:lnTo>
                  <a:lnTo>
                    <a:pt x="3364" y="5580"/>
                  </a:lnTo>
                  <a:lnTo>
                    <a:pt x="3415" y="5575"/>
                  </a:lnTo>
                  <a:lnTo>
                    <a:pt x="3460" y="5561"/>
                  </a:lnTo>
                  <a:lnTo>
                    <a:pt x="3502" y="5538"/>
                  </a:lnTo>
                  <a:lnTo>
                    <a:pt x="3539" y="5508"/>
                  </a:lnTo>
                  <a:lnTo>
                    <a:pt x="3568" y="5472"/>
                  </a:lnTo>
                  <a:lnTo>
                    <a:pt x="3593" y="5430"/>
                  </a:lnTo>
                  <a:lnTo>
                    <a:pt x="3607" y="5383"/>
                  </a:lnTo>
                  <a:lnTo>
                    <a:pt x="3612" y="5334"/>
                  </a:lnTo>
                  <a:lnTo>
                    <a:pt x="3612" y="2595"/>
                  </a:lnTo>
                  <a:lnTo>
                    <a:pt x="3607" y="2546"/>
                  </a:lnTo>
                  <a:lnTo>
                    <a:pt x="3593" y="2501"/>
                  </a:lnTo>
                  <a:lnTo>
                    <a:pt x="3570" y="2457"/>
                  </a:lnTo>
                  <a:lnTo>
                    <a:pt x="3539" y="2421"/>
                  </a:lnTo>
                  <a:lnTo>
                    <a:pt x="3469" y="2351"/>
                  </a:lnTo>
                  <a:lnTo>
                    <a:pt x="3462" y="2346"/>
                  </a:lnTo>
                  <a:lnTo>
                    <a:pt x="3453" y="2339"/>
                  </a:lnTo>
                  <a:lnTo>
                    <a:pt x="3446" y="2330"/>
                  </a:lnTo>
                  <a:lnTo>
                    <a:pt x="3446" y="2328"/>
                  </a:lnTo>
                  <a:lnTo>
                    <a:pt x="1335" y="223"/>
                  </a:lnTo>
                  <a:close/>
                  <a:moveTo>
                    <a:pt x="1337" y="0"/>
                  </a:moveTo>
                  <a:lnTo>
                    <a:pt x="1363" y="7"/>
                  </a:lnTo>
                  <a:lnTo>
                    <a:pt x="1386" y="24"/>
                  </a:lnTo>
                  <a:lnTo>
                    <a:pt x="2908" y="1541"/>
                  </a:lnTo>
                  <a:lnTo>
                    <a:pt x="2908" y="1377"/>
                  </a:lnTo>
                  <a:lnTo>
                    <a:pt x="2914" y="1321"/>
                  </a:lnTo>
                  <a:lnTo>
                    <a:pt x="2929" y="1269"/>
                  </a:lnTo>
                  <a:lnTo>
                    <a:pt x="2952" y="1220"/>
                  </a:lnTo>
                  <a:lnTo>
                    <a:pt x="2982" y="1176"/>
                  </a:lnTo>
                  <a:lnTo>
                    <a:pt x="3020" y="1140"/>
                  </a:lnTo>
                  <a:lnTo>
                    <a:pt x="3064" y="1108"/>
                  </a:lnTo>
                  <a:lnTo>
                    <a:pt x="3111" y="1085"/>
                  </a:lnTo>
                  <a:lnTo>
                    <a:pt x="3163" y="1071"/>
                  </a:lnTo>
                  <a:lnTo>
                    <a:pt x="3219" y="1066"/>
                  </a:lnTo>
                  <a:lnTo>
                    <a:pt x="4820" y="1066"/>
                  </a:lnTo>
                  <a:lnTo>
                    <a:pt x="4876" y="1071"/>
                  </a:lnTo>
                  <a:lnTo>
                    <a:pt x="4928" y="1085"/>
                  </a:lnTo>
                  <a:lnTo>
                    <a:pt x="4977" y="1108"/>
                  </a:lnTo>
                  <a:lnTo>
                    <a:pt x="5021" y="1140"/>
                  </a:lnTo>
                  <a:lnTo>
                    <a:pt x="5057" y="1176"/>
                  </a:lnTo>
                  <a:lnTo>
                    <a:pt x="5089" y="1220"/>
                  </a:lnTo>
                  <a:lnTo>
                    <a:pt x="5112" y="1269"/>
                  </a:lnTo>
                  <a:lnTo>
                    <a:pt x="5126" y="1321"/>
                  </a:lnTo>
                  <a:lnTo>
                    <a:pt x="5131" y="1377"/>
                  </a:lnTo>
                  <a:lnTo>
                    <a:pt x="5131" y="4697"/>
                  </a:lnTo>
                  <a:lnTo>
                    <a:pt x="5126" y="4753"/>
                  </a:lnTo>
                  <a:lnTo>
                    <a:pt x="5112" y="4805"/>
                  </a:lnTo>
                  <a:lnTo>
                    <a:pt x="5089" y="4854"/>
                  </a:lnTo>
                  <a:lnTo>
                    <a:pt x="5057" y="4896"/>
                  </a:lnTo>
                  <a:lnTo>
                    <a:pt x="5021" y="4934"/>
                  </a:lnTo>
                  <a:lnTo>
                    <a:pt x="4977" y="4966"/>
                  </a:lnTo>
                  <a:lnTo>
                    <a:pt x="4928" y="4988"/>
                  </a:lnTo>
                  <a:lnTo>
                    <a:pt x="4876" y="5002"/>
                  </a:lnTo>
                  <a:lnTo>
                    <a:pt x="4820" y="5007"/>
                  </a:lnTo>
                  <a:lnTo>
                    <a:pt x="3788" y="5007"/>
                  </a:lnTo>
                  <a:lnTo>
                    <a:pt x="3788" y="5334"/>
                  </a:lnTo>
                  <a:lnTo>
                    <a:pt x="3785" y="5397"/>
                  </a:lnTo>
                  <a:lnTo>
                    <a:pt x="3771" y="5456"/>
                  </a:lnTo>
                  <a:lnTo>
                    <a:pt x="3750" y="5512"/>
                  </a:lnTo>
                  <a:lnTo>
                    <a:pt x="3720" y="5564"/>
                  </a:lnTo>
                  <a:lnTo>
                    <a:pt x="3685" y="5611"/>
                  </a:lnTo>
                  <a:lnTo>
                    <a:pt x="3643" y="5653"/>
                  </a:lnTo>
                  <a:lnTo>
                    <a:pt x="3596" y="5690"/>
                  </a:lnTo>
                  <a:lnTo>
                    <a:pt x="3544" y="5718"/>
                  </a:lnTo>
                  <a:lnTo>
                    <a:pt x="3486" y="5741"/>
                  </a:lnTo>
                  <a:lnTo>
                    <a:pt x="3427" y="5753"/>
                  </a:lnTo>
                  <a:lnTo>
                    <a:pt x="3364" y="5758"/>
                  </a:lnTo>
                  <a:lnTo>
                    <a:pt x="1561" y="5758"/>
                  </a:lnTo>
                  <a:lnTo>
                    <a:pt x="1498" y="5753"/>
                  </a:lnTo>
                  <a:lnTo>
                    <a:pt x="1438" y="5741"/>
                  </a:lnTo>
                  <a:lnTo>
                    <a:pt x="1381" y="5718"/>
                  </a:lnTo>
                  <a:lnTo>
                    <a:pt x="1330" y="5690"/>
                  </a:lnTo>
                  <a:lnTo>
                    <a:pt x="1281" y="5653"/>
                  </a:lnTo>
                  <a:lnTo>
                    <a:pt x="1239" y="5611"/>
                  </a:lnTo>
                  <a:lnTo>
                    <a:pt x="1205" y="5564"/>
                  </a:lnTo>
                  <a:lnTo>
                    <a:pt x="1175" y="5512"/>
                  </a:lnTo>
                  <a:lnTo>
                    <a:pt x="1154" y="5456"/>
                  </a:lnTo>
                  <a:lnTo>
                    <a:pt x="1140" y="5397"/>
                  </a:lnTo>
                  <a:lnTo>
                    <a:pt x="1136" y="5334"/>
                  </a:lnTo>
                  <a:lnTo>
                    <a:pt x="1136" y="3808"/>
                  </a:lnTo>
                  <a:lnTo>
                    <a:pt x="1114" y="3814"/>
                  </a:lnTo>
                  <a:lnTo>
                    <a:pt x="1091" y="3814"/>
                  </a:lnTo>
                  <a:lnTo>
                    <a:pt x="199" y="3814"/>
                  </a:lnTo>
                  <a:lnTo>
                    <a:pt x="154" y="3808"/>
                  </a:lnTo>
                  <a:lnTo>
                    <a:pt x="112" y="3794"/>
                  </a:lnTo>
                  <a:lnTo>
                    <a:pt x="75" y="3770"/>
                  </a:lnTo>
                  <a:lnTo>
                    <a:pt x="44" y="3740"/>
                  </a:lnTo>
                  <a:lnTo>
                    <a:pt x="19" y="3702"/>
                  </a:lnTo>
                  <a:lnTo>
                    <a:pt x="5" y="3660"/>
                  </a:lnTo>
                  <a:lnTo>
                    <a:pt x="0" y="3615"/>
                  </a:lnTo>
                  <a:lnTo>
                    <a:pt x="0" y="2052"/>
                  </a:lnTo>
                  <a:lnTo>
                    <a:pt x="5" y="2007"/>
                  </a:lnTo>
                  <a:lnTo>
                    <a:pt x="19" y="1965"/>
                  </a:lnTo>
                  <a:lnTo>
                    <a:pt x="44" y="1928"/>
                  </a:lnTo>
                  <a:lnTo>
                    <a:pt x="75" y="1897"/>
                  </a:lnTo>
                  <a:lnTo>
                    <a:pt x="112" y="1874"/>
                  </a:lnTo>
                  <a:lnTo>
                    <a:pt x="154" y="1859"/>
                  </a:lnTo>
                  <a:lnTo>
                    <a:pt x="199" y="1853"/>
                  </a:lnTo>
                  <a:lnTo>
                    <a:pt x="1091" y="1853"/>
                  </a:lnTo>
                  <a:lnTo>
                    <a:pt x="1114" y="1855"/>
                  </a:lnTo>
                  <a:lnTo>
                    <a:pt x="1136" y="1859"/>
                  </a:lnTo>
                  <a:lnTo>
                    <a:pt x="1136" y="324"/>
                  </a:lnTo>
                  <a:lnTo>
                    <a:pt x="1140" y="269"/>
                  </a:lnTo>
                  <a:lnTo>
                    <a:pt x="1150" y="214"/>
                  </a:lnTo>
                  <a:lnTo>
                    <a:pt x="1168" y="162"/>
                  </a:lnTo>
                  <a:lnTo>
                    <a:pt x="1192" y="113"/>
                  </a:lnTo>
                  <a:lnTo>
                    <a:pt x="1224" y="66"/>
                  </a:lnTo>
                  <a:lnTo>
                    <a:pt x="1260" y="24"/>
                  </a:lnTo>
                  <a:lnTo>
                    <a:pt x="1283" y="7"/>
                  </a:lnTo>
                  <a:lnTo>
                    <a:pt x="1309" y="0"/>
                  </a:lnTo>
                  <a:lnTo>
                    <a:pt x="1337"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Calibri Light"/>
                <a:ea typeface="+mn-ea"/>
                <a:cs typeface="+mn-cs"/>
              </a:endParaRPr>
            </a:p>
          </p:txBody>
        </p:sp>
        <p:sp>
          <p:nvSpPr>
            <p:cNvPr id="134" name="Rectangle 133">
              <a:extLst>
                <a:ext uri="{FF2B5EF4-FFF2-40B4-BE49-F238E27FC236}">
                  <a16:creationId xmlns:a16="http://schemas.microsoft.com/office/drawing/2014/main" id="{A3B48F8C-1641-497A-97A1-6DEDE554F7E4}"/>
                </a:ext>
              </a:extLst>
            </p:cNvPr>
            <p:cNvSpPr/>
            <p:nvPr/>
          </p:nvSpPr>
          <p:spPr>
            <a:xfrm>
              <a:off x="4362056" y="3020775"/>
              <a:ext cx="861381" cy="231236"/>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Light"/>
                <a:ea typeface="+mn-ea"/>
                <a:cs typeface="+mn-cs"/>
              </a:endParaRPr>
            </a:p>
          </p:txBody>
        </p:sp>
        <p:sp>
          <p:nvSpPr>
            <p:cNvPr id="135" name="Freeform 5">
              <a:extLst>
                <a:ext uri="{FF2B5EF4-FFF2-40B4-BE49-F238E27FC236}">
                  <a16:creationId xmlns:a16="http://schemas.microsoft.com/office/drawing/2014/main" id="{57339479-E039-4D12-883D-B746B04A8E00}"/>
                </a:ext>
              </a:extLst>
            </p:cNvPr>
            <p:cNvSpPr>
              <a:spLocks noChangeAspect="1" noEditPoints="1"/>
            </p:cNvSpPr>
            <p:nvPr/>
          </p:nvSpPr>
          <p:spPr bwMode="auto">
            <a:xfrm>
              <a:off x="4734724" y="2733462"/>
              <a:ext cx="324701" cy="201238"/>
            </a:xfrm>
            <a:custGeom>
              <a:avLst/>
              <a:gdLst>
                <a:gd name="T0" fmla="*/ 4464 w 4799"/>
                <a:gd name="T1" fmla="*/ 2830 h 2963"/>
                <a:gd name="T2" fmla="*/ 2017 w 4799"/>
                <a:gd name="T3" fmla="*/ 2548 h 2963"/>
                <a:gd name="T4" fmla="*/ 2305 w 4799"/>
                <a:gd name="T5" fmla="*/ 2267 h 2963"/>
                <a:gd name="T6" fmla="*/ 2373 w 4799"/>
                <a:gd name="T7" fmla="*/ 2196 h 2963"/>
                <a:gd name="T8" fmla="*/ 3685 w 4799"/>
                <a:gd name="T9" fmla="*/ 1968 h 2963"/>
                <a:gd name="T10" fmla="*/ 3773 w 4799"/>
                <a:gd name="T11" fmla="*/ 2007 h 2963"/>
                <a:gd name="T12" fmla="*/ 4333 w 4799"/>
                <a:gd name="T13" fmla="*/ 2371 h 2963"/>
                <a:gd name="T14" fmla="*/ 4419 w 4799"/>
                <a:gd name="T15" fmla="*/ 2430 h 2963"/>
                <a:gd name="T16" fmla="*/ 4667 w 4799"/>
                <a:gd name="T17" fmla="*/ 2628 h 2963"/>
                <a:gd name="T18" fmla="*/ 4464 w 4799"/>
                <a:gd name="T19" fmla="*/ 2830 h 2963"/>
                <a:gd name="T20" fmla="*/ 132 w 4799"/>
                <a:gd name="T21" fmla="*/ 1754 h 2963"/>
                <a:gd name="T22" fmla="*/ 613 w 4799"/>
                <a:gd name="T23" fmla="*/ 1284 h 2963"/>
                <a:gd name="T24" fmla="*/ 682 w 4799"/>
                <a:gd name="T25" fmla="*/ 1211 h 2963"/>
                <a:gd name="T26" fmla="*/ 2776 w 4799"/>
                <a:gd name="T27" fmla="*/ 847 h 2963"/>
                <a:gd name="T28" fmla="*/ 2864 w 4799"/>
                <a:gd name="T29" fmla="*/ 886 h 2963"/>
                <a:gd name="T30" fmla="*/ 3779 w 4799"/>
                <a:gd name="T31" fmla="*/ 1479 h 2963"/>
                <a:gd name="T32" fmla="*/ 3860 w 4799"/>
                <a:gd name="T33" fmla="*/ 1539 h 2963"/>
                <a:gd name="T34" fmla="*/ 3945 w 4799"/>
                <a:gd name="T35" fmla="*/ 1528 h 2963"/>
                <a:gd name="T36" fmla="*/ 4278 w 4799"/>
                <a:gd name="T37" fmla="*/ 1971 h 2963"/>
                <a:gd name="T38" fmla="*/ 3785 w 4799"/>
                <a:gd name="T39" fmla="*/ 1862 h 2963"/>
                <a:gd name="T40" fmla="*/ 2243 w 4799"/>
                <a:gd name="T41" fmla="*/ 2138 h 2963"/>
                <a:gd name="T42" fmla="*/ 602 w 4799"/>
                <a:gd name="T43" fmla="*/ 2224 h 2963"/>
                <a:gd name="T44" fmla="*/ 132 w 4799"/>
                <a:gd name="T45" fmla="*/ 1754 h 2963"/>
                <a:gd name="T46" fmla="*/ 4464 w 4799"/>
                <a:gd name="T47" fmla="*/ 2293 h 2963"/>
                <a:gd name="T48" fmla="*/ 4376 w 4799"/>
                <a:gd name="T49" fmla="*/ 2082 h 2963"/>
                <a:gd name="T50" fmla="*/ 4426 w 4799"/>
                <a:gd name="T51" fmla="*/ 1877 h 2963"/>
                <a:gd name="T52" fmla="*/ 3118 w 4799"/>
                <a:gd name="T53" fmla="*/ 702 h 2963"/>
                <a:gd name="T54" fmla="*/ 1760 w 4799"/>
                <a:gd name="T55" fmla="*/ 0 h 2963"/>
                <a:gd name="T56" fmla="*/ 0 w 4799"/>
                <a:gd name="T57" fmla="*/ 1754 h 2963"/>
                <a:gd name="T58" fmla="*/ 1933 w 4799"/>
                <a:gd name="T59" fmla="*/ 2357 h 2963"/>
                <a:gd name="T60" fmla="*/ 2298 w 4799"/>
                <a:gd name="T61" fmla="*/ 2962 h 2963"/>
                <a:gd name="T62" fmla="*/ 4799 w 4799"/>
                <a:gd name="T63" fmla="*/ 2628 h 2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99" h="2963">
                  <a:moveTo>
                    <a:pt x="4464" y="2830"/>
                  </a:moveTo>
                  <a:lnTo>
                    <a:pt x="4464" y="2830"/>
                  </a:lnTo>
                  <a:lnTo>
                    <a:pt x="2298" y="2830"/>
                  </a:lnTo>
                  <a:cubicBezTo>
                    <a:pt x="2143" y="2830"/>
                    <a:pt x="2017" y="2703"/>
                    <a:pt x="2017" y="2548"/>
                  </a:cubicBezTo>
                  <a:cubicBezTo>
                    <a:pt x="2017" y="2393"/>
                    <a:pt x="2143" y="2267"/>
                    <a:pt x="2298" y="2267"/>
                  </a:cubicBezTo>
                  <a:lnTo>
                    <a:pt x="2305" y="2267"/>
                  </a:lnTo>
                  <a:cubicBezTo>
                    <a:pt x="2322" y="2266"/>
                    <a:pt x="2340" y="2258"/>
                    <a:pt x="2353" y="2246"/>
                  </a:cubicBezTo>
                  <a:cubicBezTo>
                    <a:pt x="2366" y="2233"/>
                    <a:pt x="2373" y="2214"/>
                    <a:pt x="2373" y="2196"/>
                  </a:cubicBezTo>
                  <a:cubicBezTo>
                    <a:pt x="2373" y="1824"/>
                    <a:pt x="2676" y="1521"/>
                    <a:pt x="3049" y="1521"/>
                  </a:cubicBezTo>
                  <a:cubicBezTo>
                    <a:pt x="3333" y="1521"/>
                    <a:pt x="3589" y="1700"/>
                    <a:pt x="3685" y="1968"/>
                  </a:cubicBezTo>
                  <a:cubicBezTo>
                    <a:pt x="3691" y="1985"/>
                    <a:pt x="3704" y="1999"/>
                    <a:pt x="3721" y="2006"/>
                  </a:cubicBezTo>
                  <a:cubicBezTo>
                    <a:pt x="3737" y="2014"/>
                    <a:pt x="3756" y="2014"/>
                    <a:pt x="3773" y="2007"/>
                  </a:cubicBezTo>
                  <a:cubicBezTo>
                    <a:pt x="3822" y="1986"/>
                    <a:pt x="3875" y="1976"/>
                    <a:pt x="3929" y="1976"/>
                  </a:cubicBezTo>
                  <a:cubicBezTo>
                    <a:pt x="4148" y="1976"/>
                    <a:pt x="4326" y="2148"/>
                    <a:pt x="4333" y="2371"/>
                  </a:cubicBezTo>
                  <a:cubicBezTo>
                    <a:pt x="4335" y="2391"/>
                    <a:pt x="4347" y="2408"/>
                    <a:pt x="4362" y="2419"/>
                  </a:cubicBezTo>
                  <a:cubicBezTo>
                    <a:pt x="4378" y="2431"/>
                    <a:pt x="4400" y="2435"/>
                    <a:pt x="4419" y="2430"/>
                  </a:cubicBezTo>
                  <a:cubicBezTo>
                    <a:pt x="4434" y="2427"/>
                    <a:pt x="4449" y="2425"/>
                    <a:pt x="4464" y="2425"/>
                  </a:cubicBezTo>
                  <a:cubicBezTo>
                    <a:pt x="4576" y="2425"/>
                    <a:pt x="4667" y="2516"/>
                    <a:pt x="4667" y="2628"/>
                  </a:cubicBezTo>
                  <a:cubicBezTo>
                    <a:pt x="4667" y="2739"/>
                    <a:pt x="4576" y="2830"/>
                    <a:pt x="4464" y="2830"/>
                  </a:cubicBezTo>
                  <a:lnTo>
                    <a:pt x="4464" y="2830"/>
                  </a:lnTo>
                  <a:close/>
                  <a:moveTo>
                    <a:pt x="132" y="1754"/>
                  </a:moveTo>
                  <a:lnTo>
                    <a:pt x="132" y="1754"/>
                  </a:lnTo>
                  <a:cubicBezTo>
                    <a:pt x="132" y="1495"/>
                    <a:pt x="343" y="1284"/>
                    <a:pt x="602" y="1284"/>
                  </a:cubicBezTo>
                  <a:lnTo>
                    <a:pt x="613" y="1284"/>
                  </a:lnTo>
                  <a:cubicBezTo>
                    <a:pt x="634" y="1283"/>
                    <a:pt x="649" y="1275"/>
                    <a:pt x="662" y="1262"/>
                  </a:cubicBezTo>
                  <a:cubicBezTo>
                    <a:pt x="674" y="1250"/>
                    <a:pt x="682" y="1229"/>
                    <a:pt x="682" y="1211"/>
                  </a:cubicBezTo>
                  <a:cubicBezTo>
                    <a:pt x="682" y="617"/>
                    <a:pt x="1166" y="133"/>
                    <a:pt x="1760" y="133"/>
                  </a:cubicBezTo>
                  <a:cubicBezTo>
                    <a:pt x="2214" y="133"/>
                    <a:pt x="2623" y="420"/>
                    <a:pt x="2776" y="847"/>
                  </a:cubicBezTo>
                  <a:cubicBezTo>
                    <a:pt x="2782" y="864"/>
                    <a:pt x="2795" y="878"/>
                    <a:pt x="2812" y="885"/>
                  </a:cubicBezTo>
                  <a:cubicBezTo>
                    <a:pt x="2828" y="892"/>
                    <a:pt x="2847" y="893"/>
                    <a:pt x="2864" y="886"/>
                  </a:cubicBezTo>
                  <a:cubicBezTo>
                    <a:pt x="2945" y="852"/>
                    <a:pt x="3030" y="835"/>
                    <a:pt x="3118" y="835"/>
                  </a:cubicBezTo>
                  <a:cubicBezTo>
                    <a:pt x="3477" y="835"/>
                    <a:pt x="3767" y="1115"/>
                    <a:pt x="3779" y="1479"/>
                  </a:cubicBezTo>
                  <a:cubicBezTo>
                    <a:pt x="3780" y="1498"/>
                    <a:pt x="3790" y="1516"/>
                    <a:pt x="3805" y="1528"/>
                  </a:cubicBezTo>
                  <a:cubicBezTo>
                    <a:pt x="3821" y="1539"/>
                    <a:pt x="3841" y="1544"/>
                    <a:pt x="3860" y="1539"/>
                  </a:cubicBezTo>
                  <a:lnTo>
                    <a:pt x="3867" y="1537"/>
                  </a:lnTo>
                  <a:cubicBezTo>
                    <a:pt x="3893" y="1531"/>
                    <a:pt x="3919" y="1528"/>
                    <a:pt x="3945" y="1528"/>
                  </a:cubicBezTo>
                  <a:cubicBezTo>
                    <a:pt x="4137" y="1528"/>
                    <a:pt x="4293" y="1685"/>
                    <a:pt x="4293" y="1877"/>
                  </a:cubicBezTo>
                  <a:cubicBezTo>
                    <a:pt x="4293" y="1909"/>
                    <a:pt x="4287" y="1940"/>
                    <a:pt x="4278" y="1971"/>
                  </a:cubicBezTo>
                  <a:cubicBezTo>
                    <a:pt x="4185" y="1891"/>
                    <a:pt x="4063" y="1843"/>
                    <a:pt x="3929" y="1843"/>
                  </a:cubicBezTo>
                  <a:cubicBezTo>
                    <a:pt x="3880" y="1843"/>
                    <a:pt x="3832" y="1849"/>
                    <a:pt x="3785" y="1862"/>
                  </a:cubicBezTo>
                  <a:cubicBezTo>
                    <a:pt x="3655" y="1576"/>
                    <a:pt x="3367" y="1388"/>
                    <a:pt x="3049" y="1388"/>
                  </a:cubicBezTo>
                  <a:cubicBezTo>
                    <a:pt x="2624" y="1388"/>
                    <a:pt x="2275" y="1717"/>
                    <a:pt x="2243" y="2138"/>
                  </a:cubicBezTo>
                  <a:cubicBezTo>
                    <a:pt x="2167" y="2148"/>
                    <a:pt x="2097" y="2179"/>
                    <a:pt x="2040" y="2225"/>
                  </a:cubicBezTo>
                  <a:lnTo>
                    <a:pt x="602" y="2224"/>
                  </a:lnTo>
                  <a:cubicBezTo>
                    <a:pt x="343" y="2224"/>
                    <a:pt x="132" y="2013"/>
                    <a:pt x="132" y="1754"/>
                  </a:cubicBezTo>
                  <a:lnTo>
                    <a:pt x="132" y="1754"/>
                  </a:lnTo>
                  <a:close/>
                  <a:moveTo>
                    <a:pt x="4464" y="2293"/>
                  </a:moveTo>
                  <a:lnTo>
                    <a:pt x="4464" y="2293"/>
                  </a:lnTo>
                  <a:cubicBezTo>
                    <a:pt x="4463" y="2293"/>
                    <a:pt x="4461" y="2293"/>
                    <a:pt x="4459" y="2293"/>
                  </a:cubicBezTo>
                  <a:cubicBezTo>
                    <a:pt x="4447" y="2215"/>
                    <a:pt x="4418" y="2144"/>
                    <a:pt x="4376" y="2082"/>
                  </a:cubicBezTo>
                  <a:cubicBezTo>
                    <a:pt x="4380" y="2078"/>
                    <a:pt x="4384" y="2074"/>
                    <a:pt x="4386" y="2069"/>
                  </a:cubicBezTo>
                  <a:cubicBezTo>
                    <a:pt x="4412" y="2008"/>
                    <a:pt x="4426" y="1943"/>
                    <a:pt x="4426" y="1877"/>
                  </a:cubicBezTo>
                  <a:cubicBezTo>
                    <a:pt x="4426" y="1598"/>
                    <a:pt x="4185" y="1376"/>
                    <a:pt x="3905" y="1397"/>
                  </a:cubicBezTo>
                  <a:cubicBezTo>
                    <a:pt x="3857" y="1002"/>
                    <a:pt x="3525" y="702"/>
                    <a:pt x="3118" y="702"/>
                  </a:cubicBezTo>
                  <a:cubicBezTo>
                    <a:pt x="3036" y="702"/>
                    <a:pt x="2954" y="715"/>
                    <a:pt x="2876" y="740"/>
                  </a:cubicBezTo>
                  <a:cubicBezTo>
                    <a:pt x="2688" y="294"/>
                    <a:pt x="2248" y="0"/>
                    <a:pt x="1760" y="0"/>
                  </a:cubicBezTo>
                  <a:cubicBezTo>
                    <a:pt x="1112" y="0"/>
                    <a:pt x="581" y="512"/>
                    <a:pt x="550" y="1153"/>
                  </a:cubicBezTo>
                  <a:cubicBezTo>
                    <a:pt x="242" y="1180"/>
                    <a:pt x="0" y="1439"/>
                    <a:pt x="0" y="1754"/>
                  </a:cubicBezTo>
                  <a:cubicBezTo>
                    <a:pt x="0" y="2087"/>
                    <a:pt x="270" y="2357"/>
                    <a:pt x="602" y="2357"/>
                  </a:cubicBezTo>
                  <a:lnTo>
                    <a:pt x="1933" y="2357"/>
                  </a:lnTo>
                  <a:cubicBezTo>
                    <a:pt x="1903" y="2415"/>
                    <a:pt x="1884" y="2479"/>
                    <a:pt x="1884" y="2548"/>
                  </a:cubicBezTo>
                  <a:cubicBezTo>
                    <a:pt x="1884" y="2776"/>
                    <a:pt x="2070" y="2962"/>
                    <a:pt x="2298" y="2962"/>
                  </a:cubicBezTo>
                  <a:lnTo>
                    <a:pt x="4464" y="2963"/>
                  </a:lnTo>
                  <a:cubicBezTo>
                    <a:pt x="4649" y="2963"/>
                    <a:pt x="4799" y="2812"/>
                    <a:pt x="4799" y="2628"/>
                  </a:cubicBezTo>
                  <a:cubicBezTo>
                    <a:pt x="4799" y="2443"/>
                    <a:pt x="4649" y="2293"/>
                    <a:pt x="4464" y="2293"/>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Light"/>
                <a:ea typeface="+mn-ea"/>
                <a:cs typeface="+mn-cs"/>
              </a:endParaRPr>
            </a:p>
          </p:txBody>
        </p:sp>
      </p:grpSp>
      <p:grpSp>
        <p:nvGrpSpPr>
          <p:cNvPr id="136" name="Group 135">
            <a:extLst>
              <a:ext uri="{FF2B5EF4-FFF2-40B4-BE49-F238E27FC236}">
                <a16:creationId xmlns:a16="http://schemas.microsoft.com/office/drawing/2014/main" id="{B086FBBF-7AD1-472F-8F65-0FA09EA55652}"/>
              </a:ext>
            </a:extLst>
          </p:cNvPr>
          <p:cNvGrpSpPr/>
          <p:nvPr/>
        </p:nvGrpSpPr>
        <p:grpSpPr>
          <a:xfrm>
            <a:off x="48171" y="3733613"/>
            <a:ext cx="945861" cy="585753"/>
            <a:chOff x="3075256" y="2733462"/>
            <a:chExt cx="861381" cy="533436"/>
          </a:xfrm>
        </p:grpSpPr>
        <p:sp>
          <p:nvSpPr>
            <p:cNvPr id="137" name="Freeform 6">
              <a:extLst>
                <a:ext uri="{FF2B5EF4-FFF2-40B4-BE49-F238E27FC236}">
                  <a16:creationId xmlns:a16="http://schemas.microsoft.com/office/drawing/2014/main" id="{55FEC1A9-7346-4DFB-9E35-308D80E6507B}"/>
                </a:ext>
              </a:extLst>
            </p:cNvPr>
            <p:cNvSpPr>
              <a:spLocks noChangeAspect="1" noEditPoints="1"/>
            </p:cNvSpPr>
            <p:nvPr/>
          </p:nvSpPr>
          <p:spPr bwMode="auto">
            <a:xfrm>
              <a:off x="3352152" y="2733462"/>
              <a:ext cx="287967" cy="323219"/>
            </a:xfrm>
            <a:custGeom>
              <a:avLst/>
              <a:gdLst>
                <a:gd name="T0" fmla="*/ 2374 w 5131"/>
                <a:gd name="T1" fmla="*/ 4414 h 5758"/>
                <a:gd name="T2" fmla="*/ 1688 w 5131"/>
                <a:gd name="T3" fmla="*/ 4669 h 5758"/>
                <a:gd name="T4" fmla="*/ 3465 w 5131"/>
                <a:gd name="T5" fmla="*/ 4430 h 5758"/>
                <a:gd name="T6" fmla="*/ 2949 w 5131"/>
                <a:gd name="T7" fmla="*/ 4318 h 5758"/>
                <a:gd name="T8" fmla="*/ 2641 w 5131"/>
                <a:gd name="T9" fmla="*/ 4826 h 5758"/>
                <a:gd name="T10" fmla="*/ 1955 w 5131"/>
                <a:gd name="T11" fmla="*/ 4255 h 5758"/>
                <a:gd name="T12" fmla="*/ 1554 w 5131"/>
                <a:gd name="T13" fmla="*/ 4732 h 5758"/>
                <a:gd name="T14" fmla="*/ 4467 w 5131"/>
                <a:gd name="T15" fmla="*/ 4109 h 5758"/>
                <a:gd name="T16" fmla="*/ 4591 w 5131"/>
                <a:gd name="T17" fmla="*/ 4192 h 5758"/>
                <a:gd name="T18" fmla="*/ 4253 w 5131"/>
                <a:gd name="T19" fmla="*/ 3679 h 5758"/>
                <a:gd name="T20" fmla="*/ 2374 w 5131"/>
                <a:gd name="T21" fmla="*/ 3644 h 5758"/>
                <a:gd name="T22" fmla="*/ 1688 w 5131"/>
                <a:gd name="T23" fmla="*/ 3899 h 5758"/>
                <a:gd name="T24" fmla="*/ 3465 w 5131"/>
                <a:gd name="T25" fmla="*/ 3660 h 5758"/>
                <a:gd name="T26" fmla="*/ 2949 w 5131"/>
                <a:gd name="T27" fmla="*/ 3548 h 5758"/>
                <a:gd name="T28" fmla="*/ 2641 w 5131"/>
                <a:gd name="T29" fmla="*/ 4056 h 5758"/>
                <a:gd name="T30" fmla="*/ 1955 w 5131"/>
                <a:gd name="T31" fmla="*/ 3485 h 5758"/>
                <a:gd name="T32" fmla="*/ 1554 w 5131"/>
                <a:gd name="T33" fmla="*/ 3962 h 5758"/>
                <a:gd name="T34" fmla="*/ 395 w 5131"/>
                <a:gd name="T35" fmla="*/ 3353 h 5758"/>
                <a:gd name="T36" fmla="*/ 709 w 5131"/>
                <a:gd name="T37" fmla="*/ 3253 h 5758"/>
                <a:gd name="T38" fmla="*/ 309 w 5131"/>
                <a:gd name="T39" fmla="*/ 3267 h 5758"/>
                <a:gd name="T40" fmla="*/ 773 w 5131"/>
                <a:gd name="T41" fmla="*/ 2986 h 5758"/>
                <a:gd name="T42" fmla="*/ 4624 w 5131"/>
                <a:gd name="T43" fmla="*/ 3382 h 5758"/>
                <a:gd name="T44" fmla="*/ 4174 w 5131"/>
                <a:gd name="T45" fmla="*/ 2958 h 5758"/>
                <a:gd name="T46" fmla="*/ 674 w 5131"/>
                <a:gd name="T47" fmla="*/ 2923 h 5758"/>
                <a:gd name="T48" fmla="*/ 288 w 5131"/>
                <a:gd name="T49" fmla="*/ 2948 h 5758"/>
                <a:gd name="T50" fmla="*/ 3287 w 5131"/>
                <a:gd name="T51" fmla="*/ 2873 h 5758"/>
                <a:gd name="T52" fmla="*/ 1699 w 5131"/>
                <a:gd name="T53" fmla="*/ 2876 h 5758"/>
                <a:gd name="T54" fmla="*/ 3399 w 5131"/>
                <a:gd name="T55" fmla="*/ 2765 h 5758"/>
                <a:gd name="T56" fmla="*/ 2910 w 5131"/>
                <a:gd name="T57" fmla="*/ 3128 h 5758"/>
                <a:gd name="T58" fmla="*/ 2760 w 5131"/>
                <a:gd name="T59" fmla="*/ 3206 h 5758"/>
                <a:gd name="T60" fmla="*/ 2360 w 5131"/>
                <a:gd name="T61" fmla="*/ 2730 h 5758"/>
                <a:gd name="T62" fmla="*/ 1674 w 5131"/>
                <a:gd name="T63" fmla="*/ 3300 h 5758"/>
                <a:gd name="T64" fmla="*/ 395 w 5131"/>
                <a:gd name="T65" fmla="*/ 2621 h 5758"/>
                <a:gd name="T66" fmla="*/ 669 w 5131"/>
                <a:gd name="T67" fmla="*/ 2759 h 5758"/>
                <a:gd name="T68" fmla="*/ 293 w 5131"/>
                <a:gd name="T69" fmla="*/ 2785 h 5758"/>
                <a:gd name="T70" fmla="*/ 4478 w 5131"/>
                <a:gd name="T71" fmla="*/ 2361 h 5758"/>
                <a:gd name="T72" fmla="*/ 873 w 5131"/>
                <a:gd name="T73" fmla="*/ 2354 h 5758"/>
                <a:gd name="T74" fmla="*/ 4591 w 5131"/>
                <a:gd name="T75" fmla="*/ 2712 h 5758"/>
                <a:gd name="T76" fmla="*/ 4253 w 5131"/>
                <a:gd name="T77" fmla="*/ 2199 h 5758"/>
                <a:gd name="T78" fmla="*/ 709 w 5131"/>
                <a:gd name="T79" fmla="*/ 2155 h 5758"/>
                <a:gd name="T80" fmla="*/ 309 w 5131"/>
                <a:gd name="T81" fmla="*/ 2169 h 5758"/>
                <a:gd name="T82" fmla="*/ 1714 w 5131"/>
                <a:gd name="T83" fmla="*/ 2115 h 5758"/>
                <a:gd name="T84" fmla="*/ 150 w 5131"/>
                <a:gd name="T85" fmla="*/ 2031 h 5758"/>
                <a:gd name="T86" fmla="*/ 2730 w 5131"/>
                <a:gd name="T87" fmla="*/ 2009 h 5758"/>
                <a:gd name="T88" fmla="*/ 2242 w 5131"/>
                <a:gd name="T89" fmla="*/ 2372 h 5758"/>
                <a:gd name="T90" fmla="*/ 2074 w 5131"/>
                <a:gd name="T91" fmla="*/ 2450 h 5758"/>
                <a:gd name="T92" fmla="*/ 1674 w 5131"/>
                <a:gd name="T93" fmla="*/ 1974 h 5758"/>
                <a:gd name="T94" fmla="*/ 3549 w 5131"/>
                <a:gd name="T95" fmla="*/ 1595 h 5758"/>
                <a:gd name="T96" fmla="*/ 4563 w 5131"/>
                <a:gd name="T97" fmla="*/ 1483 h 5758"/>
                <a:gd name="T98" fmla="*/ 4075 w 5131"/>
                <a:gd name="T99" fmla="*/ 1846 h 5758"/>
                <a:gd name="T100" fmla="*/ 3924 w 5131"/>
                <a:gd name="T101" fmla="*/ 1923 h 5758"/>
                <a:gd name="T102" fmla="*/ 3525 w 5131"/>
                <a:gd name="T103" fmla="*/ 1448 h 5758"/>
                <a:gd name="T104" fmla="*/ 3184 w 5131"/>
                <a:gd name="T105" fmla="*/ 1248 h 5758"/>
                <a:gd name="T106" fmla="*/ 3923 w 5131"/>
                <a:gd name="T107" fmla="*/ 2684 h 5758"/>
                <a:gd name="T108" fmla="*/ 3219 w 5131"/>
                <a:gd name="T109" fmla="*/ 1244 h 5758"/>
                <a:gd name="T110" fmla="*/ 1636 w 5131"/>
                <a:gd name="T111" fmla="*/ 1768 h 5758"/>
                <a:gd name="T112" fmla="*/ 1334 w 5131"/>
                <a:gd name="T113" fmla="*/ 5430 h 5758"/>
                <a:gd name="T114" fmla="*/ 3539 w 5131"/>
                <a:gd name="T115" fmla="*/ 2421 h 5758"/>
                <a:gd name="T116" fmla="*/ 3219 w 5131"/>
                <a:gd name="T117" fmla="*/ 1066 h 5758"/>
                <a:gd name="T118" fmla="*/ 4820 w 5131"/>
                <a:gd name="T119" fmla="*/ 5007 h 5758"/>
                <a:gd name="T120" fmla="*/ 1239 w 5131"/>
                <a:gd name="T121" fmla="*/ 5611 h 5758"/>
                <a:gd name="T122" fmla="*/ 44 w 5131"/>
                <a:gd name="T123" fmla="*/ 1928 h 5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31" h="5758">
                  <a:moveTo>
                    <a:pt x="3088" y="4398"/>
                  </a:moveTo>
                  <a:lnTo>
                    <a:pt x="3073" y="4402"/>
                  </a:lnTo>
                  <a:lnTo>
                    <a:pt x="3062" y="4414"/>
                  </a:lnTo>
                  <a:lnTo>
                    <a:pt x="3057" y="4430"/>
                  </a:lnTo>
                  <a:lnTo>
                    <a:pt x="3057" y="4653"/>
                  </a:lnTo>
                  <a:lnTo>
                    <a:pt x="3062" y="4669"/>
                  </a:lnTo>
                  <a:lnTo>
                    <a:pt x="3073" y="4679"/>
                  </a:lnTo>
                  <a:lnTo>
                    <a:pt x="3088" y="4685"/>
                  </a:lnTo>
                  <a:lnTo>
                    <a:pt x="3287" y="4685"/>
                  </a:lnTo>
                  <a:lnTo>
                    <a:pt x="3303" y="4679"/>
                  </a:lnTo>
                  <a:lnTo>
                    <a:pt x="3315" y="4669"/>
                  </a:lnTo>
                  <a:lnTo>
                    <a:pt x="3319" y="4653"/>
                  </a:lnTo>
                  <a:lnTo>
                    <a:pt x="3319" y="4430"/>
                  </a:lnTo>
                  <a:lnTo>
                    <a:pt x="3315" y="4414"/>
                  </a:lnTo>
                  <a:lnTo>
                    <a:pt x="3303" y="4402"/>
                  </a:lnTo>
                  <a:lnTo>
                    <a:pt x="3287" y="4398"/>
                  </a:lnTo>
                  <a:lnTo>
                    <a:pt x="3088" y="4398"/>
                  </a:lnTo>
                  <a:close/>
                  <a:moveTo>
                    <a:pt x="2402" y="4398"/>
                  </a:moveTo>
                  <a:lnTo>
                    <a:pt x="2386" y="4402"/>
                  </a:lnTo>
                  <a:lnTo>
                    <a:pt x="2374" y="4414"/>
                  </a:lnTo>
                  <a:lnTo>
                    <a:pt x="2371" y="4430"/>
                  </a:lnTo>
                  <a:lnTo>
                    <a:pt x="2371" y="4653"/>
                  </a:lnTo>
                  <a:lnTo>
                    <a:pt x="2374" y="4669"/>
                  </a:lnTo>
                  <a:lnTo>
                    <a:pt x="2386" y="4679"/>
                  </a:lnTo>
                  <a:lnTo>
                    <a:pt x="2402" y="4685"/>
                  </a:lnTo>
                  <a:lnTo>
                    <a:pt x="2601" y="4685"/>
                  </a:lnTo>
                  <a:lnTo>
                    <a:pt x="2617" y="4679"/>
                  </a:lnTo>
                  <a:lnTo>
                    <a:pt x="2627" y="4669"/>
                  </a:lnTo>
                  <a:lnTo>
                    <a:pt x="2633" y="4653"/>
                  </a:lnTo>
                  <a:lnTo>
                    <a:pt x="2633" y="4430"/>
                  </a:lnTo>
                  <a:lnTo>
                    <a:pt x="2627" y="4414"/>
                  </a:lnTo>
                  <a:lnTo>
                    <a:pt x="2617" y="4402"/>
                  </a:lnTo>
                  <a:lnTo>
                    <a:pt x="2601" y="4398"/>
                  </a:lnTo>
                  <a:lnTo>
                    <a:pt x="2402" y="4398"/>
                  </a:lnTo>
                  <a:close/>
                  <a:moveTo>
                    <a:pt x="1714" y="4398"/>
                  </a:moveTo>
                  <a:lnTo>
                    <a:pt x="1699" y="4402"/>
                  </a:lnTo>
                  <a:lnTo>
                    <a:pt x="1688" y="4414"/>
                  </a:lnTo>
                  <a:lnTo>
                    <a:pt x="1683" y="4430"/>
                  </a:lnTo>
                  <a:lnTo>
                    <a:pt x="1683" y="4653"/>
                  </a:lnTo>
                  <a:lnTo>
                    <a:pt x="1688" y="4669"/>
                  </a:lnTo>
                  <a:lnTo>
                    <a:pt x="1699" y="4679"/>
                  </a:lnTo>
                  <a:lnTo>
                    <a:pt x="1714" y="4685"/>
                  </a:lnTo>
                  <a:lnTo>
                    <a:pt x="1913" y="4685"/>
                  </a:lnTo>
                  <a:lnTo>
                    <a:pt x="1929" y="4679"/>
                  </a:lnTo>
                  <a:lnTo>
                    <a:pt x="1941" y="4669"/>
                  </a:lnTo>
                  <a:lnTo>
                    <a:pt x="1945" y="4653"/>
                  </a:lnTo>
                  <a:lnTo>
                    <a:pt x="1945" y="4430"/>
                  </a:lnTo>
                  <a:lnTo>
                    <a:pt x="1941" y="4414"/>
                  </a:lnTo>
                  <a:lnTo>
                    <a:pt x="1929" y="4402"/>
                  </a:lnTo>
                  <a:lnTo>
                    <a:pt x="1913" y="4398"/>
                  </a:lnTo>
                  <a:lnTo>
                    <a:pt x="1714" y="4398"/>
                  </a:lnTo>
                  <a:close/>
                  <a:moveTo>
                    <a:pt x="3088" y="4250"/>
                  </a:moveTo>
                  <a:lnTo>
                    <a:pt x="3287" y="4250"/>
                  </a:lnTo>
                  <a:lnTo>
                    <a:pt x="3329" y="4255"/>
                  </a:lnTo>
                  <a:lnTo>
                    <a:pt x="3366" y="4269"/>
                  </a:lnTo>
                  <a:lnTo>
                    <a:pt x="3399" y="4290"/>
                  </a:lnTo>
                  <a:lnTo>
                    <a:pt x="3427" y="4318"/>
                  </a:lnTo>
                  <a:lnTo>
                    <a:pt x="3448" y="4351"/>
                  </a:lnTo>
                  <a:lnTo>
                    <a:pt x="3462" y="4388"/>
                  </a:lnTo>
                  <a:lnTo>
                    <a:pt x="3465" y="4430"/>
                  </a:lnTo>
                  <a:lnTo>
                    <a:pt x="3465" y="4653"/>
                  </a:lnTo>
                  <a:lnTo>
                    <a:pt x="3462" y="4693"/>
                  </a:lnTo>
                  <a:lnTo>
                    <a:pt x="3448" y="4732"/>
                  </a:lnTo>
                  <a:lnTo>
                    <a:pt x="3427" y="4765"/>
                  </a:lnTo>
                  <a:lnTo>
                    <a:pt x="3399" y="4791"/>
                  </a:lnTo>
                  <a:lnTo>
                    <a:pt x="3366" y="4814"/>
                  </a:lnTo>
                  <a:lnTo>
                    <a:pt x="3329" y="4826"/>
                  </a:lnTo>
                  <a:lnTo>
                    <a:pt x="3287" y="4831"/>
                  </a:lnTo>
                  <a:lnTo>
                    <a:pt x="3088" y="4831"/>
                  </a:lnTo>
                  <a:lnTo>
                    <a:pt x="3048" y="4826"/>
                  </a:lnTo>
                  <a:lnTo>
                    <a:pt x="3010" y="4814"/>
                  </a:lnTo>
                  <a:lnTo>
                    <a:pt x="2977" y="4791"/>
                  </a:lnTo>
                  <a:lnTo>
                    <a:pt x="2949" y="4765"/>
                  </a:lnTo>
                  <a:lnTo>
                    <a:pt x="2928" y="4732"/>
                  </a:lnTo>
                  <a:lnTo>
                    <a:pt x="2915" y="4693"/>
                  </a:lnTo>
                  <a:lnTo>
                    <a:pt x="2910" y="4653"/>
                  </a:lnTo>
                  <a:lnTo>
                    <a:pt x="2910" y="4430"/>
                  </a:lnTo>
                  <a:lnTo>
                    <a:pt x="2915" y="4388"/>
                  </a:lnTo>
                  <a:lnTo>
                    <a:pt x="2928" y="4351"/>
                  </a:lnTo>
                  <a:lnTo>
                    <a:pt x="2949" y="4318"/>
                  </a:lnTo>
                  <a:lnTo>
                    <a:pt x="2977" y="4290"/>
                  </a:lnTo>
                  <a:lnTo>
                    <a:pt x="3010" y="4269"/>
                  </a:lnTo>
                  <a:lnTo>
                    <a:pt x="3048" y="4255"/>
                  </a:lnTo>
                  <a:lnTo>
                    <a:pt x="3088" y="4250"/>
                  </a:lnTo>
                  <a:close/>
                  <a:moveTo>
                    <a:pt x="2402" y="4250"/>
                  </a:moveTo>
                  <a:lnTo>
                    <a:pt x="2601" y="4250"/>
                  </a:lnTo>
                  <a:lnTo>
                    <a:pt x="2641" y="4255"/>
                  </a:lnTo>
                  <a:lnTo>
                    <a:pt x="2680" y="4269"/>
                  </a:lnTo>
                  <a:lnTo>
                    <a:pt x="2711" y="4290"/>
                  </a:lnTo>
                  <a:lnTo>
                    <a:pt x="2739" y="4318"/>
                  </a:lnTo>
                  <a:lnTo>
                    <a:pt x="2760" y="4351"/>
                  </a:lnTo>
                  <a:lnTo>
                    <a:pt x="2774" y="4388"/>
                  </a:lnTo>
                  <a:lnTo>
                    <a:pt x="2779" y="4430"/>
                  </a:lnTo>
                  <a:lnTo>
                    <a:pt x="2779" y="4653"/>
                  </a:lnTo>
                  <a:lnTo>
                    <a:pt x="2774" y="4693"/>
                  </a:lnTo>
                  <a:lnTo>
                    <a:pt x="2760" y="4732"/>
                  </a:lnTo>
                  <a:lnTo>
                    <a:pt x="2739" y="4765"/>
                  </a:lnTo>
                  <a:lnTo>
                    <a:pt x="2711" y="4791"/>
                  </a:lnTo>
                  <a:lnTo>
                    <a:pt x="2680" y="4814"/>
                  </a:lnTo>
                  <a:lnTo>
                    <a:pt x="2641" y="4826"/>
                  </a:lnTo>
                  <a:lnTo>
                    <a:pt x="2601" y="4831"/>
                  </a:lnTo>
                  <a:lnTo>
                    <a:pt x="2402" y="4831"/>
                  </a:lnTo>
                  <a:lnTo>
                    <a:pt x="2360" y="4826"/>
                  </a:lnTo>
                  <a:lnTo>
                    <a:pt x="2324" y="4814"/>
                  </a:lnTo>
                  <a:lnTo>
                    <a:pt x="2290" y="4791"/>
                  </a:lnTo>
                  <a:lnTo>
                    <a:pt x="2262" y="4765"/>
                  </a:lnTo>
                  <a:lnTo>
                    <a:pt x="2242" y="4732"/>
                  </a:lnTo>
                  <a:lnTo>
                    <a:pt x="2228" y="4693"/>
                  </a:lnTo>
                  <a:lnTo>
                    <a:pt x="2222" y="4653"/>
                  </a:lnTo>
                  <a:lnTo>
                    <a:pt x="2222" y="4430"/>
                  </a:lnTo>
                  <a:lnTo>
                    <a:pt x="2228" y="4388"/>
                  </a:lnTo>
                  <a:lnTo>
                    <a:pt x="2242" y="4351"/>
                  </a:lnTo>
                  <a:lnTo>
                    <a:pt x="2262" y="4318"/>
                  </a:lnTo>
                  <a:lnTo>
                    <a:pt x="2290" y="4290"/>
                  </a:lnTo>
                  <a:lnTo>
                    <a:pt x="2324" y="4269"/>
                  </a:lnTo>
                  <a:lnTo>
                    <a:pt x="2360" y="4255"/>
                  </a:lnTo>
                  <a:lnTo>
                    <a:pt x="2402" y="4250"/>
                  </a:lnTo>
                  <a:close/>
                  <a:moveTo>
                    <a:pt x="1714" y="4250"/>
                  </a:moveTo>
                  <a:lnTo>
                    <a:pt x="1913" y="4250"/>
                  </a:lnTo>
                  <a:lnTo>
                    <a:pt x="1955" y="4255"/>
                  </a:lnTo>
                  <a:lnTo>
                    <a:pt x="1992" y="4269"/>
                  </a:lnTo>
                  <a:lnTo>
                    <a:pt x="2025" y="4290"/>
                  </a:lnTo>
                  <a:lnTo>
                    <a:pt x="2053" y="4318"/>
                  </a:lnTo>
                  <a:lnTo>
                    <a:pt x="2074" y="4351"/>
                  </a:lnTo>
                  <a:lnTo>
                    <a:pt x="2088" y="4388"/>
                  </a:lnTo>
                  <a:lnTo>
                    <a:pt x="2091" y="4430"/>
                  </a:lnTo>
                  <a:lnTo>
                    <a:pt x="2091" y="4653"/>
                  </a:lnTo>
                  <a:lnTo>
                    <a:pt x="2088" y="4693"/>
                  </a:lnTo>
                  <a:lnTo>
                    <a:pt x="2074" y="4732"/>
                  </a:lnTo>
                  <a:lnTo>
                    <a:pt x="2053" y="4765"/>
                  </a:lnTo>
                  <a:lnTo>
                    <a:pt x="2025" y="4791"/>
                  </a:lnTo>
                  <a:lnTo>
                    <a:pt x="1992" y="4814"/>
                  </a:lnTo>
                  <a:lnTo>
                    <a:pt x="1955" y="4826"/>
                  </a:lnTo>
                  <a:lnTo>
                    <a:pt x="1913" y="4831"/>
                  </a:lnTo>
                  <a:lnTo>
                    <a:pt x="1714" y="4831"/>
                  </a:lnTo>
                  <a:lnTo>
                    <a:pt x="1674" y="4826"/>
                  </a:lnTo>
                  <a:lnTo>
                    <a:pt x="1636" y="4814"/>
                  </a:lnTo>
                  <a:lnTo>
                    <a:pt x="1603" y="4791"/>
                  </a:lnTo>
                  <a:lnTo>
                    <a:pt x="1575" y="4765"/>
                  </a:lnTo>
                  <a:lnTo>
                    <a:pt x="1554" y="4732"/>
                  </a:lnTo>
                  <a:lnTo>
                    <a:pt x="1541" y="4693"/>
                  </a:lnTo>
                  <a:lnTo>
                    <a:pt x="1536" y="4653"/>
                  </a:lnTo>
                  <a:lnTo>
                    <a:pt x="1536" y="4430"/>
                  </a:lnTo>
                  <a:lnTo>
                    <a:pt x="1541" y="4388"/>
                  </a:lnTo>
                  <a:lnTo>
                    <a:pt x="1554" y="4351"/>
                  </a:lnTo>
                  <a:lnTo>
                    <a:pt x="1575" y="4318"/>
                  </a:lnTo>
                  <a:lnTo>
                    <a:pt x="1603" y="4290"/>
                  </a:lnTo>
                  <a:lnTo>
                    <a:pt x="1636" y="4269"/>
                  </a:lnTo>
                  <a:lnTo>
                    <a:pt x="1674" y="4255"/>
                  </a:lnTo>
                  <a:lnTo>
                    <a:pt x="1714" y="4250"/>
                  </a:lnTo>
                  <a:close/>
                  <a:moveTo>
                    <a:pt x="4253" y="3826"/>
                  </a:moveTo>
                  <a:lnTo>
                    <a:pt x="4237" y="3831"/>
                  </a:lnTo>
                  <a:lnTo>
                    <a:pt x="4225" y="3841"/>
                  </a:lnTo>
                  <a:lnTo>
                    <a:pt x="4221" y="3857"/>
                  </a:lnTo>
                  <a:lnTo>
                    <a:pt x="4221" y="4081"/>
                  </a:lnTo>
                  <a:lnTo>
                    <a:pt x="4225" y="4096"/>
                  </a:lnTo>
                  <a:lnTo>
                    <a:pt x="4237" y="4109"/>
                  </a:lnTo>
                  <a:lnTo>
                    <a:pt x="4253" y="4112"/>
                  </a:lnTo>
                  <a:lnTo>
                    <a:pt x="4452" y="4112"/>
                  </a:lnTo>
                  <a:lnTo>
                    <a:pt x="4467" y="4109"/>
                  </a:lnTo>
                  <a:lnTo>
                    <a:pt x="4478" y="4096"/>
                  </a:lnTo>
                  <a:lnTo>
                    <a:pt x="4483" y="4081"/>
                  </a:lnTo>
                  <a:lnTo>
                    <a:pt x="4483" y="3857"/>
                  </a:lnTo>
                  <a:lnTo>
                    <a:pt x="4478" y="3841"/>
                  </a:lnTo>
                  <a:lnTo>
                    <a:pt x="4467" y="3831"/>
                  </a:lnTo>
                  <a:lnTo>
                    <a:pt x="4452" y="3826"/>
                  </a:lnTo>
                  <a:lnTo>
                    <a:pt x="4253" y="3826"/>
                  </a:lnTo>
                  <a:close/>
                  <a:moveTo>
                    <a:pt x="4253" y="3679"/>
                  </a:moveTo>
                  <a:lnTo>
                    <a:pt x="4452" y="3679"/>
                  </a:lnTo>
                  <a:lnTo>
                    <a:pt x="4492" y="3684"/>
                  </a:lnTo>
                  <a:lnTo>
                    <a:pt x="4530" y="3697"/>
                  </a:lnTo>
                  <a:lnTo>
                    <a:pt x="4563" y="3718"/>
                  </a:lnTo>
                  <a:lnTo>
                    <a:pt x="4591" y="3745"/>
                  </a:lnTo>
                  <a:lnTo>
                    <a:pt x="4612" y="3779"/>
                  </a:lnTo>
                  <a:lnTo>
                    <a:pt x="4624" y="3817"/>
                  </a:lnTo>
                  <a:lnTo>
                    <a:pt x="4630" y="3857"/>
                  </a:lnTo>
                  <a:lnTo>
                    <a:pt x="4630" y="4081"/>
                  </a:lnTo>
                  <a:lnTo>
                    <a:pt x="4624" y="4123"/>
                  </a:lnTo>
                  <a:lnTo>
                    <a:pt x="4612" y="4159"/>
                  </a:lnTo>
                  <a:lnTo>
                    <a:pt x="4591" y="4192"/>
                  </a:lnTo>
                  <a:lnTo>
                    <a:pt x="4563" y="4220"/>
                  </a:lnTo>
                  <a:lnTo>
                    <a:pt x="4530" y="4241"/>
                  </a:lnTo>
                  <a:lnTo>
                    <a:pt x="4492" y="4255"/>
                  </a:lnTo>
                  <a:lnTo>
                    <a:pt x="4452" y="4259"/>
                  </a:lnTo>
                  <a:lnTo>
                    <a:pt x="4253" y="4259"/>
                  </a:lnTo>
                  <a:lnTo>
                    <a:pt x="4211" y="4255"/>
                  </a:lnTo>
                  <a:lnTo>
                    <a:pt x="4174" y="4241"/>
                  </a:lnTo>
                  <a:lnTo>
                    <a:pt x="4141" y="4220"/>
                  </a:lnTo>
                  <a:lnTo>
                    <a:pt x="4113" y="4192"/>
                  </a:lnTo>
                  <a:lnTo>
                    <a:pt x="4092" y="4159"/>
                  </a:lnTo>
                  <a:lnTo>
                    <a:pt x="4078" y="4123"/>
                  </a:lnTo>
                  <a:lnTo>
                    <a:pt x="4075" y="4081"/>
                  </a:lnTo>
                  <a:lnTo>
                    <a:pt x="4075" y="3857"/>
                  </a:lnTo>
                  <a:lnTo>
                    <a:pt x="4078" y="3817"/>
                  </a:lnTo>
                  <a:lnTo>
                    <a:pt x="4092" y="3779"/>
                  </a:lnTo>
                  <a:lnTo>
                    <a:pt x="4113" y="3745"/>
                  </a:lnTo>
                  <a:lnTo>
                    <a:pt x="4141" y="3718"/>
                  </a:lnTo>
                  <a:lnTo>
                    <a:pt x="4174" y="3697"/>
                  </a:lnTo>
                  <a:lnTo>
                    <a:pt x="4211" y="3684"/>
                  </a:lnTo>
                  <a:lnTo>
                    <a:pt x="4253" y="3679"/>
                  </a:lnTo>
                  <a:close/>
                  <a:moveTo>
                    <a:pt x="3088" y="3629"/>
                  </a:moveTo>
                  <a:lnTo>
                    <a:pt x="3073" y="3632"/>
                  </a:lnTo>
                  <a:lnTo>
                    <a:pt x="3062" y="3644"/>
                  </a:lnTo>
                  <a:lnTo>
                    <a:pt x="3057" y="3660"/>
                  </a:lnTo>
                  <a:lnTo>
                    <a:pt x="3057" y="3883"/>
                  </a:lnTo>
                  <a:lnTo>
                    <a:pt x="3062" y="3899"/>
                  </a:lnTo>
                  <a:lnTo>
                    <a:pt x="3073" y="3910"/>
                  </a:lnTo>
                  <a:lnTo>
                    <a:pt x="3088" y="3915"/>
                  </a:lnTo>
                  <a:lnTo>
                    <a:pt x="3287" y="3915"/>
                  </a:lnTo>
                  <a:lnTo>
                    <a:pt x="3303" y="3910"/>
                  </a:lnTo>
                  <a:lnTo>
                    <a:pt x="3315" y="3899"/>
                  </a:lnTo>
                  <a:lnTo>
                    <a:pt x="3319" y="3883"/>
                  </a:lnTo>
                  <a:lnTo>
                    <a:pt x="3319" y="3660"/>
                  </a:lnTo>
                  <a:lnTo>
                    <a:pt x="3315" y="3644"/>
                  </a:lnTo>
                  <a:lnTo>
                    <a:pt x="3303" y="3632"/>
                  </a:lnTo>
                  <a:lnTo>
                    <a:pt x="3287" y="3629"/>
                  </a:lnTo>
                  <a:lnTo>
                    <a:pt x="3088" y="3629"/>
                  </a:lnTo>
                  <a:close/>
                  <a:moveTo>
                    <a:pt x="2402" y="3629"/>
                  </a:moveTo>
                  <a:lnTo>
                    <a:pt x="2386" y="3632"/>
                  </a:lnTo>
                  <a:lnTo>
                    <a:pt x="2374" y="3644"/>
                  </a:lnTo>
                  <a:lnTo>
                    <a:pt x="2371" y="3660"/>
                  </a:lnTo>
                  <a:lnTo>
                    <a:pt x="2371" y="3883"/>
                  </a:lnTo>
                  <a:lnTo>
                    <a:pt x="2374" y="3899"/>
                  </a:lnTo>
                  <a:lnTo>
                    <a:pt x="2386" y="3910"/>
                  </a:lnTo>
                  <a:lnTo>
                    <a:pt x="2402" y="3915"/>
                  </a:lnTo>
                  <a:lnTo>
                    <a:pt x="2601" y="3915"/>
                  </a:lnTo>
                  <a:lnTo>
                    <a:pt x="2617" y="3910"/>
                  </a:lnTo>
                  <a:lnTo>
                    <a:pt x="2627" y="3899"/>
                  </a:lnTo>
                  <a:lnTo>
                    <a:pt x="2633" y="3883"/>
                  </a:lnTo>
                  <a:lnTo>
                    <a:pt x="2633" y="3660"/>
                  </a:lnTo>
                  <a:lnTo>
                    <a:pt x="2627" y="3644"/>
                  </a:lnTo>
                  <a:lnTo>
                    <a:pt x="2617" y="3632"/>
                  </a:lnTo>
                  <a:lnTo>
                    <a:pt x="2601" y="3629"/>
                  </a:lnTo>
                  <a:lnTo>
                    <a:pt x="2402" y="3629"/>
                  </a:lnTo>
                  <a:close/>
                  <a:moveTo>
                    <a:pt x="1714" y="3629"/>
                  </a:moveTo>
                  <a:lnTo>
                    <a:pt x="1699" y="3632"/>
                  </a:lnTo>
                  <a:lnTo>
                    <a:pt x="1688" y="3644"/>
                  </a:lnTo>
                  <a:lnTo>
                    <a:pt x="1683" y="3660"/>
                  </a:lnTo>
                  <a:lnTo>
                    <a:pt x="1683" y="3883"/>
                  </a:lnTo>
                  <a:lnTo>
                    <a:pt x="1688" y="3899"/>
                  </a:lnTo>
                  <a:lnTo>
                    <a:pt x="1699" y="3910"/>
                  </a:lnTo>
                  <a:lnTo>
                    <a:pt x="1714" y="3915"/>
                  </a:lnTo>
                  <a:lnTo>
                    <a:pt x="1913" y="3915"/>
                  </a:lnTo>
                  <a:lnTo>
                    <a:pt x="1929" y="3910"/>
                  </a:lnTo>
                  <a:lnTo>
                    <a:pt x="1941" y="3899"/>
                  </a:lnTo>
                  <a:lnTo>
                    <a:pt x="1945" y="3883"/>
                  </a:lnTo>
                  <a:lnTo>
                    <a:pt x="1945" y="3660"/>
                  </a:lnTo>
                  <a:lnTo>
                    <a:pt x="1941" y="3644"/>
                  </a:lnTo>
                  <a:lnTo>
                    <a:pt x="1929" y="3632"/>
                  </a:lnTo>
                  <a:lnTo>
                    <a:pt x="1913" y="3629"/>
                  </a:lnTo>
                  <a:lnTo>
                    <a:pt x="1714" y="3629"/>
                  </a:lnTo>
                  <a:close/>
                  <a:moveTo>
                    <a:pt x="3088" y="3482"/>
                  </a:moveTo>
                  <a:lnTo>
                    <a:pt x="3287" y="3482"/>
                  </a:lnTo>
                  <a:lnTo>
                    <a:pt x="3329" y="3485"/>
                  </a:lnTo>
                  <a:lnTo>
                    <a:pt x="3366" y="3499"/>
                  </a:lnTo>
                  <a:lnTo>
                    <a:pt x="3399" y="3520"/>
                  </a:lnTo>
                  <a:lnTo>
                    <a:pt x="3427" y="3548"/>
                  </a:lnTo>
                  <a:lnTo>
                    <a:pt x="3448" y="3581"/>
                  </a:lnTo>
                  <a:lnTo>
                    <a:pt x="3462" y="3618"/>
                  </a:lnTo>
                  <a:lnTo>
                    <a:pt x="3465" y="3660"/>
                  </a:lnTo>
                  <a:lnTo>
                    <a:pt x="3465" y="3883"/>
                  </a:lnTo>
                  <a:lnTo>
                    <a:pt x="3462" y="3924"/>
                  </a:lnTo>
                  <a:lnTo>
                    <a:pt x="3448" y="3962"/>
                  </a:lnTo>
                  <a:lnTo>
                    <a:pt x="3427" y="3995"/>
                  </a:lnTo>
                  <a:lnTo>
                    <a:pt x="3399" y="4023"/>
                  </a:lnTo>
                  <a:lnTo>
                    <a:pt x="3366" y="4044"/>
                  </a:lnTo>
                  <a:lnTo>
                    <a:pt x="3329" y="4056"/>
                  </a:lnTo>
                  <a:lnTo>
                    <a:pt x="3287" y="4061"/>
                  </a:lnTo>
                  <a:lnTo>
                    <a:pt x="3088" y="4061"/>
                  </a:lnTo>
                  <a:lnTo>
                    <a:pt x="3048" y="4056"/>
                  </a:lnTo>
                  <a:lnTo>
                    <a:pt x="3010" y="4044"/>
                  </a:lnTo>
                  <a:lnTo>
                    <a:pt x="2977" y="4023"/>
                  </a:lnTo>
                  <a:lnTo>
                    <a:pt x="2949" y="3995"/>
                  </a:lnTo>
                  <a:lnTo>
                    <a:pt x="2928" y="3962"/>
                  </a:lnTo>
                  <a:lnTo>
                    <a:pt x="2915" y="3924"/>
                  </a:lnTo>
                  <a:lnTo>
                    <a:pt x="2910" y="3883"/>
                  </a:lnTo>
                  <a:lnTo>
                    <a:pt x="2910" y="3660"/>
                  </a:lnTo>
                  <a:lnTo>
                    <a:pt x="2915" y="3618"/>
                  </a:lnTo>
                  <a:lnTo>
                    <a:pt x="2928" y="3581"/>
                  </a:lnTo>
                  <a:lnTo>
                    <a:pt x="2949" y="3548"/>
                  </a:lnTo>
                  <a:lnTo>
                    <a:pt x="2977" y="3520"/>
                  </a:lnTo>
                  <a:lnTo>
                    <a:pt x="3010" y="3499"/>
                  </a:lnTo>
                  <a:lnTo>
                    <a:pt x="3048" y="3485"/>
                  </a:lnTo>
                  <a:lnTo>
                    <a:pt x="3088" y="3482"/>
                  </a:lnTo>
                  <a:close/>
                  <a:moveTo>
                    <a:pt x="2402" y="3482"/>
                  </a:moveTo>
                  <a:lnTo>
                    <a:pt x="2601" y="3482"/>
                  </a:lnTo>
                  <a:lnTo>
                    <a:pt x="2641" y="3485"/>
                  </a:lnTo>
                  <a:lnTo>
                    <a:pt x="2680" y="3499"/>
                  </a:lnTo>
                  <a:lnTo>
                    <a:pt x="2711" y="3520"/>
                  </a:lnTo>
                  <a:lnTo>
                    <a:pt x="2739" y="3548"/>
                  </a:lnTo>
                  <a:lnTo>
                    <a:pt x="2760" y="3581"/>
                  </a:lnTo>
                  <a:lnTo>
                    <a:pt x="2774" y="3618"/>
                  </a:lnTo>
                  <a:lnTo>
                    <a:pt x="2779" y="3660"/>
                  </a:lnTo>
                  <a:lnTo>
                    <a:pt x="2779" y="3883"/>
                  </a:lnTo>
                  <a:lnTo>
                    <a:pt x="2774" y="3924"/>
                  </a:lnTo>
                  <a:lnTo>
                    <a:pt x="2760" y="3962"/>
                  </a:lnTo>
                  <a:lnTo>
                    <a:pt x="2739" y="3995"/>
                  </a:lnTo>
                  <a:lnTo>
                    <a:pt x="2711" y="4023"/>
                  </a:lnTo>
                  <a:lnTo>
                    <a:pt x="2680" y="4044"/>
                  </a:lnTo>
                  <a:lnTo>
                    <a:pt x="2641" y="4056"/>
                  </a:lnTo>
                  <a:lnTo>
                    <a:pt x="2601" y="4061"/>
                  </a:lnTo>
                  <a:lnTo>
                    <a:pt x="2402" y="4061"/>
                  </a:lnTo>
                  <a:lnTo>
                    <a:pt x="2360" y="4056"/>
                  </a:lnTo>
                  <a:lnTo>
                    <a:pt x="2324" y="4044"/>
                  </a:lnTo>
                  <a:lnTo>
                    <a:pt x="2290" y="4023"/>
                  </a:lnTo>
                  <a:lnTo>
                    <a:pt x="2262" y="3995"/>
                  </a:lnTo>
                  <a:lnTo>
                    <a:pt x="2242" y="3962"/>
                  </a:lnTo>
                  <a:lnTo>
                    <a:pt x="2228" y="3924"/>
                  </a:lnTo>
                  <a:lnTo>
                    <a:pt x="2222" y="3883"/>
                  </a:lnTo>
                  <a:lnTo>
                    <a:pt x="2222" y="3660"/>
                  </a:lnTo>
                  <a:lnTo>
                    <a:pt x="2228" y="3618"/>
                  </a:lnTo>
                  <a:lnTo>
                    <a:pt x="2242" y="3581"/>
                  </a:lnTo>
                  <a:lnTo>
                    <a:pt x="2262" y="3548"/>
                  </a:lnTo>
                  <a:lnTo>
                    <a:pt x="2290" y="3520"/>
                  </a:lnTo>
                  <a:lnTo>
                    <a:pt x="2324" y="3499"/>
                  </a:lnTo>
                  <a:lnTo>
                    <a:pt x="2360" y="3485"/>
                  </a:lnTo>
                  <a:lnTo>
                    <a:pt x="2402" y="3482"/>
                  </a:lnTo>
                  <a:close/>
                  <a:moveTo>
                    <a:pt x="1714" y="3482"/>
                  </a:moveTo>
                  <a:lnTo>
                    <a:pt x="1913" y="3482"/>
                  </a:lnTo>
                  <a:lnTo>
                    <a:pt x="1955" y="3485"/>
                  </a:lnTo>
                  <a:lnTo>
                    <a:pt x="1992" y="3499"/>
                  </a:lnTo>
                  <a:lnTo>
                    <a:pt x="2025" y="3520"/>
                  </a:lnTo>
                  <a:lnTo>
                    <a:pt x="2053" y="3548"/>
                  </a:lnTo>
                  <a:lnTo>
                    <a:pt x="2074" y="3581"/>
                  </a:lnTo>
                  <a:lnTo>
                    <a:pt x="2088" y="3618"/>
                  </a:lnTo>
                  <a:lnTo>
                    <a:pt x="2091" y="3660"/>
                  </a:lnTo>
                  <a:lnTo>
                    <a:pt x="2091" y="3883"/>
                  </a:lnTo>
                  <a:lnTo>
                    <a:pt x="2088" y="3924"/>
                  </a:lnTo>
                  <a:lnTo>
                    <a:pt x="2074" y="3962"/>
                  </a:lnTo>
                  <a:lnTo>
                    <a:pt x="2053" y="3995"/>
                  </a:lnTo>
                  <a:lnTo>
                    <a:pt x="2025" y="4023"/>
                  </a:lnTo>
                  <a:lnTo>
                    <a:pt x="1992" y="4044"/>
                  </a:lnTo>
                  <a:lnTo>
                    <a:pt x="1955" y="4056"/>
                  </a:lnTo>
                  <a:lnTo>
                    <a:pt x="1913" y="4061"/>
                  </a:lnTo>
                  <a:lnTo>
                    <a:pt x="1714" y="4061"/>
                  </a:lnTo>
                  <a:lnTo>
                    <a:pt x="1674" y="4056"/>
                  </a:lnTo>
                  <a:lnTo>
                    <a:pt x="1636" y="4044"/>
                  </a:lnTo>
                  <a:lnTo>
                    <a:pt x="1603" y="4023"/>
                  </a:lnTo>
                  <a:lnTo>
                    <a:pt x="1575" y="3995"/>
                  </a:lnTo>
                  <a:lnTo>
                    <a:pt x="1554" y="3962"/>
                  </a:lnTo>
                  <a:lnTo>
                    <a:pt x="1541" y="3924"/>
                  </a:lnTo>
                  <a:lnTo>
                    <a:pt x="1536" y="3883"/>
                  </a:lnTo>
                  <a:lnTo>
                    <a:pt x="1536" y="3660"/>
                  </a:lnTo>
                  <a:lnTo>
                    <a:pt x="1541" y="3618"/>
                  </a:lnTo>
                  <a:lnTo>
                    <a:pt x="1554" y="3581"/>
                  </a:lnTo>
                  <a:lnTo>
                    <a:pt x="1575" y="3548"/>
                  </a:lnTo>
                  <a:lnTo>
                    <a:pt x="1603" y="3520"/>
                  </a:lnTo>
                  <a:lnTo>
                    <a:pt x="1636" y="3499"/>
                  </a:lnTo>
                  <a:lnTo>
                    <a:pt x="1674" y="3485"/>
                  </a:lnTo>
                  <a:lnTo>
                    <a:pt x="1714" y="3482"/>
                  </a:lnTo>
                  <a:close/>
                  <a:moveTo>
                    <a:pt x="773" y="3353"/>
                  </a:moveTo>
                  <a:lnTo>
                    <a:pt x="773" y="3452"/>
                  </a:lnTo>
                  <a:lnTo>
                    <a:pt x="873" y="3452"/>
                  </a:lnTo>
                  <a:lnTo>
                    <a:pt x="873" y="3353"/>
                  </a:lnTo>
                  <a:lnTo>
                    <a:pt x="773" y="3353"/>
                  </a:lnTo>
                  <a:close/>
                  <a:moveTo>
                    <a:pt x="395" y="3353"/>
                  </a:moveTo>
                  <a:lnTo>
                    <a:pt x="395" y="3452"/>
                  </a:lnTo>
                  <a:lnTo>
                    <a:pt x="494" y="3452"/>
                  </a:lnTo>
                  <a:lnTo>
                    <a:pt x="494" y="3353"/>
                  </a:lnTo>
                  <a:lnTo>
                    <a:pt x="395" y="3353"/>
                  </a:lnTo>
                  <a:close/>
                  <a:moveTo>
                    <a:pt x="735" y="3248"/>
                  </a:moveTo>
                  <a:lnTo>
                    <a:pt x="911" y="3248"/>
                  </a:lnTo>
                  <a:lnTo>
                    <a:pt x="937" y="3253"/>
                  </a:lnTo>
                  <a:lnTo>
                    <a:pt x="958" y="3267"/>
                  </a:lnTo>
                  <a:lnTo>
                    <a:pt x="974" y="3288"/>
                  </a:lnTo>
                  <a:lnTo>
                    <a:pt x="979" y="3314"/>
                  </a:lnTo>
                  <a:lnTo>
                    <a:pt x="979" y="3491"/>
                  </a:lnTo>
                  <a:lnTo>
                    <a:pt x="974" y="3517"/>
                  </a:lnTo>
                  <a:lnTo>
                    <a:pt x="958" y="3538"/>
                  </a:lnTo>
                  <a:lnTo>
                    <a:pt x="937" y="3553"/>
                  </a:lnTo>
                  <a:lnTo>
                    <a:pt x="911" y="3559"/>
                  </a:lnTo>
                  <a:lnTo>
                    <a:pt x="735" y="3559"/>
                  </a:lnTo>
                  <a:lnTo>
                    <a:pt x="709" y="3553"/>
                  </a:lnTo>
                  <a:lnTo>
                    <a:pt x="688" y="3538"/>
                  </a:lnTo>
                  <a:lnTo>
                    <a:pt x="674" y="3517"/>
                  </a:lnTo>
                  <a:lnTo>
                    <a:pt x="669" y="3491"/>
                  </a:lnTo>
                  <a:lnTo>
                    <a:pt x="669" y="3314"/>
                  </a:lnTo>
                  <a:lnTo>
                    <a:pt x="674" y="3288"/>
                  </a:lnTo>
                  <a:lnTo>
                    <a:pt x="688" y="3267"/>
                  </a:lnTo>
                  <a:lnTo>
                    <a:pt x="709" y="3253"/>
                  </a:lnTo>
                  <a:lnTo>
                    <a:pt x="735" y="3248"/>
                  </a:lnTo>
                  <a:close/>
                  <a:moveTo>
                    <a:pt x="356" y="3248"/>
                  </a:moveTo>
                  <a:lnTo>
                    <a:pt x="532" y="3248"/>
                  </a:lnTo>
                  <a:lnTo>
                    <a:pt x="559" y="3253"/>
                  </a:lnTo>
                  <a:lnTo>
                    <a:pt x="580" y="3267"/>
                  </a:lnTo>
                  <a:lnTo>
                    <a:pt x="594" y="3288"/>
                  </a:lnTo>
                  <a:lnTo>
                    <a:pt x="599" y="3314"/>
                  </a:lnTo>
                  <a:lnTo>
                    <a:pt x="599" y="3491"/>
                  </a:lnTo>
                  <a:lnTo>
                    <a:pt x="594" y="3517"/>
                  </a:lnTo>
                  <a:lnTo>
                    <a:pt x="580" y="3538"/>
                  </a:lnTo>
                  <a:lnTo>
                    <a:pt x="559" y="3553"/>
                  </a:lnTo>
                  <a:lnTo>
                    <a:pt x="532" y="3559"/>
                  </a:lnTo>
                  <a:lnTo>
                    <a:pt x="356" y="3559"/>
                  </a:lnTo>
                  <a:lnTo>
                    <a:pt x="330" y="3553"/>
                  </a:lnTo>
                  <a:lnTo>
                    <a:pt x="309" y="3538"/>
                  </a:lnTo>
                  <a:lnTo>
                    <a:pt x="293" y="3517"/>
                  </a:lnTo>
                  <a:lnTo>
                    <a:pt x="288" y="3491"/>
                  </a:lnTo>
                  <a:lnTo>
                    <a:pt x="288" y="3314"/>
                  </a:lnTo>
                  <a:lnTo>
                    <a:pt x="293" y="3288"/>
                  </a:lnTo>
                  <a:lnTo>
                    <a:pt x="309" y="3267"/>
                  </a:lnTo>
                  <a:lnTo>
                    <a:pt x="330" y="3253"/>
                  </a:lnTo>
                  <a:lnTo>
                    <a:pt x="356" y="3248"/>
                  </a:lnTo>
                  <a:close/>
                  <a:moveTo>
                    <a:pt x="4253" y="3086"/>
                  </a:moveTo>
                  <a:lnTo>
                    <a:pt x="4237" y="3091"/>
                  </a:lnTo>
                  <a:lnTo>
                    <a:pt x="4225" y="3101"/>
                  </a:lnTo>
                  <a:lnTo>
                    <a:pt x="4221" y="3117"/>
                  </a:lnTo>
                  <a:lnTo>
                    <a:pt x="4221" y="3342"/>
                  </a:lnTo>
                  <a:lnTo>
                    <a:pt x="4225" y="3358"/>
                  </a:lnTo>
                  <a:lnTo>
                    <a:pt x="4237" y="3368"/>
                  </a:lnTo>
                  <a:lnTo>
                    <a:pt x="4253" y="3374"/>
                  </a:lnTo>
                  <a:lnTo>
                    <a:pt x="4452" y="3374"/>
                  </a:lnTo>
                  <a:lnTo>
                    <a:pt x="4467" y="3368"/>
                  </a:lnTo>
                  <a:lnTo>
                    <a:pt x="4478" y="3358"/>
                  </a:lnTo>
                  <a:lnTo>
                    <a:pt x="4483" y="3342"/>
                  </a:lnTo>
                  <a:lnTo>
                    <a:pt x="4483" y="3117"/>
                  </a:lnTo>
                  <a:lnTo>
                    <a:pt x="4478" y="3101"/>
                  </a:lnTo>
                  <a:lnTo>
                    <a:pt x="4467" y="3091"/>
                  </a:lnTo>
                  <a:lnTo>
                    <a:pt x="4452" y="3086"/>
                  </a:lnTo>
                  <a:lnTo>
                    <a:pt x="4253" y="3086"/>
                  </a:lnTo>
                  <a:close/>
                  <a:moveTo>
                    <a:pt x="773" y="2986"/>
                  </a:moveTo>
                  <a:lnTo>
                    <a:pt x="773" y="3087"/>
                  </a:lnTo>
                  <a:lnTo>
                    <a:pt x="873" y="3087"/>
                  </a:lnTo>
                  <a:lnTo>
                    <a:pt x="873" y="2986"/>
                  </a:lnTo>
                  <a:lnTo>
                    <a:pt x="773" y="2986"/>
                  </a:lnTo>
                  <a:close/>
                  <a:moveTo>
                    <a:pt x="395" y="2986"/>
                  </a:moveTo>
                  <a:lnTo>
                    <a:pt x="395" y="3087"/>
                  </a:lnTo>
                  <a:lnTo>
                    <a:pt x="494" y="3087"/>
                  </a:lnTo>
                  <a:lnTo>
                    <a:pt x="494" y="2986"/>
                  </a:lnTo>
                  <a:lnTo>
                    <a:pt x="395" y="2986"/>
                  </a:lnTo>
                  <a:close/>
                  <a:moveTo>
                    <a:pt x="4253" y="2939"/>
                  </a:moveTo>
                  <a:lnTo>
                    <a:pt x="4452" y="2939"/>
                  </a:lnTo>
                  <a:lnTo>
                    <a:pt x="4492" y="2944"/>
                  </a:lnTo>
                  <a:lnTo>
                    <a:pt x="4530" y="2958"/>
                  </a:lnTo>
                  <a:lnTo>
                    <a:pt x="4563" y="2979"/>
                  </a:lnTo>
                  <a:lnTo>
                    <a:pt x="4591" y="3007"/>
                  </a:lnTo>
                  <a:lnTo>
                    <a:pt x="4612" y="3040"/>
                  </a:lnTo>
                  <a:lnTo>
                    <a:pt x="4624" y="3077"/>
                  </a:lnTo>
                  <a:lnTo>
                    <a:pt x="4630" y="3117"/>
                  </a:lnTo>
                  <a:lnTo>
                    <a:pt x="4630" y="3342"/>
                  </a:lnTo>
                  <a:lnTo>
                    <a:pt x="4624" y="3382"/>
                  </a:lnTo>
                  <a:lnTo>
                    <a:pt x="4612" y="3421"/>
                  </a:lnTo>
                  <a:lnTo>
                    <a:pt x="4591" y="3454"/>
                  </a:lnTo>
                  <a:lnTo>
                    <a:pt x="4563" y="3480"/>
                  </a:lnTo>
                  <a:lnTo>
                    <a:pt x="4530" y="3501"/>
                  </a:lnTo>
                  <a:lnTo>
                    <a:pt x="4492" y="3515"/>
                  </a:lnTo>
                  <a:lnTo>
                    <a:pt x="4452" y="3520"/>
                  </a:lnTo>
                  <a:lnTo>
                    <a:pt x="4253" y="3520"/>
                  </a:lnTo>
                  <a:lnTo>
                    <a:pt x="4211" y="3515"/>
                  </a:lnTo>
                  <a:lnTo>
                    <a:pt x="4174" y="3501"/>
                  </a:lnTo>
                  <a:lnTo>
                    <a:pt x="4141" y="3480"/>
                  </a:lnTo>
                  <a:lnTo>
                    <a:pt x="4113" y="3454"/>
                  </a:lnTo>
                  <a:lnTo>
                    <a:pt x="4092" y="3421"/>
                  </a:lnTo>
                  <a:lnTo>
                    <a:pt x="4078" y="3382"/>
                  </a:lnTo>
                  <a:lnTo>
                    <a:pt x="4075" y="3342"/>
                  </a:lnTo>
                  <a:lnTo>
                    <a:pt x="4075" y="3117"/>
                  </a:lnTo>
                  <a:lnTo>
                    <a:pt x="4078" y="3077"/>
                  </a:lnTo>
                  <a:lnTo>
                    <a:pt x="4092" y="3040"/>
                  </a:lnTo>
                  <a:lnTo>
                    <a:pt x="4113" y="3007"/>
                  </a:lnTo>
                  <a:lnTo>
                    <a:pt x="4141" y="2979"/>
                  </a:lnTo>
                  <a:lnTo>
                    <a:pt x="4174" y="2958"/>
                  </a:lnTo>
                  <a:lnTo>
                    <a:pt x="4211" y="2944"/>
                  </a:lnTo>
                  <a:lnTo>
                    <a:pt x="4253" y="2939"/>
                  </a:lnTo>
                  <a:close/>
                  <a:moveTo>
                    <a:pt x="735" y="2881"/>
                  </a:moveTo>
                  <a:lnTo>
                    <a:pt x="911" y="2881"/>
                  </a:lnTo>
                  <a:lnTo>
                    <a:pt x="937" y="2887"/>
                  </a:lnTo>
                  <a:lnTo>
                    <a:pt x="958" y="2902"/>
                  </a:lnTo>
                  <a:lnTo>
                    <a:pt x="974" y="2923"/>
                  </a:lnTo>
                  <a:lnTo>
                    <a:pt x="979" y="2948"/>
                  </a:lnTo>
                  <a:lnTo>
                    <a:pt x="979" y="3126"/>
                  </a:lnTo>
                  <a:lnTo>
                    <a:pt x="974" y="3152"/>
                  </a:lnTo>
                  <a:lnTo>
                    <a:pt x="958" y="3173"/>
                  </a:lnTo>
                  <a:lnTo>
                    <a:pt x="937" y="3187"/>
                  </a:lnTo>
                  <a:lnTo>
                    <a:pt x="911" y="3192"/>
                  </a:lnTo>
                  <a:lnTo>
                    <a:pt x="735" y="3192"/>
                  </a:lnTo>
                  <a:lnTo>
                    <a:pt x="709" y="3187"/>
                  </a:lnTo>
                  <a:lnTo>
                    <a:pt x="688" y="3173"/>
                  </a:lnTo>
                  <a:lnTo>
                    <a:pt x="674" y="3152"/>
                  </a:lnTo>
                  <a:lnTo>
                    <a:pt x="669" y="3126"/>
                  </a:lnTo>
                  <a:lnTo>
                    <a:pt x="669" y="2948"/>
                  </a:lnTo>
                  <a:lnTo>
                    <a:pt x="674" y="2923"/>
                  </a:lnTo>
                  <a:lnTo>
                    <a:pt x="688" y="2902"/>
                  </a:lnTo>
                  <a:lnTo>
                    <a:pt x="709" y="2887"/>
                  </a:lnTo>
                  <a:lnTo>
                    <a:pt x="735" y="2881"/>
                  </a:lnTo>
                  <a:close/>
                  <a:moveTo>
                    <a:pt x="356" y="2881"/>
                  </a:moveTo>
                  <a:lnTo>
                    <a:pt x="532" y="2881"/>
                  </a:lnTo>
                  <a:lnTo>
                    <a:pt x="559" y="2887"/>
                  </a:lnTo>
                  <a:lnTo>
                    <a:pt x="580" y="2902"/>
                  </a:lnTo>
                  <a:lnTo>
                    <a:pt x="594" y="2923"/>
                  </a:lnTo>
                  <a:lnTo>
                    <a:pt x="599" y="2948"/>
                  </a:lnTo>
                  <a:lnTo>
                    <a:pt x="599" y="3126"/>
                  </a:lnTo>
                  <a:lnTo>
                    <a:pt x="594" y="3152"/>
                  </a:lnTo>
                  <a:lnTo>
                    <a:pt x="580" y="3173"/>
                  </a:lnTo>
                  <a:lnTo>
                    <a:pt x="559" y="3187"/>
                  </a:lnTo>
                  <a:lnTo>
                    <a:pt x="532" y="3192"/>
                  </a:lnTo>
                  <a:lnTo>
                    <a:pt x="356" y="3192"/>
                  </a:lnTo>
                  <a:lnTo>
                    <a:pt x="330" y="3187"/>
                  </a:lnTo>
                  <a:lnTo>
                    <a:pt x="309" y="3173"/>
                  </a:lnTo>
                  <a:lnTo>
                    <a:pt x="293" y="3152"/>
                  </a:lnTo>
                  <a:lnTo>
                    <a:pt x="288" y="3126"/>
                  </a:lnTo>
                  <a:lnTo>
                    <a:pt x="288" y="2948"/>
                  </a:lnTo>
                  <a:lnTo>
                    <a:pt x="293" y="2923"/>
                  </a:lnTo>
                  <a:lnTo>
                    <a:pt x="309" y="2902"/>
                  </a:lnTo>
                  <a:lnTo>
                    <a:pt x="330" y="2887"/>
                  </a:lnTo>
                  <a:lnTo>
                    <a:pt x="356" y="2881"/>
                  </a:lnTo>
                  <a:close/>
                  <a:moveTo>
                    <a:pt x="3088" y="2873"/>
                  </a:moveTo>
                  <a:lnTo>
                    <a:pt x="3073" y="2876"/>
                  </a:lnTo>
                  <a:lnTo>
                    <a:pt x="3062" y="2888"/>
                  </a:lnTo>
                  <a:lnTo>
                    <a:pt x="3057" y="2904"/>
                  </a:lnTo>
                  <a:lnTo>
                    <a:pt x="3057" y="3128"/>
                  </a:lnTo>
                  <a:lnTo>
                    <a:pt x="3062" y="3143"/>
                  </a:lnTo>
                  <a:lnTo>
                    <a:pt x="3073" y="3154"/>
                  </a:lnTo>
                  <a:lnTo>
                    <a:pt x="3088" y="3159"/>
                  </a:lnTo>
                  <a:lnTo>
                    <a:pt x="3287" y="3159"/>
                  </a:lnTo>
                  <a:lnTo>
                    <a:pt x="3303" y="3154"/>
                  </a:lnTo>
                  <a:lnTo>
                    <a:pt x="3315" y="3143"/>
                  </a:lnTo>
                  <a:lnTo>
                    <a:pt x="3319" y="3128"/>
                  </a:lnTo>
                  <a:lnTo>
                    <a:pt x="3319" y="2904"/>
                  </a:lnTo>
                  <a:lnTo>
                    <a:pt x="3315" y="2888"/>
                  </a:lnTo>
                  <a:lnTo>
                    <a:pt x="3303" y="2876"/>
                  </a:lnTo>
                  <a:lnTo>
                    <a:pt x="3287" y="2873"/>
                  </a:lnTo>
                  <a:lnTo>
                    <a:pt x="3088" y="2873"/>
                  </a:lnTo>
                  <a:close/>
                  <a:moveTo>
                    <a:pt x="2402" y="2873"/>
                  </a:moveTo>
                  <a:lnTo>
                    <a:pt x="2386" y="2876"/>
                  </a:lnTo>
                  <a:lnTo>
                    <a:pt x="2374" y="2888"/>
                  </a:lnTo>
                  <a:lnTo>
                    <a:pt x="2371" y="2904"/>
                  </a:lnTo>
                  <a:lnTo>
                    <a:pt x="2371" y="3128"/>
                  </a:lnTo>
                  <a:lnTo>
                    <a:pt x="2374" y="3143"/>
                  </a:lnTo>
                  <a:lnTo>
                    <a:pt x="2386" y="3154"/>
                  </a:lnTo>
                  <a:lnTo>
                    <a:pt x="2402" y="3159"/>
                  </a:lnTo>
                  <a:lnTo>
                    <a:pt x="2601" y="3159"/>
                  </a:lnTo>
                  <a:lnTo>
                    <a:pt x="2617" y="3154"/>
                  </a:lnTo>
                  <a:lnTo>
                    <a:pt x="2627" y="3143"/>
                  </a:lnTo>
                  <a:lnTo>
                    <a:pt x="2633" y="3128"/>
                  </a:lnTo>
                  <a:lnTo>
                    <a:pt x="2633" y="2904"/>
                  </a:lnTo>
                  <a:lnTo>
                    <a:pt x="2627" y="2888"/>
                  </a:lnTo>
                  <a:lnTo>
                    <a:pt x="2617" y="2876"/>
                  </a:lnTo>
                  <a:lnTo>
                    <a:pt x="2601" y="2873"/>
                  </a:lnTo>
                  <a:lnTo>
                    <a:pt x="2402" y="2873"/>
                  </a:lnTo>
                  <a:close/>
                  <a:moveTo>
                    <a:pt x="1714" y="2873"/>
                  </a:moveTo>
                  <a:lnTo>
                    <a:pt x="1699" y="2876"/>
                  </a:lnTo>
                  <a:lnTo>
                    <a:pt x="1688" y="2888"/>
                  </a:lnTo>
                  <a:lnTo>
                    <a:pt x="1683" y="2904"/>
                  </a:lnTo>
                  <a:lnTo>
                    <a:pt x="1683" y="3128"/>
                  </a:lnTo>
                  <a:lnTo>
                    <a:pt x="1688" y="3143"/>
                  </a:lnTo>
                  <a:lnTo>
                    <a:pt x="1699" y="3154"/>
                  </a:lnTo>
                  <a:lnTo>
                    <a:pt x="1714" y="3159"/>
                  </a:lnTo>
                  <a:lnTo>
                    <a:pt x="1913" y="3159"/>
                  </a:lnTo>
                  <a:lnTo>
                    <a:pt x="1929" y="3154"/>
                  </a:lnTo>
                  <a:lnTo>
                    <a:pt x="1941" y="3143"/>
                  </a:lnTo>
                  <a:lnTo>
                    <a:pt x="1945" y="3128"/>
                  </a:lnTo>
                  <a:lnTo>
                    <a:pt x="1945" y="2904"/>
                  </a:lnTo>
                  <a:lnTo>
                    <a:pt x="1941" y="2888"/>
                  </a:lnTo>
                  <a:lnTo>
                    <a:pt x="1929" y="2876"/>
                  </a:lnTo>
                  <a:lnTo>
                    <a:pt x="1913" y="2873"/>
                  </a:lnTo>
                  <a:lnTo>
                    <a:pt x="1714" y="2873"/>
                  </a:lnTo>
                  <a:close/>
                  <a:moveTo>
                    <a:pt x="3088" y="2724"/>
                  </a:moveTo>
                  <a:lnTo>
                    <a:pt x="3287" y="2724"/>
                  </a:lnTo>
                  <a:lnTo>
                    <a:pt x="3329" y="2730"/>
                  </a:lnTo>
                  <a:lnTo>
                    <a:pt x="3366" y="2744"/>
                  </a:lnTo>
                  <a:lnTo>
                    <a:pt x="3399" y="2765"/>
                  </a:lnTo>
                  <a:lnTo>
                    <a:pt x="3427" y="2792"/>
                  </a:lnTo>
                  <a:lnTo>
                    <a:pt x="3448" y="2826"/>
                  </a:lnTo>
                  <a:lnTo>
                    <a:pt x="3462" y="2862"/>
                  </a:lnTo>
                  <a:lnTo>
                    <a:pt x="3465" y="2904"/>
                  </a:lnTo>
                  <a:lnTo>
                    <a:pt x="3465" y="3128"/>
                  </a:lnTo>
                  <a:lnTo>
                    <a:pt x="3462" y="3168"/>
                  </a:lnTo>
                  <a:lnTo>
                    <a:pt x="3448" y="3206"/>
                  </a:lnTo>
                  <a:lnTo>
                    <a:pt x="3427" y="3239"/>
                  </a:lnTo>
                  <a:lnTo>
                    <a:pt x="3399" y="3267"/>
                  </a:lnTo>
                  <a:lnTo>
                    <a:pt x="3366" y="3288"/>
                  </a:lnTo>
                  <a:lnTo>
                    <a:pt x="3329" y="3300"/>
                  </a:lnTo>
                  <a:lnTo>
                    <a:pt x="3287" y="3306"/>
                  </a:lnTo>
                  <a:lnTo>
                    <a:pt x="3088" y="3306"/>
                  </a:lnTo>
                  <a:lnTo>
                    <a:pt x="3048" y="3300"/>
                  </a:lnTo>
                  <a:lnTo>
                    <a:pt x="3010" y="3288"/>
                  </a:lnTo>
                  <a:lnTo>
                    <a:pt x="2977" y="3267"/>
                  </a:lnTo>
                  <a:lnTo>
                    <a:pt x="2949" y="3239"/>
                  </a:lnTo>
                  <a:lnTo>
                    <a:pt x="2928" y="3206"/>
                  </a:lnTo>
                  <a:lnTo>
                    <a:pt x="2915" y="3168"/>
                  </a:lnTo>
                  <a:lnTo>
                    <a:pt x="2910" y="3128"/>
                  </a:lnTo>
                  <a:lnTo>
                    <a:pt x="2910" y="2904"/>
                  </a:lnTo>
                  <a:lnTo>
                    <a:pt x="2915" y="2862"/>
                  </a:lnTo>
                  <a:lnTo>
                    <a:pt x="2928" y="2826"/>
                  </a:lnTo>
                  <a:lnTo>
                    <a:pt x="2949" y="2792"/>
                  </a:lnTo>
                  <a:lnTo>
                    <a:pt x="2977" y="2765"/>
                  </a:lnTo>
                  <a:lnTo>
                    <a:pt x="3010" y="2744"/>
                  </a:lnTo>
                  <a:lnTo>
                    <a:pt x="3048" y="2730"/>
                  </a:lnTo>
                  <a:lnTo>
                    <a:pt x="3088" y="2724"/>
                  </a:lnTo>
                  <a:close/>
                  <a:moveTo>
                    <a:pt x="2402" y="2724"/>
                  </a:moveTo>
                  <a:lnTo>
                    <a:pt x="2601" y="2724"/>
                  </a:lnTo>
                  <a:lnTo>
                    <a:pt x="2641" y="2730"/>
                  </a:lnTo>
                  <a:lnTo>
                    <a:pt x="2680" y="2744"/>
                  </a:lnTo>
                  <a:lnTo>
                    <a:pt x="2711" y="2765"/>
                  </a:lnTo>
                  <a:lnTo>
                    <a:pt x="2739" y="2792"/>
                  </a:lnTo>
                  <a:lnTo>
                    <a:pt x="2760" y="2826"/>
                  </a:lnTo>
                  <a:lnTo>
                    <a:pt x="2774" y="2862"/>
                  </a:lnTo>
                  <a:lnTo>
                    <a:pt x="2779" y="2904"/>
                  </a:lnTo>
                  <a:lnTo>
                    <a:pt x="2779" y="3128"/>
                  </a:lnTo>
                  <a:lnTo>
                    <a:pt x="2774" y="3168"/>
                  </a:lnTo>
                  <a:lnTo>
                    <a:pt x="2760" y="3206"/>
                  </a:lnTo>
                  <a:lnTo>
                    <a:pt x="2739" y="3239"/>
                  </a:lnTo>
                  <a:lnTo>
                    <a:pt x="2711" y="3267"/>
                  </a:lnTo>
                  <a:lnTo>
                    <a:pt x="2680" y="3288"/>
                  </a:lnTo>
                  <a:lnTo>
                    <a:pt x="2641" y="3300"/>
                  </a:lnTo>
                  <a:lnTo>
                    <a:pt x="2601" y="3306"/>
                  </a:lnTo>
                  <a:lnTo>
                    <a:pt x="2402" y="3306"/>
                  </a:lnTo>
                  <a:lnTo>
                    <a:pt x="2360" y="3300"/>
                  </a:lnTo>
                  <a:lnTo>
                    <a:pt x="2324" y="3288"/>
                  </a:lnTo>
                  <a:lnTo>
                    <a:pt x="2290" y="3267"/>
                  </a:lnTo>
                  <a:lnTo>
                    <a:pt x="2262" y="3239"/>
                  </a:lnTo>
                  <a:lnTo>
                    <a:pt x="2242" y="3206"/>
                  </a:lnTo>
                  <a:lnTo>
                    <a:pt x="2228" y="3168"/>
                  </a:lnTo>
                  <a:lnTo>
                    <a:pt x="2222" y="3128"/>
                  </a:lnTo>
                  <a:lnTo>
                    <a:pt x="2222" y="2904"/>
                  </a:lnTo>
                  <a:lnTo>
                    <a:pt x="2228" y="2862"/>
                  </a:lnTo>
                  <a:lnTo>
                    <a:pt x="2242" y="2826"/>
                  </a:lnTo>
                  <a:lnTo>
                    <a:pt x="2262" y="2792"/>
                  </a:lnTo>
                  <a:lnTo>
                    <a:pt x="2290" y="2765"/>
                  </a:lnTo>
                  <a:lnTo>
                    <a:pt x="2324" y="2744"/>
                  </a:lnTo>
                  <a:lnTo>
                    <a:pt x="2360" y="2730"/>
                  </a:lnTo>
                  <a:lnTo>
                    <a:pt x="2402" y="2724"/>
                  </a:lnTo>
                  <a:close/>
                  <a:moveTo>
                    <a:pt x="1714" y="2724"/>
                  </a:moveTo>
                  <a:lnTo>
                    <a:pt x="1913" y="2724"/>
                  </a:lnTo>
                  <a:lnTo>
                    <a:pt x="1955" y="2730"/>
                  </a:lnTo>
                  <a:lnTo>
                    <a:pt x="1992" y="2744"/>
                  </a:lnTo>
                  <a:lnTo>
                    <a:pt x="2025" y="2765"/>
                  </a:lnTo>
                  <a:lnTo>
                    <a:pt x="2053" y="2792"/>
                  </a:lnTo>
                  <a:lnTo>
                    <a:pt x="2074" y="2826"/>
                  </a:lnTo>
                  <a:lnTo>
                    <a:pt x="2088" y="2862"/>
                  </a:lnTo>
                  <a:lnTo>
                    <a:pt x="2091" y="2904"/>
                  </a:lnTo>
                  <a:lnTo>
                    <a:pt x="2091" y="3128"/>
                  </a:lnTo>
                  <a:lnTo>
                    <a:pt x="2088" y="3168"/>
                  </a:lnTo>
                  <a:lnTo>
                    <a:pt x="2074" y="3206"/>
                  </a:lnTo>
                  <a:lnTo>
                    <a:pt x="2053" y="3239"/>
                  </a:lnTo>
                  <a:lnTo>
                    <a:pt x="2025" y="3267"/>
                  </a:lnTo>
                  <a:lnTo>
                    <a:pt x="1992" y="3288"/>
                  </a:lnTo>
                  <a:lnTo>
                    <a:pt x="1955" y="3300"/>
                  </a:lnTo>
                  <a:lnTo>
                    <a:pt x="1913" y="3306"/>
                  </a:lnTo>
                  <a:lnTo>
                    <a:pt x="1714" y="3306"/>
                  </a:lnTo>
                  <a:lnTo>
                    <a:pt x="1674" y="3300"/>
                  </a:lnTo>
                  <a:lnTo>
                    <a:pt x="1636" y="3288"/>
                  </a:lnTo>
                  <a:lnTo>
                    <a:pt x="1603" y="3267"/>
                  </a:lnTo>
                  <a:lnTo>
                    <a:pt x="1575" y="3239"/>
                  </a:lnTo>
                  <a:lnTo>
                    <a:pt x="1554" y="3206"/>
                  </a:lnTo>
                  <a:lnTo>
                    <a:pt x="1541" y="3168"/>
                  </a:lnTo>
                  <a:lnTo>
                    <a:pt x="1536" y="3128"/>
                  </a:lnTo>
                  <a:lnTo>
                    <a:pt x="1536" y="2904"/>
                  </a:lnTo>
                  <a:lnTo>
                    <a:pt x="1541" y="2862"/>
                  </a:lnTo>
                  <a:lnTo>
                    <a:pt x="1554" y="2826"/>
                  </a:lnTo>
                  <a:lnTo>
                    <a:pt x="1575" y="2792"/>
                  </a:lnTo>
                  <a:lnTo>
                    <a:pt x="1603" y="2765"/>
                  </a:lnTo>
                  <a:lnTo>
                    <a:pt x="1636" y="2744"/>
                  </a:lnTo>
                  <a:lnTo>
                    <a:pt x="1674" y="2730"/>
                  </a:lnTo>
                  <a:lnTo>
                    <a:pt x="1714" y="2724"/>
                  </a:lnTo>
                  <a:close/>
                  <a:moveTo>
                    <a:pt x="773" y="2621"/>
                  </a:moveTo>
                  <a:lnTo>
                    <a:pt x="773" y="2721"/>
                  </a:lnTo>
                  <a:lnTo>
                    <a:pt x="873" y="2721"/>
                  </a:lnTo>
                  <a:lnTo>
                    <a:pt x="873" y="2621"/>
                  </a:lnTo>
                  <a:lnTo>
                    <a:pt x="773" y="2621"/>
                  </a:lnTo>
                  <a:close/>
                  <a:moveTo>
                    <a:pt x="395" y="2621"/>
                  </a:moveTo>
                  <a:lnTo>
                    <a:pt x="395" y="2721"/>
                  </a:lnTo>
                  <a:lnTo>
                    <a:pt x="494" y="2721"/>
                  </a:lnTo>
                  <a:lnTo>
                    <a:pt x="494" y="2621"/>
                  </a:lnTo>
                  <a:lnTo>
                    <a:pt x="395" y="2621"/>
                  </a:lnTo>
                  <a:close/>
                  <a:moveTo>
                    <a:pt x="735" y="2517"/>
                  </a:moveTo>
                  <a:lnTo>
                    <a:pt x="911" y="2517"/>
                  </a:lnTo>
                  <a:lnTo>
                    <a:pt x="937" y="2522"/>
                  </a:lnTo>
                  <a:lnTo>
                    <a:pt x="958" y="2536"/>
                  </a:lnTo>
                  <a:lnTo>
                    <a:pt x="974" y="2557"/>
                  </a:lnTo>
                  <a:lnTo>
                    <a:pt x="979" y="2583"/>
                  </a:lnTo>
                  <a:lnTo>
                    <a:pt x="979" y="2759"/>
                  </a:lnTo>
                  <a:lnTo>
                    <a:pt x="974" y="2785"/>
                  </a:lnTo>
                  <a:lnTo>
                    <a:pt x="958" y="2806"/>
                  </a:lnTo>
                  <a:lnTo>
                    <a:pt x="937" y="2820"/>
                  </a:lnTo>
                  <a:lnTo>
                    <a:pt x="911" y="2826"/>
                  </a:lnTo>
                  <a:lnTo>
                    <a:pt x="735" y="2826"/>
                  </a:lnTo>
                  <a:lnTo>
                    <a:pt x="709" y="2820"/>
                  </a:lnTo>
                  <a:lnTo>
                    <a:pt x="688" y="2806"/>
                  </a:lnTo>
                  <a:lnTo>
                    <a:pt x="674" y="2785"/>
                  </a:lnTo>
                  <a:lnTo>
                    <a:pt x="669" y="2759"/>
                  </a:lnTo>
                  <a:lnTo>
                    <a:pt x="669" y="2583"/>
                  </a:lnTo>
                  <a:lnTo>
                    <a:pt x="674" y="2557"/>
                  </a:lnTo>
                  <a:lnTo>
                    <a:pt x="688" y="2536"/>
                  </a:lnTo>
                  <a:lnTo>
                    <a:pt x="709" y="2522"/>
                  </a:lnTo>
                  <a:lnTo>
                    <a:pt x="735" y="2517"/>
                  </a:lnTo>
                  <a:close/>
                  <a:moveTo>
                    <a:pt x="356" y="2517"/>
                  </a:moveTo>
                  <a:lnTo>
                    <a:pt x="532" y="2517"/>
                  </a:lnTo>
                  <a:lnTo>
                    <a:pt x="559" y="2522"/>
                  </a:lnTo>
                  <a:lnTo>
                    <a:pt x="580" y="2536"/>
                  </a:lnTo>
                  <a:lnTo>
                    <a:pt x="594" y="2557"/>
                  </a:lnTo>
                  <a:lnTo>
                    <a:pt x="599" y="2583"/>
                  </a:lnTo>
                  <a:lnTo>
                    <a:pt x="599" y="2759"/>
                  </a:lnTo>
                  <a:lnTo>
                    <a:pt x="594" y="2785"/>
                  </a:lnTo>
                  <a:lnTo>
                    <a:pt x="580" y="2806"/>
                  </a:lnTo>
                  <a:lnTo>
                    <a:pt x="559" y="2820"/>
                  </a:lnTo>
                  <a:lnTo>
                    <a:pt x="532" y="2826"/>
                  </a:lnTo>
                  <a:lnTo>
                    <a:pt x="356" y="2826"/>
                  </a:lnTo>
                  <a:lnTo>
                    <a:pt x="330" y="2820"/>
                  </a:lnTo>
                  <a:lnTo>
                    <a:pt x="309" y="2806"/>
                  </a:lnTo>
                  <a:lnTo>
                    <a:pt x="293" y="2785"/>
                  </a:lnTo>
                  <a:lnTo>
                    <a:pt x="288" y="2759"/>
                  </a:lnTo>
                  <a:lnTo>
                    <a:pt x="288" y="2583"/>
                  </a:lnTo>
                  <a:lnTo>
                    <a:pt x="293" y="2557"/>
                  </a:lnTo>
                  <a:lnTo>
                    <a:pt x="309" y="2536"/>
                  </a:lnTo>
                  <a:lnTo>
                    <a:pt x="330" y="2522"/>
                  </a:lnTo>
                  <a:lnTo>
                    <a:pt x="356" y="2517"/>
                  </a:lnTo>
                  <a:close/>
                  <a:moveTo>
                    <a:pt x="4253" y="2346"/>
                  </a:moveTo>
                  <a:lnTo>
                    <a:pt x="4237" y="2351"/>
                  </a:lnTo>
                  <a:lnTo>
                    <a:pt x="4225" y="2361"/>
                  </a:lnTo>
                  <a:lnTo>
                    <a:pt x="4221" y="2377"/>
                  </a:lnTo>
                  <a:lnTo>
                    <a:pt x="4221" y="2602"/>
                  </a:lnTo>
                  <a:lnTo>
                    <a:pt x="4225" y="2618"/>
                  </a:lnTo>
                  <a:lnTo>
                    <a:pt x="4237" y="2628"/>
                  </a:lnTo>
                  <a:lnTo>
                    <a:pt x="4253" y="2634"/>
                  </a:lnTo>
                  <a:lnTo>
                    <a:pt x="4452" y="2634"/>
                  </a:lnTo>
                  <a:lnTo>
                    <a:pt x="4467" y="2628"/>
                  </a:lnTo>
                  <a:lnTo>
                    <a:pt x="4478" y="2618"/>
                  </a:lnTo>
                  <a:lnTo>
                    <a:pt x="4483" y="2602"/>
                  </a:lnTo>
                  <a:lnTo>
                    <a:pt x="4483" y="2377"/>
                  </a:lnTo>
                  <a:lnTo>
                    <a:pt x="4478" y="2361"/>
                  </a:lnTo>
                  <a:lnTo>
                    <a:pt x="4467" y="2351"/>
                  </a:lnTo>
                  <a:lnTo>
                    <a:pt x="4452" y="2346"/>
                  </a:lnTo>
                  <a:lnTo>
                    <a:pt x="4253" y="2346"/>
                  </a:lnTo>
                  <a:close/>
                  <a:moveTo>
                    <a:pt x="3706" y="2346"/>
                  </a:moveTo>
                  <a:lnTo>
                    <a:pt x="3741" y="2403"/>
                  </a:lnTo>
                  <a:lnTo>
                    <a:pt x="3767" y="2463"/>
                  </a:lnTo>
                  <a:lnTo>
                    <a:pt x="3783" y="2527"/>
                  </a:lnTo>
                  <a:lnTo>
                    <a:pt x="3788" y="2593"/>
                  </a:lnTo>
                  <a:lnTo>
                    <a:pt x="3788" y="2620"/>
                  </a:lnTo>
                  <a:lnTo>
                    <a:pt x="3794" y="2614"/>
                  </a:lnTo>
                  <a:lnTo>
                    <a:pt x="3795" y="2609"/>
                  </a:lnTo>
                  <a:lnTo>
                    <a:pt x="3795" y="2602"/>
                  </a:lnTo>
                  <a:lnTo>
                    <a:pt x="3795" y="2377"/>
                  </a:lnTo>
                  <a:lnTo>
                    <a:pt x="3792" y="2361"/>
                  </a:lnTo>
                  <a:lnTo>
                    <a:pt x="3780" y="2351"/>
                  </a:lnTo>
                  <a:lnTo>
                    <a:pt x="3764" y="2346"/>
                  </a:lnTo>
                  <a:lnTo>
                    <a:pt x="3706" y="2346"/>
                  </a:lnTo>
                  <a:close/>
                  <a:moveTo>
                    <a:pt x="773" y="2255"/>
                  </a:moveTo>
                  <a:lnTo>
                    <a:pt x="773" y="2354"/>
                  </a:lnTo>
                  <a:lnTo>
                    <a:pt x="873" y="2354"/>
                  </a:lnTo>
                  <a:lnTo>
                    <a:pt x="873" y="2255"/>
                  </a:lnTo>
                  <a:lnTo>
                    <a:pt x="773" y="2255"/>
                  </a:lnTo>
                  <a:close/>
                  <a:moveTo>
                    <a:pt x="395" y="2255"/>
                  </a:moveTo>
                  <a:lnTo>
                    <a:pt x="395" y="2354"/>
                  </a:lnTo>
                  <a:lnTo>
                    <a:pt x="494" y="2354"/>
                  </a:lnTo>
                  <a:lnTo>
                    <a:pt x="494" y="2255"/>
                  </a:lnTo>
                  <a:lnTo>
                    <a:pt x="395" y="2255"/>
                  </a:lnTo>
                  <a:close/>
                  <a:moveTo>
                    <a:pt x="4253" y="2199"/>
                  </a:moveTo>
                  <a:lnTo>
                    <a:pt x="4452" y="2199"/>
                  </a:lnTo>
                  <a:lnTo>
                    <a:pt x="4492" y="2204"/>
                  </a:lnTo>
                  <a:lnTo>
                    <a:pt x="4530" y="2218"/>
                  </a:lnTo>
                  <a:lnTo>
                    <a:pt x="4563" y="2239"/>
                  </a:lnTo>
                  <a:lnTo>
                    <a:pt x="4591" y="2267"/>
                  </a:lnTo>
                  <a:lnTo>
                    <a:pt x="4612" y="2299"/>
                  </a:lnTo>
                  <a:lnTo>
                    <a:pt x="4624" y="2337"/>
                  </a:lnTo>
                  <a:lnTo>
                    <a:pt x="4630" y="2377"/>
                  </a:lnTo>
                  <a:lnTo>
                    <a:pt x="4630" y="2602"/>
                  </a:lnTo>
                  <a:lnTo>
                    <a:pt x="4624" y="2642"/>
                  </a:lnTo>
                  <a:lnTo>
                    <a:pt x="4612" y="2681"/>
                  </a:lnTo>
                  <a:lnTo>
                    <a:pt x="4591" y="2712"/>
                  </a:lnTo>
                  <a:lnTo>
                    <a:pt x="4563" y="2740"/>
                  </a:lnTo>
                  <a:lnTo>
                    <a:pt x="4530" y="2761"/>
                  </a:lnTo>
                  <a:lnTo>
                    <a:pt x="4492" y="2775"/>
                  </a:lnTo>
                  <a:lnTo>
                    <a:pt x="4452" y="2780"/>
                  </a:lnTo>
                  <a:lnTo>
                    <a:pt x="4253" y="2780"/>
                  </a:lnTo>
                  <a:lnTo>
                    <a:pt x="4211" y="2775"/>
                  </a:lnTo>
                  <a:lnTo>
                    <a:pt x="4174" y="2761"/>
                  </a:lnTo>
                  <a:lnTo>
                    <a:pt x="4141" y="2740"/>
                  </a:lnTo>
                  <a:lnTo>
                    <a:pt x="4113" y="2712"/>
                  </a:lnTo>
                  <a:lnTo>
                    <a:pt x="4092" y="2681"/>
                  </a:lnTo>
                  <a:lnTo>
                    <a:pt x="4078" y="2642"/>
                  </a:lnTo>
                  <a:lnTo>
                    <a:pt x="4075" y="2602"/>
                  </a:lnTo>
                  <a:lnTo>
                    <a:pt x="4075" y="2377"/>
                  </a:lnTo>
                  <a:lnTo>
                    <a:pt x="4078" y="2337"/>
                  </a:lnTo>
                  <a:lnTo>
                    <a:pt x="4092" y="2299"/>
                  </a:lnTo>
                  <a:lnTo>
                    <a:pt x="4113" y="2267"/>
                  </a:lnTo>
                  <a:lnTo>
                    <a:pt x="4141" y="2239"/>
                  </a:lnTo>
                  <a:lnTo>
                    <a:pt x="4174" y="2218"/>
                  </a:lnTo>
                  <a:lnTo>
                    <a:pt x="4211" y="2204"/>
                  </a:lnTo>
                  <a:lnTo>
                    <a:pt x="4253" y="2199"/>
                  </a:lnTo>
                  <a:close/>
                  <a:moveTo>
                    <a:pt x="735" y="2150"/>
                  </a:moveTo>
                  <a:lnTo>
                    <a:pt x="911" y="2150"/>
                  </a:lnTo>
                  <a:lnTo>
                    <a:pt x="937" y="2155"/>
                  </a:lnTo>
                  <a:lnTo>
                    <a:pt x="958" y="2169"/>
                  </a:lnTo>
                  <a:lnTo>
                    <a:pt x="974" y="2190"/>
                  </a:lnTo>
                  <a:lnTo>
                    <a:pt x="979" y="2216"/>
                  </a:lnTo>
                  <a:lnTo>
                    <a:pt x="979" y="2393"/>
                  </a:lnTo>
                  <a:lnTo>
                    <a:pt x="974" y="2419"/>
                  </a:lnTo>
                  <a:lnTo>
                    <a:pt x="958" y="2440"/>
                  </a:lnTo>
                  <a:lnTo>
                    <a:pt x="937" y="2454"/>
                  </a:lnTo>
                  <a:lnTo>
                    <a:pt x="911" y="2459"/>
                  </a:lnTo>
                  <a:lnTo>
                    <a:pt x="735" y="2459"/>
                  </a:lnTo>
                  <a:lnTo>
                    <a:pt x="709" y="2454"/>
                  </a:lnTo>
                  <a:lnTo>
                    <a:pt x="688" y="2440"/>
                  </a:lnTo>
                  <a:lnTo>
                    <a:pt x="674" y="2419"/>
                  </a:lnTo>
                  <a:lnTo>
                    <a:pt x="669" y="2393"/>
                  </a:lnTo>
                  <a:lnTo>
                    <a:pt x="669" y="2216"/>
                  </a:lnTo>
                  <a:lnTo>
                    <a:pt x="674" y="2190"/>
                  </a:lnTo>
                  <a:lnTo>
                    <a:pt x="688" y="2169"/>
                  </a:lnTo>
                  <a:lnTo>
                    <a:pt x="709" y="2155"/>
                  </a:lnTo>
                  <a:lnTo>
                    <a:pt x="735" y="2150"/>
                  </a:lnTo>
                  <a:close/>
                  <a:moveTo>
                    <a:pt x="356" y="2150"/>
                  </a:moveTo>
                  <a:lnTo>
                    <a:pt x="532" y="2150"/>
                  </a:lnTo>
                  <a:lnTo>
                    <a:pt x="559" y="2155"/>
                  </a:lnTo>
                  <a:lnTo>
                    <a:pt x="580" y="2169"/>
                  </a:lnTo>
                  <a:lnTo>
                    <a:pt x="594" y="2190"/>
                  </a:lnTo>
                  <a:lnTo>
                    <a:pt x="599" y="2216"/>
                  </a:lnTo>
                  <a:lnTo>
                    <a:pt x="599" y="2393"/>
                  </a:lnTo>
                  <a:lnTo>
                    <a:pt x="594" y="2419"/>
                  </a:lnTo>
                  <a:lnTo>
                    <a:pt x="580" y="2440"/>
                  </a:lnTo>
                  <a:lnTo>
                    <a:pt x="559" y="2454"/>
                  </a:lnTo>
                  <a:lnTo>
                    <a:pt x="532" y="2459"/>
                  </a:lnTo>
                  <a:lnTo>
                    <a:pt x="356" y="2459"/>
                  </a:lnTo>
                  <a:lnTo>
                    <a:pt x="330" y="2454"/>
                  </a:lnTo>
                  <a:lnTo>
                    <a:pt x="309" y="2440"/>
                  </a:lnTo>
                  <a:lnTo>
                    <a:pt x="293" y="2419"/>
                  </a:lnTo>
                  <a:lnTo>
                    <a:pt x="288" y="2393"/>
                  </a:lnTo>
                  <a:lnTo>
                    <a:pt x="288" y="2216"/>
                  </a:lnTo>
                  <a:lnTo>
                    <a:pt x="293" y="2190"/>
                  </a:lnTo>
                  <a:lnTo>
                    <a:pt x="309" y="2169"/>
                  </a:lnTo>
                  <a:lnTo>
                    <a:pt x="330" y="2155"/>
                  </a:lnTo>
                  <a:lnTo>
                    <a:pt x="356" y="2150"/>
                  </a:lnTo>
                  <a:close/>
                  <a:moveTo>
                    <a:pt x="2420" y="2115"/>
                  </a:moveTo>
                  <a:lnTo>
                    <a:pt x="2404" y="2120"/>
                  </a:lnTo>
                  <a:lnTo>
                    <a:pt x="2392" y="2131"/>
                  </a:lnTo>
                  <a:lnTo>
                    <a:pt x="2388" y="2147"/>
                  </a:lnTo>
                  <a:lnTo>
                    <a:pt x="2388" y="2372"/>
                  </a:lnTo>
                  <a:lnTo>
                    <a:pt x="2392" y="2388"/>
                  </a:lnTo>
                  <a:lnTo>
                    <a:pt x="2404" y="2398"/>
                  </a:lnTo>
                  <a:lnTo>
                    <a:pt x="2420" y="2403"/>
                  </a:lnTo>
                  <a:lnTo>
                    <a:pt x="2619" y="2403"/>
                  </a:lnTo>
                  <a:lnTo>
                    <a:pt x="2634" y="2398"/>
                  </a:lnTo>
                  <a:lnTo>
                    <a:pt x="2645" y="2388"/>
                  </a:lnTo>
                  <a:lnTo>
                    <a:pt x="2650" y="2372"/>
                  </a:lnTo>
                  <a:lnTo>
                    <a:pt x="2650" y="2147"/>
                  </a:lnTo>
                  <a:lnTo>
                    <a:pt x="2645" y="2131"/>
                  </a:lnTo>
                  <a:lnTo>
                    <a:pt x="2634" y="2120"/>
                  </a:lnTo>
                  <a:lnTo>
                    <a:pt x="2619" y="2115"/>
                  </a:lnTo>
                  <a:lnTo>
                    <a:pt x="2420" y="2115"/>
                  </a:lnTo>
                  <a:close/>
                  <a:moveTo>
                    <a:pt x="1714" y="2115"/>
                  </a:moveTo>
                  <a:lnTo>
                    <a:pt x="1699" y="2120"/>
                  </a:lnTo>
                  <a:lnTo>
                    <a:pt x="1688" y="2131"/>
                  </a:lnTo>
                  <a:lnTo>
                    <a:pt x="1683" y="2147"/>
                  </a:lnTo>
                  <a:lnTo>
                    <a:pt x="1683" y="2372"/>
                  </a:lnTo>
                  <a:lnTo>
                    <a:pt x="1688" y="2388"/>
                  </a:lnTo>
                  <a:lnTo>
                    <a:pt x="1699" y="2398"/>
                  </a:lnTo>
                  <a:lnTo>
                    <a:pt x="1714" y="2403"/>
                  </a:lnTo>
                  <a:lnTo>
                    <a:pt x="1913" y="2403"/>
                  </a:lnTo>
                  <a:lnTo>
                    <a:pt x="1929" y="2398"/>
                  </a:lnTo>
                  <a:lnTo>
                    <a:pt x="1941" y="2388"/>
                  </a:lnTo>
                  <a:lnTo>
                    <a:pt x="1945" y="2372"/>
                  </a:lnTo>
                  <a:lnTo>
                    <a:pt x="1945" y="2147"/>
                  </a:lnTo>
                  <a:lnTo>
                    <a:pt x="1941" y="2131"/>
                  </a:lnTo>
                  <a:lnTo>
                    <a:pt x="1929" y="2120"/>
                  </a:lnTo>
                  <a:lnTo>
                    <a:pt x="1913" y="2115"/>
                  </a:lnTo>
                  <a:lnTo>
                    <a:pt x="1714" y="2115"/>
                  </a:lnTo>
                  <a:close/>
                  <a:moveTo>
                    <a:pt x="199" y="2000"/>
                  </a:moveTo>
                  <a:lnTo>
                    <a:pt x="178" y="2004"/>
                  </a:lnTo>
                  <a:lnTo>
                    <a:pt x="162" y="2016"/>
                  </a:lnTo>
                  <a:lnTo>
                    <a:pt x="150" y="2031"/>
                  </a:lnTo>
                  <a:lnTo>
                    <a:pt x="147" y="2052"/>
                  </a:lnTo>
                  <a:lnTo>
                    <a:pt x="147" y="3615"/>
                  </a:lnTo>
                  <a:lnTo>
                    <a:pt x="150" y="3636"/>
                  </a:lnTo>
                  <a:lnTo>
                    <a:pt x="162" y="3653"/>
                  </a:lnTo>
                  <a:lnTo>
                    <a:pt x="178" y="3663"/>
                  </a:lnTo>
                  <a:lnTo>
                    <a:pt x="199" y="3667"/>
                  </a:lnTo>
                  <a:lnTo>
                    <a:pt x="1091" y="3667"/>
                  </a:lnTo>
                  <a:lnTo>
                    <a:pt x="1109" y="3663"/>
                  </a:lnTo>
                  <a:lnTo>
                    <a:pt x="1124" y="3653"/>
                  </a:lnTo>
                  <a:lnTo>
                    <a:pt x="1136" y="3639"/>
                  </a:lnTo>
                  <a:lnTo>
                    <a:pt x="1136" y="2028"/>
                  </a:lnTo>
                  <a:lnTo>
                    <a:pt x="1124" y="2014"/>
                  </a:lnTo>
                  <a:lnTo>
                    <a:pt x="1109" y="2004"/>
                  </a:lnTo>
                  <a:lnTo>
                    <a:pt x="1091" y="2000"/>
                  </a:lnTo>
                  <a:lnTo>
                    <a:pt x="199" y="2000"/>
                  </a:lnTo>
                  <a:close/>
                  <a:moveTo>
                    <a:pt x="2420" y="1969"/>
                  </a:moveTo>
                  <a:lnTo>
                    <a:pt x="2619" y="1969"/>
                  </a:lnTo>
                  <a:lnTo>
                    <a:pt x="2659" y="1974"/>
                  </a:lnTo>
                  <a:lnTo>
                    <a:pt x="2697" y="1988"/>
                  </a:lnTo>
                  <a:lnTo>
                    <a:pt x="2730" y="2009"/>
                  </a:lnTo>
                  <a:lnTo>
                    <a:pt x="2757" y="2037"/>
                  </a:lnTo>
                  <a:lnTo>
                    <a:pt x="2779" y="2070"/>
                  </a:lnTo>
                  <a:lnTo>
                    <a:pt x="2791" y="2107"/>
                  </a:lnTo>
                  <a:lnTo>
                    <a:pt x="2797" y="2147"/>
                  </a:lnTo>
                  <a:lnTo>
                    <a:pt x="2797" y="2372"/>
                  </a:lnTo>
                  <a:lnTo>
                    <a:pt x="2791" y="2412"/>
                  </a:lnTo>
                  <a:lnTo>
                    <a:pt x="2779" y="2450"/>
                  </a:lnTo>
                  <a:lnTo>
                    <a:pt x="2757" y="2484"/>
                  </a:lnTo>
                  <a:lnTo>
                    <a:pt x="2730" y="2510"/>
                  </a:lnTo>
                  <a:lnTo>
                    <a:pt x="2697" y="2531"/>
                  </a:lnTo>
                  <a:lnTo>
                    <a:pt x="2659" y="2545"/>
                  </a:lnTo>
                  <a:lnTo>
                    <a:pt x="2619" y="2550"/>
                  </a:lnTo>
                  <a:lnTo>
                    <a:pt x="2420" y="2550"/>
                  </a:lnTo>
                  <a:lnTo>
                    <a:pt x="2378" y="2545"/>
                  </a:lnTo>
                  <a:lnTo>
                    <a:pt x="2341" y="2531"/>
                  </a:lnTo>
                  <a:lnTo>
                    <a:pt x="2308" y="2510"/>
                  </a:lnTo>
                  <a:lnTo>
                    <a:pt x="2280" y="2484"/>
                  </a:lnTo>
                  <a:lnTo>
                    <a:pt x="2259" y="2450"/>
                  </a:lnTo>
                  <a:lnTo>
                    <a:pt x="2245" y="2412"/>
                  </a:lnTo>
                  <a:lnTo>
                    <a:pt x="2242" y="2372"/>
                  </a:lnTo>
                  <a:lnTo>
                    <a:pt x="2242" y="2147"/>
                  </a:lnTo>
                  <a:lnTo>
                    <a:pt x="2245" y="2107"/>
                  </a:lnTo>
                  <a:lnTo>
                    <a:pt x="2259" y="2070"/>
                  </a:lnTo>
                  <a:lnTo>
                    <a:pt x="2280" y="2037"/>
                  </a:lnTo>
                  <a:lnTo>
                    <a:pt x="2308" y="2009"/>
                  </a:lnTo>
                  <a:lnTo>
                    <a:pt x="2341" y="1988"/>
                  </a:lnTo>
                  <a:lnTo>
                    <a:pt x="2378" y="1974"/>
                  </a:lnTo>
                  <a:lnTo>
                    <a:pt x="2420" y="1969"/>
                  </a:lnTo>
                  <a:close/>
                  <a:moveTo>
                    <a:pt x="1714" y="1969"/>
                  </a:moveTo>
                  <a:lnTo>
                    <a:pt x="1913" y="1969"/>
                  </a:lnTo>
                  <a:lnTo>
                    <a:pt x="1955" y="1974"/>
                  </a:lnTo>
                  <a:lnTo>
                    <a:pt x="1992" y="1988"/>
                  </a:lnTo>
                  <a:lnTo>
                    <a:pt x="2025" y="2009"/>
                  </a:lnTo>
                  <a:lnTo>
                    <a:pt x="2053" y="2037"/>
                  </a:lnTo>
                  <a:lnTo>
                    <a:pt x="2074" y="2070"/>
                  </a:lnTo>
                  <a:lnTo>
                    <a:pt x="2088" y="2107"/>
                  </a:lnTo>
                  <a:lnTo>
                    <a:pt x="2091" y="2147"/>
                  </a:lnTo>
                  <a:lnTo>
                    <a:pt x="2091" y="2372"/>
                  </a:lnTo>
                  <a:lnTo>
                    <a:pt x="2088" y="2412"/>
                  </a:lnTo>
                  <a:lnTo>
                    <a:pt x="2074" y="2450"/>
                  </a:lnTo>
                  <a:lnTo>
                    <a:pt x="2053" y="2484"/>
                  </a:lnTo>
                  <a:lnTo>
                    <a:pt x="2025" y="2510"/>
                  </a:lnTo>
                  <a:lnTo>
                    <a:pt x="1992" y="2531"/>
                  </a:lnTo>
                  <a:lnTo>
                    <a:pt x="1955" y="2545"/>
                  </a:lnTo>
                  <a:lnTo>
                    <a:pt x="1913" y="2550"/>
                  </a:lnTo>
                  <a:lnTo>
                    <a:pt x="1714" y="2550"/>
                  </a:lnTo>
                  <a:lnTo>
                    <a:pt x="1674" y="2545"/>
                  </a:lnTo>
                  <a:lnTo>
                    <a:pt x="1636" y="2531"/>
                  </a:lnTo>
                  <a:lnTo>
                    <a:pt x="1603" y="2510"/>
                  </a:lnTo>
                  <a:lnTo>
                    <a:pt x="1575" y="2484"/>
                  </a:lnTo>
                  <a:lnTo>
                    <a:pt x="1554" y="2450"/>
                  </a:lnTo>
                  <a:lnTo>
                    <a:pt x="1541" y="2412"/>
                  </a:lnTo>
                  <a:lnTo>
                    <a:pt x="1536" y="2372"/>
                  </a:lnTo>
                  <a:lnTo>
                    <a:pt x="1536" y="2147"/>
                  </a:lnTo>
                  <a:lnTo>
                    <a:pt x="1541" y="2107"/>
                  </a:lnTo>
                  <a:lnTo>
                    <a:pt x="1554" y="2070"/>
                  </a:lnTo>
                  <a:lnTo>
                    <a:pt x="1575" y="2037"/>
                  </a:lnTo>
                  <a:lnTo>
                    <a:pt x="1603" y="2009"/>
                  </a:lnTo>
                  <a:lnTo>
                    <a:pt x="1636" y="1988"/>
                  </a:lnTo>
                  <a:lnTo>
                    <a:pt x="1674" y="1974"/>
                  </a:lnTo>
                  <a:lnTo>
                    <a:pt x="1714" y="1969"/>
                  </a:lnTo>
                  <a:close/>
                  <a:moveTo>
                    <a:pt x="4253" y="1590"/>
                  </a:moveTo>
                  <a:lnTo>
                    <a:pt x="4237" y="1595"/>
                  </a:lnTo>
                  <a:lnTo>
                    <a:pt x="4225" y="1606"/>
                  </a:lnTo>
                  <a:lnTo>
                    <a:pt x="4221" y="1621"/>
                  </a:lnTo>
                  <a:lnTo>
                    <a:pt x="4221" y="1846"/>
                  </a:lnTo>
                  <a:lnTo>
                    <a:pt x="4225" y="1862"/>
                  </a:lnTo>
                  <a:lnTo>
                    <a:pt x="4237" y="1873"/>
                  </a:lnTo>
                  <a:lnTo>
                    <a:pt x="4253" y="1878"/>
                  </a:lnTo>
                  <a:lnTo>
                    <a:pt x="4452" y="1878"/>
                  </a:lnTo>
                  <a:lnTo>
                    <a:pt x="4467" y="1873"/>
                  </a:lnTo>
                  <a:lnTo>
                    <a:pt x="4478" y="1862"/>
                  </a:lnTo>
                  <a:lnTo>
                    <a:pt x="4483" y="1846"/>
                  </a:lnTo>
                  <a:lnTo>
                    <a:pt x="4483" y="1621"/>
                  </a:lnTo>
                  <a:lnTo>
                    <a:pt x="4478" y="1606"/>
                  </a:lnTo>
                  <a:lnTo>
                    <a:pt x="4467" y="1595"/>
                  </a:lnTo>
                  <a:lnTo>
                    <a:pt x="4452" y="1590"/>
                  </a:lnTo>
                  <a:lnTo>
                    <a:pt x="4253" y="1590"/>
                  </a:lnTo>
                  <a:close/>
                  <a:moveTo>
                    <a:pt x="3565" y="1590"/>
                  </a:moveTo>
                  <a:lnTo>
                    <a:pt x="3549" y="1595"/>
                  </a:lnTo>
                  <a:lnTo>
                    <a:pt x="3539" y="1606"/>
                  </a:lnTo>
                  <a:lnTo>
                    <a:pt x="3533" y="1621"/>
                  </a:lnTo>
                  <a:lnTo>
                    <a:pt x="3533" y="1846"/>
                  </a:lnTo>
                  <a:lnTo>
                    <a:pt x="3539" y="1862"/>
                  </a:lnTo>
                  <a:lnTo>
                    <a:pt x="3549" y="1873"/>
                  </a:lnTo>
                  <a:lnTo>
                    <a:pt x="3565" y="1878"/>
                  </a:lnTo>
                  <a:lnTo>
                    <a:pt x="3764" y="1878"/>
                  </a:lnTo>
                  <a:lnTo>
                    <a:pt x="3780" y="1873"/>
                  </a:lnTo>
                  <a:lnTo>
                    <a:pt x="3792" y="1862"/>
                  </a:lnTo>
                  <a:lnTo>
                    <a:pt x="3795" y="1846"/>
                  </a:lnTo>
                  <a:lnTo>
                    <a:pt x="3795" y="1621"/>
                  </a:lnTo>
                  <a:lnTo>
                    <a:pt x="3792" y="1606"/>
                  </a:lnTo>
                  <a:lnTo>
                    <a:pt x="3780" y="1595"/>
                  </a:lnTo>
                  <a:lnTo>
                    <a:pt x="3764" y="1590"/>
                  </a:lnTo>
                  <a:lnTo>
                    <a:pt x="3565" y="1590"/>
                  </a:lnTo>
                  <a:close/>
                  <a:moveTo>
                    <a:pt x="4253" y="1443"/>
                  </a:moveTo>
                  <a:lnTo>
                    <a:pt x="4452" y="1443"/>
                  </a:lnTo>
                  <a:lnTo>
                    <a:pt x="4492" y="1448"/>
                  </a:lnTo>
                  <a:lnTo>
                    <a:pt x="4530" y="1462"/>
                  </a:lnTo>
                  <a:lnTo>
                    <a:pt x="4563" y="1483"/>
                  </a:lnTo>
                  <a:lnTo>
                    <a:pt x="4591" y="1510"/>
                  </a:lnTo>
                  <a:lnTo>
                    <a:pt x="4612" y="1543"/>
                  </a:lnTo>
                  <a:lnTo>
                    <a:pt x="4624" y="1581"/>
                  </a:lnTo>
                  <a:lnTo>
                    <a:pt x="4630" y="1621"/>
                  </a:lnTo>
                  <a:lnTo>
                    <a:pt x="4630" y="1846"/>
                  </a:lnTo>
                  <a:lnTo>
                    <a:pt x="4624" y="1887"/>
                  </a:lnTo>
                  <a:lnTo>
                    <a:pt x="4612" y="1923"/>
                  </a:lnTo>
                  <a:lnTo>
                    <a:pt x="4591" y="1956"/>
                  </a:lnTo>
                  <a:lnTo>
                    <a:pt x="4563" y="1984"/>
                  </a:lnTo>
                  <a:lnTo>
                    <a:pt x="4530" y="2005"/>
                  </a:lnTo>
                  <a:lnTo>
                    <a:pt x="4492" y="2019"/>
                  </a:lnTo>
                  <a:lnTo>
                    <a:pt x="4452" y="2024"/>
                  </a:lnTo>
                  <a:lnTo>
                    <a:pt x="4253" y="2024"/>
                  </a:lnTo>
                  <a:lnTo>
                    <a:pt x="4211" y="2019"/>
                  </a:lnTo>
                  <a:lnTo>
                    <a:pt x="4174" y="2005"/>
                  </a:lnTo>
                  <a:lnTo>
                    <a:pt x="4141" y="1984"/>
                  </a:lnTo>
                  <a:lnTo>
                    <a:pt x="4113" y="1956"/>
                  </a:lnTo>
                  <a:lnTo>
                    <a:pt x="4092" y="1923"/>
                  </a:lnTo>
                  <a:lnTo>
                    <a:pt x="4078" y="1887"/>
                  </a:lnTo>
                  <a:lnTo>
                    <a:pt x="4075" y="1846"/>
                  </a:lnTo>
                  <a:lnTo>
                    <a:pt x="4075" y="1621"/>
                  </a:lnTo>
                  <a:lnTo>
                    <a:pt x="4078" y="1581"/>
                  </a:lnTo>
                  <a:lnTo>
                    <a:pt x="4092" y="1543"/>
                  </a:lnTo>
                  <a:lnTo>
                    <a:pt x="4113" y="1510"/>
                  </a:lnTo>
                  <a:lnTo>
                    <a:pt x="4141" y="1483"/>
                  </a:lnTo>
                  <a:lnTo>
                    <a:pt x="4174" y="1462"/>
                  </a:lnTo>
                  <a:lnTo>
                    <a:pt x="4211" y="1448"/>
                  </a:lnTo>
                  <a:lnTo>
                    <a:pt x="4253" y="1443"/>
                  </a:lnTo>
                  <a:close/>
                  <a:moveTo>
                    <a:pt x="3565" y="1443"/>
                  </a:moveTo>
                  <a:lnTo>
                    <a:pt x="3764" y="1443"/>
                  </a:lnTo>
                  <a:lnTo>
                    <a:pt x="3806" y="1448"/>
                  </a:lnTo>
                  <a:lnTo>
                    <a:pt x="3842" y="1462"/>
                  </a:lnTo>
                  <a:lnTo>
                    <a:pt x="3876" y="1483"/>
                  </a:lnTo>
                  <a:lnTo>
                    <a:pt x="3903" y="1510"/>
                  </a:lnTo>
                  <a:lnTo>
                    <a:pt x="3924" y="1543"/>
                  </a:lnTo>
                  <a:lnTo>
                    <a:pt x="3938" y="1581"/>
                  </a:lnTo>
                  <a:lnTo>
                    <a:pt x="3944" y="1621"/>
                  </a:lnTo>
                  <a:lnTo>
                    <a:pt x="3944" y="1846"/>
                  </a:lnTo>
                  <a:lnTo>
                    <a:pt x="3938" y="1887"/>
                  </a:lnTo>
                  <a:lnTo>
                    <a:pt x="3924" y="1923"/>
                  </a:lnTo>
                  <a:lnTo>
                    <a:pt x="3903" y="1956"/>
                  </a:lnTo>
                  <a:lnTo>
                    <a:pt x="3876" y="1984"/>
                  </a:lnTo>
                  <a:lnTo>
                    <a:pt x="3842" y="2005"/>
                  </a:lnTo>
                  <a:lnTo>
                    <a:pt x="3806" y="2019"/>
                  </a:lnTo>
                  <a:lnTo>
                    <a:pt x="3764" y="2024"/>
                  </a:lnTo>
                  <a:lnTo>
                    <a:pt x="3565" y="2024"/>
                  </a:lnTo>
                  <a:lnTo>
                    <a:pt x="3525" y="2019"/>
                  </a:lnTo>
                  <a:lnTo>
                    <a:pt x="3486" y="2005"/>
                  </a:lnTo>
                  <a:lnTo>
                    <a:pt x="3455" y="1984"/>
                  </a:lnTo>
                  <a:lnTo>
                    <a:pt x="3427" y="1956"/>
                  </a:lnTo>
                  <a:lnTo>
                    <a:pt x="3406" y="1923"/>
                  </a:lnTo>
                  <a:lnTo>
                    <a:pt x="3392" y="1887"/>
                  </a:lnTo>
                  <a:lnTo>
                    <a:pt x="3387" y="1846"/>
                  </a:lnTo>
                  <a:lnTo>
                    <a:pt x="3387" y="1621"/>
                  </a:lnTo>
                  <a:lnTo>
                    <a:pt x="3392" y="1581"/>
                  </a:lnTo>
                  <a:lnTo>
                    <a:pt x="3406" y="1543"/>
                  </a:lnTo>
                  <a:lnTo>
                    <a:pt x="3427" y="1510"/>
                  </a:lnTo>
                  <a:lnTo>
                    <a:pt x="3455" y="1483"/>
                  </a:lnTo>
                  <a:lnTo>
                    <a:pt x="3486" y="1462"/>
                  </a:lnTo>
                  <a:lnTo>
                    <a:pt x="3525" y="1448"/>
                  </a:lnTo>
                  <a:lnTo>
                    <a:pt x="3565" y="1443"/>
                  </a:lnTo>
                  <a:close/>
                  <a:moveTo>
                    <a:pt x="1714" y="1352"/>
                  </a:moveTo>
                  <a:lnTo>
                    <a:pt x="1699" y="1356"/>
                  </a:lnTo>
                  <a:lnTo>
                    <a:pt x="1688" y="1368"/>
                  </a:lnTo>
                  <a:lnTo>
                    <a:pt x="1683" y="1384"/>
                  </a:lnTo>
                  <a:lnTo>
                    <a:pt x="1683" y="1607"/>
                  </a:lnTo>
                  <a:lnTo>
                    <a:pt x="1688" y="1623"/>
                  </a:lnTo>
                  <a:lnTo>
                    <a:pt x="1699" y="1633"/>
                  </a:lnTo>
                  <a:lnTo>
                    <a:pt x="1714" y="1639"/>
                  </a:lnTo>
                  <a:lnTo>
                    <a:pt x="1913" y="1639"/>
                  </a:lnTo>
                  <a:lnTo>
                    <a:pt x="1929" y="1633"/>
                  </a:lnTo>
                  <a:lnTo>
                    <a:pt x="1941" y="1623"/>
                  </a:lnTo>
                  <a:lnTo>
                    <a:pt x="1945" y="1607"/>
                  </a:lnTo>
                  <a:lnTo>
                    <a:pt x="1945" y="1384"/>
                  </a:lnTo>
                  <a:lnTo>
                    <a:pt x="1941" y="1368"/>
                  </a:lnTo>
                  <a:lnTo>
                    <a:pt x="1929" y="1356"/>
                  </a:lnTo>
                  <a:lnTo>
                    <a:pt x="1913" y="1352"/>
                  </a:lnTo>
                  <a:lnTo>
                    <a:pt x="1714" y="1352"/>
                  </a:lnTo>
                  <a:close/>
                  <a:moveTo>
                    <a:pt x="3219" y="1244"/>
                  </a:moveTo>
                  <a:lnTo>
                    <a:pt x="3184" y="1248"/>
                  </a:lnTo>
                  <a:lnTo>
                    <a:pt x="3153" y="1262"/>
                  </a:lnTo>
                  <a:lnTo>
                    <a:pt x="3127" y="1283"/>
                  </a:lnTo>
                  <a:lnTo>
                    <a:pt x="3106" y="1309"/>
                  </a:lnTo>
                  <a:lnTo>
                    <a:pt x="3092" y="1342"/>
                  </a:lnTo>
                  <a:lnTo>
                    <a:pt x="3086" y="1377"/>
                  </a:lnTo>
                  <a:lnTo>
                    <a:pt x="3086" y="1716"/>
                  </a:lnTo>
                  <a:lnTo>
                    <a:pt x="3086" y="1717"/>
                  </a:lnTo>
                  <a:lnTo>
                    <a:pt x="3086" y="1719"/>
                  </a:lnTo>
                  <a:lnTo>
                    <a:pt x="3568" y="2199"/>
                  </a:lnTo>
                  <a:lnTo>
                    <a:pt x="3764" y="2199"/>
                  </a:lnTo>
                  <a:lnTo>
                    <a:pt x="3806" y="2204"/>
                  </a:lnTo>
                  <a:lnTo>
                    <a:pt x="3842" y="2218"/>
                  </a:lnTo>
                  <a:lnTo>
                    <a:pt x="3876" y="2239"/>
                  </a:lnTo>
                  <a:lnTo>
                    <a:pt x="3903" y="2267"/>
                  </a:lnTo>
                  <a:lnTo>
                    <a:pt x="3924" y="2299"/>
                  </a:lnTo>
                  <a:lnTo>
                    <a:pt x="3938" y="2337"/>
                  </a:lnTo>
                  <a:lnTo>
                    <a:pt x="3944" y="2377"/>
                  </a:lnTo>
                  <a:lnTo>
                    <a:pt x="3944" y="2602"/>
                  </a:lnTo>
                  <a:lnTo>
                    <a:pt x="3937" y="2646"/>
                  </a:lnTo>
                  <a:lnTo>
                    <a:pt x="3923" y="2684"/>
                  </a:lnTo>
                  <a:lnTo>
                    <a:pt x="3898" y="2719"/>
                  </a:lnTo>
                  <a:lnTo>
                    <a:pt x="3867" y="2747"/>
                  </a:lnTo>
                  <a:lnTo>
                    <a:pt x="3830" y="2766"/>
                  </a:lnTo>
                  <a:lnTo>
                    <a:pt x="3788" y="2777"/>
                  </a:lnTo>
                  <a:lnTo>
                    <a:pt x="3788" y="4829"/>
                  </a:lnTo>
                  <a:lnTo>
                    <a:pt x="4820" y="4829"/>
                  </a:lnTo>
                  <a:lnTo>
                    <a:pt x="4855" y="4824"/>
                  </a:lnTo>
                  <a:lnTo>
                    <a:pt x="4888" y="4812"/>
                  </a:lnTo>
                  <a:lnTo>
                    <a:pt x="4914" y="4791"/>
                  </a:lnTo>
                  <a:lnTo>
                    <a:pt x="4935" y="4763"/>
                  </a:lnTo>
                  <a:lnTo>
                    <a:pt x="4949" y="4732"/>
                  </a:lnTo>
                  <a:lnTo>
                    <a:pt x="4953" y="4697"/>
                  </a:lnTo>
                  <a:lnTo>
                    <a:pt x="4953" y="1377"/>
                  </a:lnTo>
                  <a:lnTo>
                    <a:pt x="4949" y="1342"/>
                  </a:lnTo>
                  <a:lnTo>
                    <a:pt x="4935" y="1309"/>
                  </a:lnTo>
                  <a:lnTo>
                    <a:pt x="4914" y="1283"/>
                  </a:lnTo>
                  <a:lnTo>
                    <a:pt x="4888" y="1262"/>
                  </a:lnTo>
                  <a:lnTo>
                    <a:pt x="4855" y="1248"/>
                  </a:lnTo>
                  <a:lnTo>
                    <a:pt x="4820" y="1244"/>
                  </a:lnTo>
                  <a:lnTo>
                    <a:pt x="3219" y="1244"/>
                  </a:lnTo>
                  <a:close/>
                  <a:moveTo>
                    <a:pt x="1714" y="1206"/>
                  </a:moveTo>
                  <a:lnTo>
                    <a:pt x="1913" y="1206"/>
                  </a:lnTo>
                  <a:lnTo>
                    <a:pt x="1955" y="1209"/>
                  </a:lnTo>
                  <a:lnTo>
                    <a:pt x="1992" y="1223"/>
                  </a:lnTo>
                  <a:lnTo>
                    <a:pt x="2025" y="1244"/>
                  </a:lnTo>
                  <a:lnTo>
                    <a:pt x="2053" y="1272"/>
                  </a:lnTo>
                  <a:lnTo>
                    <a:pt x="2074" y="1305"/>
                  </a:lnTo>
                  <a:lnTo>
                    <a:pt x="2088" y="1342"/>
                  </a:lnTo>
                  <a:lnTo>
                    <a:pt x="2091" y="1384"/>
                  </a:lnTo>
                  <a:lnTo>
                    <a:pt x="2091" y="1607"/>
                  </a:lnTo>
                  <a:lnTo>
                    <a:pt x="2088" y="1647"/>
                  </a:lnTo>
                  <a:lnTo>
                    <a:pt x="2074" y="1686"/>
                  </a:lnTo>
                  <a:lnTo>
                    <a:pt x="2053" y="1719"/>
                  </a:lnTo>
                  <a:lnTo>
                    <a:pt x="2025" y="1747"/>
                  </a:lnTo>
                  <a:lnTo>
                    <a:pt x="1992" y="1768"/>
                  </a:lnTo>
                  <a:lnTo>
                    <a:pt x="1955" y="1780"/>
                  </a:lnTo>
                  <a:lnTo>
                    <a:pt x="1913" y="1785"/>
                  </a:lnTo>
                  <a:lnTo>
                    <a:pt x="1714" y="1785"/>
                  </a:lnTo>
                  <a:lnTo>
                    <a:pt x="1674" y="1780"/>
                  </a:lnTo>
                  <a:lnTo>
                    <a:pt x="1636" y="1768"/>
                  </a:lnTo>
                  <a:lnTo>
                    <a:pt x="1603" y="1747"/>
                  </a:lnTo>
                  <a:lnTo>
                    <a:pt x="1575" y="1719"/>
                  </a:lnTo>
                  <a:lnTo>
                    <a:pt x="1554" y="1686"/>
                  </a:lnTo>
                  <a:lnTo>
                    <a:pt x="1541" y="1647"/>
                  </a:lnTo>
                  <a:lnTo>
                    <a:pt x="1536" y="1607"/>
                  </a:lnTo>
                  <a:lnTo>
                    <a:pt x="1536" y="1384"/>
                  </a:lnTo>
                  <a:lnTo>
                    <a:pt x="1541" y="1342"/>
                  </a:lnTo>
                  <a:lnTo>
                    <a:pt x="1554" y="1305"/>
                  </a:lnTo>
                  <a:lnTo>
                    <a:pt x="1575" y="1272"/>
                  </a:lnTo>
                  <a:lnTo>
                    <a:pt x="1603" y="1244"/>
                  </a:lnTo>
                  <a:lnTo>
                    <a:pt x="1636" y="1223"/>
                  </a:lnTo>
                  <a:lnTo>
                    <a:pt x="1674" y="1209"/>
                  </a:lnTo>
                  <a:lnTo>
                    <a:pt x="1714" y="1206"/>
                  </a:lnTo>
                  <a:close/>
                  <a:moveTo>
                    <a:pt x="1335" y="223"/>
                  </a:moveTo>
                  <a:lnTo>
                    <a:pt x="1323" y="256"/>
                  </a:lnTo>
                  <a:lnTo>
                    <a:pt x="1316" y="289"/>
                  </a:lnTo>
                  <a:lnTo>
                    <a:pt x="1315" y="324"/>
                  </a:lnTo>
                  <a:lnTo>
                    <a:pt x="1315" y="5334"/>
                  </a:lnTo>
                  <a:lnTo>
                    <a:pt x="1318" y="5383"/>
                  </a:lnTo>
                  <a:lnTo>
                    <a:pt x="1334" y="5430"/>
                  </a:lnTo>
                  <a:lnTo>
                    <a:pt x="1356" y="5472"/>
                  </a:lnTo>
                  <a:lnTo>
                    <a:pt x="1386" y="5508"/>
                  </a:lnTo>
                  <a:lnTo>
                    <a:pt x="1423" y="5538"/>
                  </a:lnTo>
                  <a:lnTo>
                    <a:pt x="1465" y="5561"/>
                  </a:lnTo>
                  <a:lnTo>
                    <a:pt x="1510" y="5575"/>
                  </a:lnTo>
                  <a:lnTo>
                    <a:pt x="1561" y="5580"/>
                  </a:lnTo>
                  <a:lnTo>
                    <a:pt x="3364" y="5580"/>
                  </a:lnTo>
                  <a:lnTo>
                    <a:pt x="3415" y="5575"/>
                  </a:lnTo>
                  <a:lnTo>
                    <a:pt x="3460" y="5561"/>
                  </a:lnTo>
                  <a:lnTo>
                    <a:pt x="3502" y="5538"/>
                  </a:lnTo>
                  <a:lnTo>
                    <a:pt x="3539" y="5508"/>
                  </a:lnTo>
                  <a:lnTo>
                    <a:pt x="3568" y="5472"/>
                  </a:lnTo>
                  <a:lnTo>
                    <a:pt x="3593" y="5430"/>
                  </a:lnTo>
                  <a:lnTo>
                    <a:pt x="3607" y="5383"/>
                  </a:lnTo>
                  <a:lnTo>
                    <a:pt x="3612" y="5334"/>
                  </a:lnTo>
                  <a:lnTo>
                    <a:pt x="3612" y="2595"/>
                  </a:lnTo>
                  <a:lnTo>
                    <a:pt x="3607" y="2546"/>
                  </a:lnTo>
                  <a:lnTo>
                    <a:pt x="3593" y="2501"/>
                  </a:lnTo>
                  <a:lnTo>
                    <a:pt x="3570" y="2457"/>
                  </a:lnTo>
                  <a:lnTo>
                    <a:pt x="3539" y="2421"/>
                  </a:lnTo>
                  <a:lnTo>
                    <a:pt x="3469" y="2351"/>
                  </a:lnTo>
                  <a:lnTo>
                    <a:pt x="3462" y="2346"/>
                  </a:lnTo>
                  <a:lnTo>
                    <a:pt x="3453" y="2339"/>
                  </a:lnTo>
                  <a:lnTo>
                    <a:pt x="3446" y="2330"/>
                  </a:lnTo>
                  <a:lnTo>
                    <a:pt x="3446" y="2328"/>
                  </a:lnTo>
                  <a:lnTo>
                    <a:pt x="1335" y="223"/>
                  </a:lnTo>
                  <a:close/>
                  <a:moveTo>
                    <a:pt x="1337" y="0"/>
                  </a:moveTo>
                  <a:lnTo>
                    <a:pt x="1363" y="7"/>
                  </a:lnTo>
                  <a:lnTo>
                    <a:pt x="1386" y="24"/>
                  </a:lnTo>
                  <a:lnTo>
                    <a:pt x="2908" y="1541"/>
                  </a:lnTo>
                  <a:lnTo>
                    <a:pt x="2908" y="1377"/>
                  </a:lnTo>
                  <a:lnTo>
                    <a:pt x="2914" y="1321"/>
                  </a:lnTo>
                  <a:lnTo>
                    <a:pt x="2929" y="1269"/>
                  </a:lnTo>
                  <a:lnTo>
                    <a:pt x="2952" y="1220"/>
                  </a:lnTo>
                  <a:lnTo>
                    <a:pt x="2982" y="1176"/>
                  </a:lnTo>
                  <a:lnTo>
                    <a:pt x="3020" y="1140"/>
                  </a:lnTo>
                  <a:lnTo>
                    <a:pt x="3064" y="1108"/>
                  </a:lnTo>
                  <a:lnTo>
                    <a:pt x="3111" y="1085"/>
                  </a:lnTo>
                  <a:lnTo>
                    <a:pt x="3163" y="1071"/>
                  </a:lnTo>
                  <a:lnTo>
                    <a:pt x="3219" y="1066"/>
                  </a:lnTo>
                  <a:lnTo>
                    <a:pt x="4820" y="1066"/>
                  </a:lnTo>
                  <a:lnTo>
                    <a:pt x="4876" y="1071"/>
                  </a:lnTo>
                  <a:lnTo>
                    <a:pt x="4928" y="1085"/>
                  </a:lnTo>
                  <a:lnTo>
                    <a:pt x="4977" y="1108"/>
                  </a:lnTo>
                  <a:lnTo>
                    <a:pt x="5021" y="1140"/>
                  </a:lnTo>
                  <a:lnTo>
                    <a:pt x="5057" y="1176"/>
                  </a:lnTo>
                  <a:lnTo>
                    <a:pt x="5089" y="1220"/>
                  </a:lnTo>
                  <a:lnTo>
                    <a:pt x="5112" y="1269"/>
                  </a:lnTo>
                  <a:lnTo>
                    <a:pt x="5126" y="1321"/>
                  </a:lnTo>
                  <a:lnTo>
                    <a:pt x="5131" y="1377"/>
                  </a:lnTo>
                  <a:lnTo>
                    <a:pt x="5131" y="4697"/>
                  </a:lnTo>
                  <a:lnTo>
                    <a:pt x="5126" y="4753"/>
                  </a:lnTo>
                  <a:lnTo>
                    <a:pt x="5112" y="4805"/>
                  </a:lnTo>
                  <a:lnTo>
                    <a:pt x="5089" y="4854"/>
                  </a:lnTo>
                  <a:lnTo>
                    <a:pt x="5057" y="4896"/>
                  </a:lnTo>
                  <a:lnTo>
                    <a:pt x="5021" y="4934"/>
                  </a:lnTo>
                  <a:lnTo>
                    <a:pt x="4977" y="4966"/>
                  </a:lnTo>
                  <a:lnTo>
                    <a:pt x="4928" y="4988"/>
                  </a:lnTo>
                  <a:lnTo>
                    <a:pt x="4876" y="5002"/>
                  </a:lnTo>
                  <a:lnTo>
                    <a:pt x="4820" y="5007"/>
                  </a:lnTo>
                  <a:lnTo>
                    <a:pt x="3788" y="5007"/>
                  </a:lnTo>
                  <a:lnTo>
                    <a:pt x="3788" y="5334"/>
                  </a:lnTo>
                  <a:lnTo>
                    <a:pt x="3785" y="5397"/>
                  </a:lnTo>
                  <a:lnTo>
                    <a:pt x="3771" y="5456"/>
                  </a:lnTo>
                  <a:lnTo>
                    <a:pt x="3750" y="5512"/>
                  </a:lnTo>
                  <a:lnTo>
                    <a:pt x="3720" y="5564"/>
                  </a:lnTo>
                  <a:lnTo>
                    <a:pt x="3685" y="5611"/>
                  </a:lnTo>
                  <a:lnTo>
                    <a:pt x="3643" y="5653"/>
                  </a:lnTo>
                  <a:lnTo>
                    <a:pt x="3596" y="5690"/>
                  </a:lnTo>
                  <a:lnTo>
                    <a:pt x="3544" y="5718"/>
                  </a:lnTo>
                  <a:lnTo>
                    <a:pt x="3486" y="5741"/>
                  </a:lnTo>
                  <a:lnTo>
                    <a:pt x="3427" y="5753"/>
                  </a:lnTo>
                  <a:lnTo>
                    <a:pt x="3364" y="5758"/>
                  </a:lnTo>
                  <a:lnTo>
                    <a:pt x="1561" y="5758"/>
                  </a:lnTo>
                  <a:lnTo>
                    <a:pt x="1498" y="5753"/>
                  </a:lnTo>
                  <a:lnTo>
                    <a:pt x="1438" y="5741"/>
                  </a:lnTo>
                  <a:lnTo>
                    <a:pt x="1381" y="5718"/>
                  </a:lnTo>
                  <a:lnTo>
                    <a:pt x="1330" y="5690"/>
                  </a:lnTo>
                  <a:lnTo>
                    <a:pt x="1281" y="5653"/>
                  </a:lnTo>
                  <a:lnTo>
                    <a:pt x="1239" y="5611"/>
                  </a:lnTo>
                  <a:lnTo>
                    <a:pt x="1205" y="5564"/>
                  </a:lnTo>
                  <a:lnTo>
                    <a:pt x="1175" y="5512"/>
                  </a:lnTo>
                  <a:lnTo>
                    <a:pt x="1154" y="5456"/>
                  </a:lnTo>
                  <a:lnTo>
                    <a:pt x="1140" y="5397"/>
                  </a:lnTo>
                  <a:lnTo>
                    <a:pt x="1136" y="5334"/>
                  </a:lnTo>
                  <a:lnTo>
                    <a:pt x="1136" y="3808"/>
                  </a:lnTo>
                  <a:lnTo>
                    <a:pt x="1114" y="3814"/>
                  </a:lnTo>
                  <a:lnTo>
                    <a:pt x="1091" y="3814"/>
                  </a:lnTo>
                  <a:lnTo>
                    <a:pt x="199" y="3814"/>
                  </a:lnTo>
                  <a:lnTo>
                    <a:pt x="154" y="3808"/>
                  </a:lnTo>
                  <a:lnTo>
                    <a:pt x="112" y="3794"/>
                  </a:lnTo>
                  <a:lnTo>
                    <a:pt x="75" y="3770"/>
                  </a:lnTo>
                  <a:lnTo>
                    <a:pt x="44" y="3740"/>
                  </a:lnTo>
                  <a:lnTo>
                    <a:pt x="19" y="3702"/>
                  </a:lnTo>
                  <a:lnTo>
                    <a:pt x="5" y="3660"/>
                  </a:lnTo>
                  <a:lnTo>
                    <a:pt x="0" y="3615"/>
                  </a:lnTo>
                  <a:lnTo>
                    <a:pt x="0" y="2052"/>
                  </a:lnTo>
                  <a:lnTo>
                    <a:pt x="5" y="2007"/>
                  </a:lnTo>
                  <a:lnTo>
                    <a:pt x="19" y="1965"/>
                  </a:lnTo>
                  <a:lnTo>
                    <a:pt x="44" y="1928"/>
                  </a:lnTo>
                  <a:lnTo>
                    <a:pt x="75" y="1897"/>
                  </a:lnTo>
                  <a:lnTo>
                    <a:pt x="112" y="1874"/>
                  </a:lnTo>
                  <a:lnTo>
                    <a:pt x="154" y="1859"/>
                  </a:lnTo>
                  <a:lnTo>
                    <a:pt x="199" y="1853"/>
                  </a:lnTo>
                  <a:lnTo>
                    <a:pt x="1091" y="1853"/>
                  </a:lnTo>
                  <a:lnTo>
                    <a:pt x="1114" y="1855"/>
                  </a:lnTo>
                  <a:lnTo>
                    <a:pt x="1136" y="1859"/>
                  </a:lnTo>
                  <a:lnTo>
                    <a:pt x="1136" y="324"/>
                  </a:lnTo>
                  <a:lnTo>
                    <a:pt x="1140" y="269"/>
                  </a:lnTo>
                  <a:lnTo>
                    <a:pt x="1150" y="214"/>
                  </a:lnTo>
                  <a:lnTo>
                    <a:pt x="1168" y="162"/>
                  </a:lnTo>
                  <a:lnTo>
                    <a:pt x="1192" y="113"/>
                  </a:lnTo>
                  <a:lnTo>
                    <a:pt x="1224" y="66"/>
                  </a:lnTo>
                  <a:lnTo>
                    <a:pt x="1260" y="24"/>
                  </a:lnTo>
                  <a:lnTo>
                    <a:pt x="1283" y="7"/>
                  </a:lnTo>
                  <a:lnTo>
                    <a:pt x="1309" y="0"/>
                  </a:lnTo>
                  <a:lnTo>
                    <a:pt x="1337"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Calibri Light"/>
                <a:ea typeface="+mn-ea"/>
                <a:cs typeface="+mn-cs"/>
              </a:endParaRPr>
            </a:p>
          </p:txBody>
        </p:sp>
        <p:sp>
          <p:nvSpPr>
            <p:cNvPr id="138" name="Rectangle 137">
              <a:extLst>
                <a:ext uri="{FF2B5EF4-FFF2-40B4-BE49-F238E27FC236}">
                  <a16:creationId xmlns:a16="http://schemas.microsoft.com/office/drawing/2014/main" id="{F411C8C6-0702-4EA8-91EF-390C4B7F2EAD}"/>
                </a:ext>
              </a:extLst>
            </p:cNvPr>
            <p:cNvSpPr/>
            <p:nvPr/>
          </p:nvSpPr>
          <p:spPr>
            <a:xfrm>
              <a:off x="3075256" y="3056683"/>
              <a:ext cx="861381" cy="210215"/>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Light"/>
                  <a:ea typeface="+mn-ea"/>
                  <a:cs typeface="+mn-cs"/>
                </a:rPr>
                <a:t>On Premise</a:t>
              </a:r>
            </a:p>
          </p:txBody>
        </p:sp>
      </p:grpSp>
      <p:grpSp>
        <p:nvGrpSpPr>
          <p:cNvPr id="139" name="Group 138">
            <a:extLst>
              <a:ext uri="{FF2B5EF4-FFF2-40B4-BE49-F238E27FC236}">
                <a16:creationId xmlns:a16="http://schemas.microsoft.com/office/drawing/2014/main" id="{1FB54565-86D2-4646-947C-CAFABBB556B9}"/>
              </a:ext>
            </a:extLst>
          </p:cNvPr>
          <p:cNvGrpSpPr/>
          <p:nvPr/>
        </p:nvGrpSpPr>
        <p:grpSpPr>
          <a:xfrm>
            <a:off x="48171" y="4311958"/>
            <a:ext cx="945861" cy="609374"/>
            <a:chOff x="5801013" y="2747096"/>
            <a:chExt cx="861381" cy="449789"/>
          </a:xfrm>
        </p:grpSpPr>
        <p:sp>
          <p:nvSpPr>
            <p:cNvPr id="140" name="Freeform 5">
              <a:extLst>
                <a:ext uri="{FF2B5EF4-FFF2-40B4-BE49-F238E27FC236}">
                  <a16:creationId xmlns:a16="http://schemas.microsoft.com/office/drawing/2014/main" id="{C0DF9880-E07E-4D38-B487-054E86238104}"/>
                </a:ext>
              </a:extLst>
            </p:cNvPr>
            <p:cNvSpPr>
              <a:spLocks noChangeAspect="1" noEditPoints="1"/>
            </p:cNvSpPr>
            <p:nvPr/>
          </p:nvSpPr>
          <p:spPr bwMode="auto">
            <a:xfrm>
              <a:off x="6007534" y="2747096"/>
              <a:ext cx="443935" cy="236501"/>
            </a:xfrm>
            <a:custGeom>
              <a:avLst/>
              <a:gdLst>
                <a:gd name="T0" fmla="*/ 1811 w 4800"/>
                <a:gd name="T1" fmla="*/ 1945 h 2550"/>
                <a:gd name="T2" fmla="*/ 1801 w 4800"/>
                <a:gd name="T3" fmla="*/ 1961 h 2550"/>
                <a:gd name="T4" fmla="*/ 1793 w 4800"/>
                <a:gd name="T5" fmla="*/ 1938 h 2550"/>
                <a:gd name="T6" fmla="*/ 1810 w 4800"/>
                <a:gd name="T7" fmla="*/ 1967 h 2550"/>
                <a:gd name="T8" fmla="*/ 1831 w 4800"/>
                <a:gd name="T9" fmla="*/ 1953 h 2550"/>
                <a:gd name="T10" fmla="*/ 1774 w 4800"/>
                <a:gd name="T11" fmla="*/ 1964 h 2550"/>
                <a:gd name="T12" fmla="*/ 1810 w 4800"/>
                <a:gd name="T13" fmla="*/ 2001 h 2550"/>
                <a:gd name="T14" fmla="*/ 1810 w 4800"/>
                <a:gd name="T15" fmla="*/ 2009 h 2550"/>
                <a:gd name="T16" fmla="*/ 3693 w 4800"/>
                <a:gd name="T17" fmla="*/ 1961 h 2550"/>
                <a:gd name="T18" fmla="*/ 3715 w 4800"/>
                <a:gd name="T19" fmla="*/ 1953 h 2550"/>
                <a:gd name="T20" fmla="*/ 3723 w 4800"/>
                <a:gd name="T21" fmla="*/ 1953 h 2550"/>
                <a:gd name="T22" fmla="*/ 3686 w 4800"/>
                <a:gd name="T23" fmla="*/ 1990 h 2550"/>
                <a:gd name="T24" fmla="*/ 3716 w 4800"/>
                <a:gd name="T25" fmla="*/ 1990 h 2550"/>
                <a:gd name="T26" fmla="*/ 3723 w 4800"/>
                <a:gd name="T27" fmla="*/ 1953 h 2550"/>
                <a:gd name="T28" fmla="*/ 3703 w 4800"/>
                <a:gd name="T29" fmla="*/ 1927 h 2550"/>
                <a:gd name="T30" fmla="*/ 3703 w 4800"/>
                <a:gd name="T31" fmla="*/ 1920 h 2550"/>
                <a:gd name="T32" fmla="*/ 3748 w 4800"/>
                <a:gd name="T33" fmla="*/ 1964 h 2550"/>
                <a:gd name="T34" fmla="*/ 1089 w 4800"/>
                <a:gd name="T35" fmla="*/ 1667 h 2550"/>
                <a:gd name="T36" fmla="*/ 1239 w 4800"/>
                <a:gd name="T37" fmla="*/ 1609 h 2550"/>
                <a:gd name="T38" fmla="*/ 1372 w 4800"/>
                <a:gd name="T39" fmla="*/ 1890 h 2550"/>
                <a:gd name="T40" fmla="*/ 1089 w 4800"/>
                <a:gd name="T41" fmla="*/ 1667 h 2550"/>
                <a:gd name="T42" fmla="*/ 1472 w 4800"/>
                <a:gd name="T43" fmla="*/ 2199 h 2550"/>
                <a:gd name="T44" fmla="*/ 1352 w 4800"/>
                <a:gd name="T45" fmla="*/ 1502 h 2550"/>
                <a:gd name="T46" fmla="*/ 1461 w 4800"/>
                <a:gd name="T47" fmla="*/ 1395 h 2550"/>
                <a:gd name="T48" fmla="*/ 1645 w 4800"/>
                <a:gd name="T49" fmla="*/ 1617 h 2550"/>
                <a:gd name="T50" fmla="*/ 3119 w 4800"/>
                <a:gd name="T51" fmla="*/ 1728 h 2550"/>
                <a:gd name="T52" fmla="*/ 3363 w 4800"/>
                <a:gd name="T53" fmla="*/ 1622 h 2550"/>
                <a:gd name="T54" fmla="*/ 3568 w 4800"/>
                <a:gd name="T55" fmla="*/ 1431 h 2550"/>
                <a:gd name="T56" fmla="*/ 3714 w 4800"/>
                <a:gd name="T57" fmla="*/ 1746 h 2550"/>
                <a:gd name="T58" fmla="*/ 2726 w 4800"/>
                <a:gd name="T59" fmla="*/ 1874 h 2550"/>
                <a:gd name="T60" fmla="*/ 2940 w 4800"/>
                <a:gd name="T61" fmla="*/ 1704 h 2550"/>
                <a:gd name="T62" fmla="*/ 3055 w 4800"/>
                <a:gd name="T63" fmla="*/ 1402 h 2550"/>
                <a:gd name="T64" fmla="*/ 2785 w 4800"/>
                <a:gd name="T65" fmla="*/ 1304 h 2550"/>
                <a:gd name="T66" fmla="*/ 2700 w 4800"/>
                <a:gd name="T67" fmla="*/ 1983 h 2550"/>
                <a:gd name="T68" fmla="*/ 3127 w 4800"/>
                <a:gd name="T69" fmla="*/ 1867 h 2550"/>
                <a:gd name="T70" fmla="*/ 2446 w 4800"/>
                <a:gd name="T71" fmla="*/ 1746 h 2550"/>
                <a:gd name="T72" fmla="*/ 1966 w 4800"/>
                <a:gd name="T73" fmla="*/ 1728 h 2550"/>
                <a:gd name="T74" fmla="*/ 1866 w 4800"/>
                <a:gd name="T75" fmla="*/ 1409 h 2550"/>
                <a:gd name="T76" fmla="*/ 2137 w 4800"/>
                <a:gd name="T77" fmla="*/ 1304 h 2550"/>
                <a:gd name="T78" fmla="*/ 2446 w 4800"/>
                <a:gd name="T79" fmla="*/ 1746 h 2550"/>
                <a:gd name="T80" fmla="*/ 129 w 4800"/>
                <a:gd name="T81" fmla="*/ 1900 h 2550"/>
                <a:gd name="T82" fmla="*/ 727 w 4800"/>
                <a:gd name="T83" fmla="*/ 1310 h 2550"/>
                <a:gd name="T84" fmla="*/ 3105 w 4800"/>
                <a:gd name="T85" fmla="*/ 949 h 2550"/>
                <a:gd name="T86" fmla="*/ 4190 w 4800"/>
                <a:gd name="T87" fmla="*/ 1659 h 2550"/>
                <a:gd name="T88" fmla="*/ 4284 w 4800"/>
                <a:gd name="T89" fmla="*/ 2420 h 2550"/>
                <a:gd name="T90" fmla="*/ 4235 w 4800"/>
                <a:gd name="T91" fmla="*/ 1520 h 2550"/>
                <a:gd name="T92" fmla="*/ 598 w 4800"/>
                <a:gd name="T93" fmla="*/ 1253 h 2550"/>
                <a:gd name="T94" fmla="*/ 4800 w 4800"/>
                <a:gd name="T95" fmla="*/ 2034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00" h="2550">
                  <a:moveTo>
                    <a:pt x="1801" y="1961"/>
                  </a:moveTo>
                  <a:lnTo>
                    <a:pt x="1801" y="1961"/>
                  </a:lnTo>
                  <a:lnTo>
                    <a:pt x="1801" y="1945"/>
                  </a:lnTo>
                  <a:lnTo>
                    <a:pt x="1811" y="1945"/>
                  </a:lnTo>
                  <a:cubicBezTo>
                    <a:pt x="1817" y="1945"/>
                    <a:pt x="1823" y="1946"/>
                    <a:pt x="1823" y="1953"/>
                  </a:cubicBezTo>
                  <a:cubicBezTo>
                    <a:pt x="1823" y="1960"/>
                    <a:pt x="1817" y="1961"/>
                    <a:pt x="1810" y="1961"/>
                  </a:cubicBezTo>
                  <a:lnTo>
                    <a:pt x="1801" y="1961"/>
                  </a:lnTo>
                  <a:lnTo>
                    <a:pt x="1801" y="1961"/>
                  </a:lnTo>
                  <a:close/>
                  <a:moveTo>
                    <a:pt x="1831" y="1953"/>
                  </a:moveTo>
                  <a:lnTo>
                    <a:pt x="1831" y="1953"/>
                  </a:lnTo>
                  <a:cubicBezTo>
                    <a:pt x="1831" y="1943"/>
                    <a:pt x="1825" y="1938"/>
                    <a:pt x="1813" y="1938"/>
                  </a:cubicBezTo>
                  <a:lnTo>
                    <a:pt x="1793" y="1938"/>
                  </a:lnTo>
                  <a:lnTo>
                    <a:pt x="1793" y="1990"/>
                  </a:lnTo>
                  <a:lnTo>
                    <a:pt x="1801" y="1990"/>
                  </a:lnTo>
                  <a:lnTo>
                    <a:pt x="1801" y="1967"/>
                  </a:lnTo>
                  <a:lnTo>
                    <a:pt x="1810" y="1967"/>
                  </a:lnTo>
                  <a:lnTo>
                    <a:pt x="1823" y="1990"/>
                  </a:lnTo>
                  <a:lnTo>
                    <a:pt x="1832" y="1990"/>
                  </a:lnTo>
                  <a:lnTo>
                    <a:pt x="1817" y="1967"/>
                  </a:lnTo>
                  <a:cubicBezTo>
                    <a:pt x="1825" y="1966"/>
                    <a:pt x="1831" y="1962"/>
                    <a:pt x="1831" y="1953"/>
                  </a:cubicBezTo>
                  <a:lnTo>
                    <a:pt x="1831" y="1953"/>
                  </a:lnTo>
                  <a:close/>
                  <a:moveTo>
                    <a:pt x="1810" y="2001"/>
                  </a:moveTo>
                  <a:lnTo>
                    <a:pt x="1810" y="2001"/>
                  </a:lnTo>
                  <a:cubicBezTo>
                    <a:pt x="1790" y="2001"/>
                    <a:pt x="1774" y="1985"/>
                    <a:pt x="1774" y="1964"/>
                  </a:cubicBezTo>
                  <a:cubicBezTo>
                    <a:pt x="1774" y="1943"/>
                    <a:pt x="1790" y="1927"/>
                    <a:pt x="1810" y="1927"/>
                  </a:cubicBezTo>
                  <a:cubicBezTo>
                    <a:pt x="1830" y="1927"/>
                    <a:pt x="1846" y="1943"/>
                    <a:pt x="1846" y="1964"/>
                  </a:cubicBezTo>
                  <a:cubicBezTo>
                    <a:pt x="1846" y="1985"/>
                    <a:pt x="1830" y="2001"/>
                    <a:pt x="1810" y="2001"/>
                  </a:cubicBezTo>
                  <a:lnTo>
                    <a:pt x="1810" y="2001"/>
                  </a:lnTo>
                  <a:close/>
                  <a:moveTo>
                    <a:pt x="1810" y="1920"/>
                  </a:moveTo>
                  <a:lnTo>
                    <a:pt x="1810" y="1920"/>
                  </a:lnTo>
                  <a:cubicBezTo>
                    <a:pt x="1786" y="1920"/>
                    <a:pt x="1765" y="1938"/>
                    <a:pt x="1765" y="1964"/>
                  </a:cubicBezTo>
                  <a:cubicBezTo>
                    <a:pt x="1765" y="1990"/>
                    <a:pt x="1786" y="2009"/>
                    <a:pt x="1810" y="2009"/>
                  </a:cubicBezTo>
                  <a:cubicBezTo>
                    <a:pt x="1834" y="2009"/>
                    <a:pt x="1855" y="1990"/>
                    <a:pt x="1855" y="1964"/>
                  </a:cubicBezTo>
                  <a:cubicBezTo>
                    <a:pt x="1855" y="1938"/>
                    <a:pt x="1834" y="1920"/>
                    <a:pt x="1810" y="1920"/>
                  </a:cubicBezTo>
                  <a:lnTo>
                    <a:pt x="1810" y="1920"/>
                  </a:lnTo>
                  <a:close/>
                  <a:moveTo>
                    <a:pt x="3693" y="1961"/>
                  </a:moveTo>
                  <a:lnTo>
                    <a:pt x="3693" y="1961"/>
                  </a:lnTo>
                  <a:lnTo>
                    <a:pt x="3693" y="1945"/>
                  </a:lnTo>
                  <a:lnTo>
                    <a:pt x="3704" y="1945"/>
                  </a:lnTo>
                  <a:cubicBezTo>
                    <a:pt x="3709" y="1945"/>
                    <a:pt x="3715" y="1946"/>
                    <a:pt x="3715" y="1953"/>
                  </a:cubicBezTo>
                  <a:cubicBezTo>
                    <a:pt x="3715" y="1960"/>
                    <a:pt x="3709" y="1961"/>
                    <a:pt x="3703" y="1961"/>
                  </a:cubicBezTo>
                  <a:lnTo>
                    <a:pt x="3693" y="1961"/>
                  </a:lnTo>
                  <a:lnTo>
                    <a:pt x="3693" y="1961"/>
                  </a:lnTo>
                  <a:close/>
                  <a:moveTo>
                    <a:pt x="3723" y="1953"/>
                  </a:moveTo>
                  <a:lnTo>
                    <a:pt x="3723" y="1953"/>
                  </a:lnTo>
                  <a:cubicBezTo>
                    <a:pt x="3723" y="1943"/>
                    <a:pt x="3717" y="1938"/>
                    <a:pt x="3705" y="1938"/>
                  </a:cubicBezTo>
                  <a:lnTo>
                    <a:pt x="3686" y="1938"/>
                  </a:lnTo>
                  <a:lnTo>
                    <a:pt x="3686" y="1990"/>
                  </a:lnTo>
                  <a:lnTo>
                    <a:pt x="3693" y="1990"/>
                  </a:lnTo>
                  <a:lnTo>
                    <a:pt x="3693" y="1967"/>
                  </a:lnTo>
                  <a:lnTo>
                    <a:pt x="3702" y="1967"/>
                  </a:lnTo>
                  <a:lnTo>
                    <a:pt x="3716" y="1990"/>
                  </a:lnTo>
                  <a:lnTo>
                    <a:pt x="3725" y="1990"/>
                  </a:lnTo>
                  <a:lnTo>
                    <a:pt x="3710" y="1967"/>
                  </a:lnTo>
                  <a:cubicBezTo>
                    <a:pt x="3718" y="1966"/>
                    <a:pt x="3723" y="1962"/>
                    <a:pt x="3723" y="1953"/>
                  </a:cubicBezTo>
                  <a:lnTo>
                    <a:pt x="3723" y="1953"/>
                  </a:lnTo>
                  <a:close/>
                  <a:moveTo>
                    <a:pt x="3703" y="2001"/>
                  </a:moveTo>
                  <a:lnTo>
                    <a:pt x="3703" y="2001"/>
                  </a:lnTo>
                  <a:cubicBezTo>
                    <a:pt x="3683" y="2001"/>
                    <a:pt x="3667" y="1985"/>
                    <a:pt x="3667" y="1964"/>
                  </a:cubicBezTo>
                  <a:cubicBezTo>
                    <a:pt x="3667" y="1943"/>
                    <a:pt x="3683" y="1927"/>
                    <a:pt x="3703" y="1927"/>
                  </a:cubicBezTo>
                  <a:cubicBezTo>
                    <a:pt x="3723" y="1927"/>
                    <a:pt x="3739" y="1943"/>
                    <a:pt x="3739" y="1964"/>
                  </a:cubicBezTo>
                  <a:cubicBezTo>
                    <a:pt x="3739" y="1985"/>
                    <a:pt x="3723" y="2001"/>
                    <a:pt x="3703" y="2001"/>
                  </a:cubicBezTo>
                  <a:lnTo>
                    <a:pt x="3703" y="2001"/>
                  </a:lnTo>
                  <a:close/>
                  <a:moveTo>
                    <a:pt x="3703" y="1920"/>
                  </a:moveTo>
                  <a:lnTo>
                    <a:pt x="3703" y="1920"/>
                  </a:lnTo>
                  <a:cubicBezTo>
                    <a:pt x="3678" y="1920"/>
                    <a:pt x="3658" y="1938"/>
                    <a:pt x="3658" y="1964"/>
                  </a:cubicBezTo>
                  <a:cubicBezTo>
                    <a:pt x="3658" y="1990"/>
                    <a:pt x="3678" y="2009"/>
                    <a:pt x="3703" y="2009"/>
                  </a:cubicBezTo>
                  <a:cubicBezTo>
                    <a:pt x="3727" y="2009"/>
                    <a:pt x="3748" y="1990"/>
                    <a:pt x="3748" y="1964"/>
                  </a:cubicBezTo>
                  <a:cubicBezTo>
                    <a:pt x="3748" y="1938"/>
                    <a:pt x="3727" y="1920"/>
                    <a:pt x="3703" y="1920"/>
                  </a:cubicBezTo>
                  <a:lnTo>
                    <a:pt x="3703" y="1920"/>
                  </a:lnTo>
                  <a:close/>
                  <a:moveTo>
                    <a:pt x="1089" y="1667"/>
                  </a:moveTo>
                  <a:lnTo>
                    <a:pt x="1089" y="1667"/>
                  </a:lnTo>
                  <a:cubicBezTo>
                    <a:pt x="854" y="1381"/>
                    <a:pt x="1069" y="1133"/>
                    <a:pt x="1262" y="1085"/>
                  </a:cubicBezTo>
                  <a:cubicBezTo>
                    <a:pt x="1484" y="1029"/>
                    <a:pt x="1685" y="1145"/>
                    <a:pt x="1745" y="1322"/>
                  </a:cubicBezTo>
                  <a:cubicBezTo>
                    <a:pt x="1668" y="1196"/>
                    <a:pt x="1444" y="1168"/>
                    <a:pt x="1321" y="1245"/>
                  </a:cubicBezTo>
                  <a:cubicBezTo>
                    <a:pt x="1183" y="1332"/>
                    <a:pt x="1137" y="1485"/>
                    <a:pt x="1239" y="1609"/>
                  </a:cubicBezTo>
                  <a:cubicBezTo>
                    <a:pt x="1239" y="1609"/>
                    <a:pt x="1312" y="1697"/>
                    <a:pt x="1371" y="1768"/>
                  </a:cubicBezTo>
                  <a:lnTo>
                    <a:pt x="1371" y="1768"/>
                  </a:lnTo>
                  <a:cubicBezTo>
                    <a:pt x="1380" y="1780"/>
                    <a:pt x="1387" y="1788"/>
                    <a:pt x="1387" y="1788"/>
                  </a:cubicBezTo>
                  <a:cubicBezTo>
                    <a:pt x="1413" y="1820"/>
                    <a:pt x="1404" y="1864"/>
                    <a:pt x="1372" y="1890"/>
                  </a:cubicBezTo>
                  <a:cubicBezTo>
                    <a:pt x="1340" y="1917"/>
                    <a:pt x="1296" y="1917"/>
                    <a:pt x="1270" y="1885"/>
                  </a:cubicBezTo>
                  <a:lnTo>
                    <a:pt x="1230" y="1837"/>
                  </a:lnTo>
                  <a:lnTo>
                    <a:pt x="1230" y="1837"/>
                  </a:lnTo>
                  <a:lnTo>
                    <a:pt x="1089" y="1667"/>
                  </a:lnTo>
                  <a:lnTo>
                    <a:pt x="1089" y="1667"/>
                  </a:lnTo>
                  <a:close/>
                  <a:moveTo>
                    <a:pt x="1645" y="1617"/>
                  </a:moveTo>
                  <a:lnTo>
                    <a:pt x="1645" y="1617"/>
                  </a:lnTo>
                  <a:cubicBezTo>
                    <a:pt x="1881" y="1903"/>
                    <a:pt x="1665" y="2151"/>
                    <a:pt x="1472" y="2199"/>
                  </a:cubicBezTo>
                  <a:cubicBezTo>
                    <a:pt x="1250" y="2255"/>
                    <a:pt x="1049" y="2139"/>
                    <a:pt x="989" y="1962"/>
                  </a:cubicBezTo>
                  <a:cubicBezTo>
                    <a:pt x="1066" y="2088"/>
                    <a:pt x="1291" y="2116"/>
                    <a:pt x="1413" y="2039"/>
                  </a:cubicBezTo>
                  <a:cubicBezTo>
                    <a:pt x="1552" y="1952"/>
                    <a:pt x="1598" y="1799"/>
                    <a:pt x="1495" y="1674"/>
                  </a:cubicBezTo>
                  <a:cubicBezTo>
                    <a:pt x="1495" y="1674"/>
                    <a:pt x="1413" y="1576"/>
                    <a:pt x="1352" y="1502"/>
                  </a:cubicBezTo>
                  <a:lnTo>
                    <a:pt x="1352" y="1502"/>
                  </a:lnTo>
                  <a:cubicBezTo>
                    <a:pt x="1347" y="1496"/>
                    <a:pt x="1344" y="1493"/>
                    <a:pt x="1344" y="1493"/>
                  </a:cubicBezTo>
                  <a:cubicBezTo>
                    <a:pt x="1318" y="1460"/>
                    <a:pt x="1327" y="1416"/>
                    <a:pt x="1359" y="1390"/>
                  </a:cubicBezTo>
                  <a:cubicBezTo>
                    <a:pt x="1391" y="1364"/>
                    <a:pt x="1435" y="1363"/>
                    <a:pt x="1461" y="1395"/>
                  </a:cubicBezTo>
                  <a:lnTo>
                    <a:pt x="1480" y="1418"/>
                  </a:lnTo>
                  <a:lnTo>
                    <a:pt x="1480" y="1418"/>
                  </a:lnTo>
                  <a:lnTo>
                    <a:pt x="1645" y="1617"/>
                  </a:lnTo>
                  <a:lnTo>
                    <a:pt x="1645" y="1617"/>
                  </a:lnTo>
                  <a:close/>
                  <a:moveTo>
                    <a:pt x="3714" y="1746"/>
                  </a:moveTo>
                  <a:lnTo>
                    <a:pt x="3714" y="1746"/>
                  </a:lnTo>
                  <a:cubicBezTo>
                    <a:pt x="3714" y="1925"/>
                    <a:pt x="3558" y="1983"/>
                    <a:pt x="3416" y="1983"/>
                  </a:cubicBezTo>
                  <a:cubicBezTo>
                    <a:pt x="3258" y="1983"/>
                    <a:pt x="3126" y="1915"/>
                    <a:pt x="3119" y="1728"/>
                  </a:cubicBezTo>
                  <a:lnTo>
                    <a:pt x="3234" y="1728"/>
                  </a:lnTo>
                  <a:cubicBezTo>
                    <a:pt x="3238" y="1839"/>
                    <a:pt x="3328" y="1874"/>
                    <a:pt x="3423" y="1874"/>
                  </a:cubicBezTo>
                  <a:cubicBezTo>
                    <a:pt x="3494" y="1874"/>
                    <a:pt x="3592" y="1857"/>
                    <a:pt x="3592" y="1762"/>
                  </a:cubicBezTo>
                  <a:cubicBezTo>
                    <a:pt x="3592" y="1666"/>
                    <a:pt x="3478" y="1650"/>
                    <a:pt x="3363" y="1622"/>
                  </a:cubicBezTo>
                  <a:cubicBezTo>
                    <a:pt x="3249" y="1594"/>
                    <a:pt x="3134" y="1553"/>
                    <a:pt x="3134" y="1409"/>
                  </a:cubicBezTo>
                  <a:cubicBezTo>
                    <a:pt x="3134" y="1257"/>
                    <a:pt x="3273" y="1195"/>
                    <a:pt x="3395" y="1195"/>
                  </a:cubicBezTo>
                  <a:cubicBezTo>
                    <a:pt x="3550" y="1195"/>
                    <a:pt x="3673" y="1247"/>
                    <a:pt x="3683" y="1431"/>
                  </a:cubicBezTo>
                  <a:lnTo>
                    <a:pt x="3568" y="1431"/>
                  </a:lnTo>
                  <a:cubicBezTo>
                    <a:pt x="3560" y="1335"/>
                    <a:pt x="3481" y="1304"/>
                    <a:pt x="3405" y="1304"/>
                  </a:cubicBezTo>
                  <a:cubicBezTo>
                    <a:pt x="3336" y="1304"/>
                    <a:pt x="3256" y="1324"/>
                    <a:pt x="3256" y="1400"/>
                  </a:cubicBezTo>
                  <a:cubicBezTo>
                    <a:pt x="3256" y="1489"/>
                    <a:pt x="3378" y="1504"/>
                    <a:pt x="3485" y="1531"/>
                  </a:cubicBezTo>
                  <a:cubicBezTo>
                    <a:pt x="3600" y="1559"/>
                    <a:pt x="3714" y="1600"/>
                    <a:pt x="3714" y="1746"/>
                  </a:cubicBezTo>
                  <a:lnTo>
                    <a:pt x="3714" y="1746"/>
                  </a:lnTo>
                  <a:close/>
                  <a:moveTo>
                    <a:pt x="2940" y="1704"/>
                  </a:moveTo>
                  <a:lnTo>
                    <a:pt x="2940" y="1704"/>
                  </a:lnTo>
                  <a:cubicBezTo>
                    <a:pt x="2940" y="1772"/>
                    <a:pt x="2878" y="1874"/>
                    <a:pt x="2726" y="1874"/>
                  </a:cubicBezTo>
                  <a:cubicBezTo>
                    <a:pt x="2655" y="1874"/>
                    <a:pt x="2590" y="1845"/>
                    <a:pt x="2590" y="1763"/>
                  </a:cubicBezTo>
                  <a:cubicBezTo>
                    <a:pt x="2590" y="1671"/>
                    <a:pt x="2655" y="1642"/>
                    <a:pt x="2731" y="1628"/>
                  </a:cubicBezTo>
                  <a:cubicBezTo>
                    <a:pt x="2808" y="1613"/>
                    <a:pt x="2895" y="1612"/>
                    <a:pt x="2940" y="1577"/>
                  </a:cubicBezTo>
                  <a:lnTo>
                    <a:pt x="2940" y="1704"/>
                  </a:lnTo>
                  <a:lnTo>
                    <a:pt x="2940" y="1704"/>
                  </a:lnTo>
                  <a:close/>
                  <a:moveTo>
                    <a:pt x="3055" y="1790"/>
                  </a:moveTo>
                  <a:lnTo>
                    <a:pt x="3055" y="1790"/>
                  </a:lnTo>
                  <a:lnTo>
                    <a:pt x="3055" y="1402"/>
                  </a:lnTo>
                  <a:cubicBezTo>
                    <a:pt x="3055" y="1225"/>
                    <a:pt x="2918" y="1195"/>
                    <a:pt x="2792" y="1195"/>
                  </a:cubicBezTo>
                  <a:cubicBezTo>
                    <a:pt x="2636" y="1195"/>
                    <a:pt x="2502" y="1260"/>
                    <a:pt x="2495" y="1447"/>
                  </a:cubicBezTo>
                  <a:lnTo>
                    <a:pt x="2610" y="1447"/>
                  </a:lnTo>
                  <a:cubicBezTo>
                    <a:pt x="2616" y="1336"/>
                    <a:pt x="2688" y="1304"/>
                    <a:pt x="2785" y="1304"/>
                  </a:cubicBezTo>
                  <a:cubicBezTo>
                    <a:pt x="2859" y="1304"/>
                    <a:pt x="2941" y="1321"/>
                    <a:pt x="2941" y="1429"/>
                  </a:cubicBezTo>
                  <a:cubicBezTo>
                    <a:pt x="2941" y="1523"/>
                    <a:pt x="2833" y="1514"/>
                    <a:pt x="2705" y="1540"/>
                  </a:cubicBezTo>
                  <a:cubicBezTo>
                    <a:pt x="2586" y="1565"/>
                    <a:pt x="2468" y="1601"/>
                    <a:pt x="2468" y="1772"/>
                  </a:cubicBezTo>
                  <a:cubicBezTo>
                    <a:pt x="2468" y="1922"/>
                    <a:pt x="2572" y="1983"/>
                    <a:pt x="2700" y="1983"/>
                  </a:cubicBezTo>
                  <a:cubicBezTo>
                    <a:pt x="2798" y="1983"/>
                    <a:pt x="2883" y="1947"/>
                    <a:pt x="2947" y="1867"/>
                  </a:cubicBezTo>
                  <a:cubicBezTo>
                    <a:pt x="2947" y="1948"/>
                    <a:pt x="2985" y="1983"/>
                    <a:pt x="3044" y="1983"/>
                  </a:cubicBezTo>
                  <a:cubicBezTo>
                    <a:pt x="3081" y="1983"/>
                    <a:pt x="3107" y="1976"/>
                    <a:pt x="3127" y="1963"/>
                  </a:cubicBezTo>
                  <a:lnTo>
                    <a:pt x="3127" y="1867"/>
                  </a:lnTo>
                  <a:cubicBezTo>
                    <a:pt x="3112" y="1873"/>
                    <a:pt x="3101" y="1874"/>
                    <a:pt x="3092" y="1874"/>
                  </a:cubicBezTo>
                  <a:cubicBezTo>
                    <a:pt x="3055" y="1874"/>
                    <a:pt x="3055" y="1848"/>
                    <a:pt x="3055" y="1790"/>
                  </a:cubicBezTo>
                  <a:lnTo>
                    <a:pt x="3055" y="1790"/>
                  </a:lnTo>
                  <a:close/>
                  <a:moveTo>
                    <a:pt x="2446" y="1746"/>
                  </a:moveTo>
                  <a:lnTo>
                    <a:pt x="2446" y="1746"/>
                  </a:lnTo>
                  <a:cubicBezTo>
                    <a:pt x="2446" y="1925"/>
                    <a:pt x="2290" y="1983"/>
                    <a:pt x="2148" y="1983"/>
                  </a:cubicBezTo>
                  <a:cubicBezTo>
                    <a:pt x="1991" y="1983"/>
                    <a:pt x="1858" y="1915"/>
                    <a:pt x="1851" y="1728"/>
                  </a:cubicBezTo>
                  <a:lnTo>
                    <a:pt x="1966" y="1728"/>
                  </a:lnTo>
                  <a:cubicBezTo>
                    <a:pt x="1970" y="1839"/>
                    <a:pt x="2060" y="1874"/>
                    <a:pt x="2155" y="1874"/>
                  </a:cubicBezTo>
                  <a:cubicBezTo>
                    <a:pt x="2227" y="1874"/>
                    <a:pt x="2324" y="1857"/>
                    <a:pt x="2324" y="1762"/>
                  </a:cubicBezTo>
                  <a:cubicBezTo>
                    <a:pt x="2324" y="1666"/>
                    <a:pt x="2210" y="1650"/>
                    <a:pt x="2095" y="1622"/>
                  </a:cubicBezTo>
                  <a:cubicBezTo>
                    <a:pt x="1981" y="1594"/>
                    <a:pt x="1866" y="1553"/>
                    <a:pt x="1866" y="1409"/>
                  </a:cubicBezTo>
                  <a:cubicBezTo>
                    <a:pt x="1866" y="1257"/>
                    <a:pt x="2006" y="1195"/>
                    <a:pt x="2128" y="1195"/>
                  </a:cubicBezTo>
                  <a:cubicBezTo>
                    <a:pt x="2282" y="1195"/>
                    <a:pt x="2406" y="1247"/>
                    <a:pt x="2415" y="1431"/>
                  </a:cubicBezTo>
                  <a:lnTo>
                    <a:pt x="2300" y="1431"/>
                  </a:lnTo>
                  <a:cubicBezTo>
                    <a:pt x="2292" y="1335"/>
                    <a:pt x="2213" y="1304"/>
                    <a:pt x="2137" y="1304"/>
                  </a:cubicBezTo>
                  <a:cubicBezTo>
                    <a:pt x="2068" y="1304"/>
                    <a:pt x="1988" y="1324"/>
                    <a:pt x="1988" y="1400"/>
                  </a:cubicBezTo>
                  <a:cubicBezTo>
                    <a:pt x="1988" y="1489"/>
                    <a:pt x="2110" y="1504"/>
                    <a:pt x="2217" y="1531"/>
                  </a:cubicBezTo>
                  <a:cubicBezTo>
                    <a:pt x="2332" y="1559"/>
                    <a:pt x="2446" y="1600"/>
                    <a:pt x="2446" y="1746"/>
                  </a:cubicBezTo>
                  <a:lnTo>
                    <a:pt x="2446" y="1746"/>
                  </a:lnTo>
                  <a:close/>
                  <a:moveTo>
                    <a:pt x="4284" y="2420"/>
                  </a:moveTo>
                  <a:lnTo>
                    <a:pt x="4284" y="2420"/>
                  </a:lnTo>
                  <a:lnTo>
                    <a:pt x="648" y="2419"/>
                  </a:lnTo>
                  <a:cubicBezTo>
                    <a:pt x="362" y="2419"/>
                    <a:pt x="129" y="2186"/>
                    <a:pt x="129" y="1900"/>
                  </a:cubicBezTo>
                  <a:cubicBezTo>
                    <a:pt x="129" y="1614"/>
                    <a:pt x="362" y="1381"/>
                    <a:pt x="648" y="1381"/>
                  </a:cubicBezTo>
                  <a:lnTo>
                    <a:pt x="660" y="1382"/>
                  </a:lnTo>
                  <a:cubicBezTo>
                    <a:pt x="680" y="1381"/>
                    <a:pt x="695" y="1372"/>
                    <a:pt x="707" y="1360"/>
                  </a:cubicBezTo>
                  <a:cubicBezTo>
                    <a:pt x="720" y="1348"/>
                    <a:pt x="727" y="1328"/>
                    <a:pt x="727" y="1310"/>
                  </a:cubicBezTo>
                  <a:cubicBezTo>
                    <a:pt x="727" y="659"/>
                    <a:pt x="1257" y="129"/>
                    <a:pt x="1908" y="129"/>
                  </a:cubicBezTo>
                  <a:cubicBezTo>
                    <a:pt x="2405" y="129"/>
                    <a:pt x="2851" y="443"/>
                    <a:pt x="3019" y="911"/>
                  </a:cubicBezTo>
                  <a:cubicBezTo>
                    <a:pt x="3025" y="928"/>
                    <a:pt x="3038" y="941"/>
                    <a:pt x="3054" y="948"/>
                  </a:cubicBezTo>
                  <a:cubicBezTo>
                    <a:pt x="3070" y="956"/>
                    <a:pt x="3089" y="956"/>
                    <a:pt x="3105" y="949"/>
                  </a:cubicBezTo>
                  <a:cubicBezTo>
                    <a:pt x="3194" y="912"/>
                    <a:pt x="3288" y="893"/>
                    <a:pt x="3385" y="893"/>
                  </a:cubicBezTo>
                  <a:cubicBezTo>
                    <a:pt x="3779" y="893"/>
                    <a:pt x="4097" y="1201"/>
                    <a:pt x="4110" y="1601"/>
                  </a:cubicBezTo>
                  <a:cubicBezTo>
                    <a:pt x="4112" y="1620"/>
                    <a:pt x="4121" y="1637"/>
                    <a:pt x="4137" y="1648"/>
                  </a:cubicBezTo>
                  <a:cubicBezTo>
                    <a:pt x="4152" y="1660"/>
                    <a:pt x="4172" y="1664"/>
                    <a:pt x="4190" y="1659"/>
                  </a:cubicBezTo>
                  <a:lnTo>
                    <a:pt x="4197" y="1657"/>
                  </a:lnTo>
                  <a:cubicBezTo>
                    <a:pt x="4226" y="1651"/>
                    <a:pt x="4255" y="1648"/>
                    <a:pt x="4284" y="1648"/>
                  </a:cubicBezTo>
                  <a:cubicBezTo>
                    <a:pt x="4497" y="1648"/>
                    <a:pt x="4670" y="1821"/>
                    <a:pt x="4670" y="2034"/>
                  </a:cubicBezTo>
                  <a:cubicBezTo>
                    <a:pt x="4670" y="2246"/>
                    <a:pt x="4497" y="2420"/>
                    <a:pt x="4284" y="2420"/>
                  </a:cubicBezTo>
                  <a:lnTo>
                    <a:pt x="4284" y="2420"/>
                  </a:lnTo>
                  <a:close/>
                  <a:moveTo>
                    <a:pt x="4284" y="1518"/>
                  </a:moveTo>
                  <a:lnTo>
                    <a:pt x="4284" y="1518"/>
                  </a:lnTo>
                  <a:cubicBezTo>
                    <a:pt x="4267" y="1518"/>
                    <a:pt x="4251" y="1519"/>
                    <a:pt x="4235" y="1520"/>
                  </a:cubicBezTo>
                  <a:cubicBezTo>
                    <a:pt x="4186" y="1090"/>
                    <a:pt x="3825" y="763"/>
                    <a:pt x="3385" y="763"/>
                  </a:cubicBezTo>
                  <a:cubicBezTo>
                    <a:pt x="3293" y="763"/>
                    <a:pt x="3204" y="778"/>
                    <a:pt x="3118" y="806"/>
                  </a:cubicBezTo>
                  <a:cubicBezTo>
                    <a:pt x="2915" y="321"/>
                    <a:pt x="2437" y="0"/>
                    <a:pt x="1908" y="0"/>
                  </a:cubicBezTo>
                  <a:cubicBezTo>
                    <a:pt x="1204" y="0"/>
                    <a:pt x="628" y="557"/>
                    <a:pt x="598" y="1253"/>
                  </a:cubicBezTo>
                  <a:cubicBezTo>
                    <a:pt x="264" y="1279"/>
                    <a:pt x="0" y="1559"/>
                    <a:pt x="0" y="1900"/>
                  </a:cubicBezTo>
                  <a:cubicBezTo>
                    <a:pt x="0" y="2258"/>
                    <a:pt x="291" y="2549"/>
                    <a:pt x="648" y="2549"/>
                  </a:cubicBezTo>
                  <a:lnTo>
                    <a:pt x="4284" y="2550"/>
                  </a:lnTo>
                  <a:cubicBezTo>
                    <a:pt x="4568" y="2550"/>
                    <a:pt x="4800" y="2318"/>
                    <a:pt x="4800" y="2034"/>
                  </a:cubicBezTo>
                  <a:cubicBezTo>
                    <a:pt x="4800" y="1749"/>
                    <a:pt x="4568" y="1518"/>
                    <a:pt x="4284" y="1518"/>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solidFill>
                <a:effectLst/>
                <a:uLnTx/>
                <a:uFillTx/>
                <a:latin typeface="Calibri Light"/>
                <a:ea typeface="+mn-ea"/>
                <a:cs typeface="+mn-cs"/>
              </a:endParaRPr>
            </a:p>
          </p:txBody>
        </p:sp>
        <p:sp>
          <p:nvSpPr>
            <p:cNvPr id="141" name="Rectangle 140">
              <a:extLst>
                <a:ext uri="{FF2B5EF4-FFF2-40B4-BE49-F238E27FC236}">
                  <a16:creationId xmlns:a16="http://schemas.microsoft.com/office/drawing/2014/main" id="{087258F4-D7F8-4D5D-8946-DE81325577E1}"/>
                </a:ext>
              </a:extLst>
            </p:cNvPr>
            <p:cNvSpPr/>
            <p:nvPr/>
          </p:nvSpPr>
          <p:spPr>
            <a:xfrm>
              <a:off x="5801013" y="3026504"/>
              <a:ext cx="861381" cy="170381"/>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Light"/>
                  <a:ea typeface="+mn-ea"/>
                  <a:cs typeface="+mn-cs"/>
                </a:rPr>
                <a:t>SAS Cloud</a:t>
              </a:r>
            </a:p>
          </p:txBody>
        </p:sp>
      </p:grpSp>
      <p:grpSp>
        <p:nvGrpSpPr>
          <p:cNvPr id="142" name="Group 141">
            <a:extLst>
              <a:ext uri="{FF2B5EF4-FFF2-40B4-BE49-F238E27FC236}">
                <a16:creationId xmlns:a16="http://schemas.microsoft.com/office/drawing/2014/main" id="{CFE44762-4DFF-4520-9E80-AC25F1715A6B}"/>
              </a:ext>
            </a:extLst>
          </p:cNvPr>
          <p:cNvGrpSpPr/>
          <p:nvPr/>
        </p:nvGrpSpPr>
        <p:grpSpPr>
          <a:xfrm>
            <a:off x="887316" y="4341551"/>
            <a:ext cx="747394" cy="612190"/>
            <a:chOff x="848802" y="4049487"/>
            <a:chExt cx="803999" cy="568081"/>
          </a:xfrm>
        </p:grpSpPr>
        <p:sp>
          <p:nvSpPr>
            <p:cNvPr id="143" name="TextBox 142">
              <a:extLst>
                <a:ext uri="{FF2B5EF4-FFF2-40B4-BE49-F238E27FC236}">
                  <a16:creationId xmlns:a16="http://schemas.microsoft.com/office/drawing/2014/main" id="{E9CE1B6A-2958-494D-9F6B-FE3A9E3E0AFA}"/>
                </a:ext>
              </a:extLst>
            </p:cNvPr>
            <p:cNvSpPr txBox="1"/>
            <p:nvPr>
              <p:custDataLst>
                <p:tags r:id="rId46"/>
              </p:custDataLst>
            </p:nvPr>
          </p:nvSpPr>
          <p:spPr>
            <a:xfrm>
              <a:off x="848802" y="4407721"/>
              <a:ext cx="803999" cy="209847"/>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Light" panose="020F0302020204030204"/>
                  <a:ea typeface="+mn-ea"/>
                  <a:cs typeface="+mn-cs"/>
                </a:rPr>
                <a:t>Public Cloud</a:t>
              </a:r>
            </a:p>
          </p:txBody>
        </p:sp>
        <p:sp>
          <p:nvSpPr>
            <p:cNvPr id="144" name="Rectangle: Rounded Corners 143">
              <a:extLst>
                <a:ext uri="{FF2B5EF4-FFF2-40B4-BE49-F238E27FC236}">
                  <a16:creationId xmlns:a16="http://schemas.microsoft.com/office/drawing/2014/main" id="{03BE2482-8493-408C-9ED4-64C5FFC2A7AE}"/>
                </a:ext>
              </a:extLst>
            </p:cNvPr>
            <p:cNvSpPr/>
            <p:nvPr/>
          </p:nvSpPr>
          <p:spPr>
            <a:xfrm>
              <a:off x="926870" y="4049487"/>
              <a:ext cx="667249" cy="380638"/>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45" name="Picture 6" descr="Azure Logo gray &amp;amp; colors – News Centre">
              <a:extLst>
                <a:ext uri="{FF2B5EF4-FFF2-40B4-BE49-F238E27FC236}">
                  <a16:creationId xmlns:a16="http://schemas.microsoft.com/office/drawing/2014/main" id="{49EBC08C-EFAD-4843-8132-432206924952}"/>
                </a:ext>
              </a:extLst>
            </p:cNvPr>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l="7933" t="20973" r="11754" b="20160"/>
            <a:stretch/>
          </p:blipFill>
          <p:spPr bwMode="auto">
            <a:xfrm>
              <a:off x="947680" y="4069228"/>
              <a:ext cx="537178" cy="188415"/>
            </a:xfrm>
            <a:prstGeom prst="rect">
              <a:avLst/>
            </a:prstGeom>
            <a:solidFill>
              <a:schemeClr val="bg1"/>
            </a:solidFill>
          </p:spPr>
        </p:pic>
        <p:pic>
          <p:nvPicPr>
            <p:cNvPr id="146" name="Picture 8" descr="Cloud Services - Amazon Web Services (AWS)">
              <a:extLst>
                <a:ext uri="{FF2B5EF4-FFF2-40B4-BE49-F238E27FC236}">
                  <a16:creationId xmlns:a16="http://schemas.microsoft.com/office/drawing/2014/main" id="{FB42A0CA-B915-4BC2-AC52-589F3323F822}"/>
                </a:ext>
              </a:extLst>
            </p:cNvPr>
            <p:cNvPicPr>
              <a:picLocks noChangeAspect="1" noChangeArrowheads="1"/>
            </p:cNvPicPr>
            <p:nvPr/>
          </p:nvPicPr>
          <p:blipFill rotWithShape="1">
            <a:blip r:embed="rId54" cstate="print">
              <a:extLst>
                <a:ext uri="{28A0092B-C50C-407E-A947-70E740481C1C}">
                  <a14:useLocalDpi xmlns:a14="http://schemas.microsoft.com/office/drawing/2010/main" val="0"/>
                </a:ext>
              </a:extLst>
            </a:blip>
            <a:srcRect l="22738" t="16511" r="23329" b="18105"/>
            <a:stretch/>
          </p:blipFill>
          <p:spPr bwMode="auto">
            <a:xfrm>
              <a:off x="1170000" y="4244227"/>
              <a:ext cx="269349" cy="171431"/>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10" descr="Global Locations - Regions &amp;amp; Zones | Google Cloud">
              <a:extLst>
                <a:ext uri="{FF2B5EF4-FFF2-40B4-BE49-F238E27FC236}">
                  <a16:creationId xmlns:a16="http://schemas.microsoft.com/office/drawing/2014/main" id="{EDA84CC0-EDAC-482B-B787-05C43095464F}"/>
                </a:ext>
              </a:extLst>
            </p:cNvPr>
            <p:cNvPicPr>
              <a:picLocks noChangeAspect="1" noChangeArrowheads="1"/>
            </p:cNvPicPr>
            <p:nvPr/>
          </p:nvPicPr>
          <p:blipFill rotWithShape="1">
            <a:blip r:embed="rId55" cstate="print">
              <a:extLst>
                <a:ext uri="{28A0092B-C50C-407E-A947-70E740481C1C}">
                  <a14:useLocalDpi xmlns:a14="http://schemas.microsoft.com/office/drawing/2010/main" val="0"/>
                </a:ext>
              </a:extLst>
            </a:blip>
            <a:srcRect l="29103" t="17859" r="29117" b="18105"/>
            <a:stretch/>
          </p:blipFill>
          <p:spPr bwMode="auto">
            <a:xfrm>
              <a:off x="974391" y="4277656"/>
              <a:ext cx="152161" cy="1224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9" name="Group 118">
            <a:extLst>
              <a:ext uri="{FF2B5EF4-FFF2-40B4-BE49-F238E27FC236}">
                <a16:creationId xmlns:a16="http://schemas.microsoft.com/office/drawing/2014/main" id="{24A4448A-0133-4D15-8304-F94247F93ACD}"/>
              </a:ext>
            </a:extLst>
          </p:cNvPr>
          <p:cNvGrpSpPr/>
          <p:nvPr>
            <p:custDataLst>
              <p:tags r:id="rId35"/>
            </p:custDataLst>
          </p:nvPr>
        </p:nvGrpSpPr>
        <p:grpSpPr>
          <a:xfrm>
            <a:off x="4433738" y="3615152"/>
            <a:ext cx="998438" cy="692550"/>
            <a:chOff x="5544457" y="4299554"/>
            <a:chExt cx="1331251" cy="923400"/>
          </a:xfrm>
        </p:grpSpPr>
        <p:sp>
          <p:nvSpPr>
            <p:cNvPr id="120" name="Rectangle 119">
              <a:extLst>
                <a:ext uri="{FF2B5EF4-FFF2-40B4-BE49-F238E27FC236}">
                  <a16:creationId xmlns:a16="http://schemas.microsoft.com/office/drawing/2014/main" id="{6600132D-1A84-42CC-824C-E82400373E14}"/>
                </a:ext>
              </a:extLst>
            </p:cNvPr>
            <p:cNvSpPr/>
            <p:nvPr/>
          </p:nvSpPr>
          <p:spPr>
            <a:xfrm>
              <a:off x="5544457" y="4315128"/>
              <a:ext cx="1296609" cy="440267"/>
            </a:xfrm>
            <a:prstGeom prst="rect">
              <a:avLst/>
            </a:prstGeom>
            <a:solidFill>
              <a:srgbClr val="14659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1" name="TextBox 120">
              <a:extLst>
                <a:ext uri="{FF2B5EF4-FFF2-40B4-BE49-F238E27FC236}">
                  <a16:creationId xmlns:a16="http://schemas.microsoft.com/office/drawing/2014/main" id="{DF7BE0E8-B719-463A-B932-423A1F1EDF50}"/>
                </a:ext>
              </a:extLst>
            </p:cNvPr>
            <p:cNvSpPr txBox="1"/>
            <p:nvPr/>
          </p:nvSpPr>
          <p:spPr>
            <a:xfrm>
              <a:off x="5933186" y="4299554"/>
              <a:ext cx="942522" cy="492443"/>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Light" panose="020F0302020204030204"/>
                  <a:ea typeface="+mn-ea"/>
                  <a:cs typeface="+mn-cs"/>
                </a:rPr>
                <a:t>In-Database</a:t>
              </a:r>
            </a:p>
          </p:txBody>
        </p:sp>
        <p:sp>
          <p:nvSpPr>
            <p:cNvPr id="124" name="Rectangle: Rounded Corners 123">
              <a:extLst>
                <a:ext uri="{FF2B5EF4-FFF2-40B4-BE49-F238E27FC236}">
                  <a16:creationId xmlns:a16="http://schemas.microsoft.com/office/drawing/2014/main" id="{FB9617C9-5759-4DDD-81B8-63EFEFCA6F5E}"/>
                </a:ext>
              </a:extLst>
            </p:cNvPr>
            <p:cNvSpPr/>
            <p:nvPr/>
          </p:nvSpPr>
          <p:spPr>
            <a:xfrm>
              <a:off x="5544457" y="4820830"/>
              <a:ext cx="1296607" cy="402124"/>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12036">
                      <a:lumMod val="90000"/>
                      <a:lumOff val="10000"/>
                    </a:srgbClr>
                  </a:solidFill>
                  <a:effectLst/>
                  <a:uLnTx/>
                  <a:uFillTx/>
                  <a:latin typeface="Calibri" panose="020F0502020204030204"/>
                  <a:ea typeface="+mn-ea"/>
                  <a:cs typeface="+mn-cs"/>
                </a:rPr>
                <a:t>‘Embedded Process’</a:t>
              </a:r>
            </a:p>
          </p:txBody>
        </p:sp>
      </p:grpSp>
      <p:grpSp>
        <p:nvGrpSpPr>
          <p:cNvPr id="125" name="Group 124">
            <a:extLst>
              <a:ext uri="{FF2B5EF4-FFF2-40B4-BE49-F238E27FC236}">
                <a16:creationId xmlns:a16="http://schemas.microsoft.com/office/drawing/2014/main" id="{81A84A94-ECC9-4FFD-8965-8712026051DD}"/>
              </a:ext>
            </a:extLst>
          </p:cNvPr>
          <p:cNvGrpSpPr/>
          <p:nvPr>
            <p:custDataLst>
              <p:tags r:id="rId36"/>
            </p:custDataLst>
          </p:nvPr>
        </p:nvGrpSpPr>
        <p:grpSpPr>
          <a:xfrm>
            <a:off x="5578769" y="3628785"/>
            <a:ext cx="980888" cy="680550"/>
            <a:chOff x="7102322" y="4315128"/>
            <a:chExt cx="1307850" cy="907400"/>
          </a:xfrm>
        </p:grpSpPr>
        <p:sp>
          <p:nvSpPr>
            <p:cNvPr id="126" name="Rectangle 125">
              <a:extLst>
                <a:ext uri="{FF2B5EF4-FFF2-40B4-BE49-F238E27FC236}">
                  <a16:creationId xmlns:a16="http://schemas.microsoft.com/office/drawing/2014/main" id="{D78A349E-A305-4A26-956D-A71B4639AAFF}"/>
                </a:ext>
              </a:extLst>
            </p:cNvPr>
            <p:cNvSpPr/>
            <p:nvPr/>
          </p:nvSpPr>
          <p:spPr>
            <a:xfrm>
              <a:off x="7102322" y="4315128"/>
              <a:ext cx="1296609" cy="440267"/>
            </a:xfrm>
            <a:prstGeom prst="rect">
              <a:avLst/>
            </a:prstGeom>
            <a:solidFill>
              <a:srgbClr val="14659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7" name="TextBox 126">
              <a:extLst>
                <a:ext uri="{FF2B5EF4-FFF2-40B4-BE49-F238E27FC236}">
                  <a16:creationId xmlns:a16="http://schemas.microsoft.com/office/drawing/2014/main" id="{729A0505-2F92-46D2-A09F-B83EEA50095F}"/>
                </a:ext>
              </a:extLst>
            </p:cNvPr>
            <p:cNvSpPr txBox="1"/>
            <p:nvPr/>
          </p:nvSpPr>
          <p:spPr>
            <a:xfrm>
              <a:off x="7520084" y="4373940"/>
              <a:ext cx="740746" cy="307776"/>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Calibri Light" panose="020F0302020204030204"/>
                  <a:ea typeface="+mn-ea"/>
                  <a:cs typeface="+mn-cs"/>
                </a:rPr>
                <a:t>Lots</a:t>
              </a:r>
            </a:p>
          </p:txBody>
        </p:sp>
        <p:sp>
          <p:nvSpPr>
            <p:cNvPr id="128" name="Rectangle: Rounded Corners 127">
              <a:extLst>
                <a:ext uri="{FF2B5EF4-FFF2-40B4-BE49-F238E27FC236}">
                  <a16:creationId xmlns:a16="http://schemas.microsoft.com/office/drawing/2014/main" id="{F20DF008-ED5B-4AF6-94A3-7FE04B8E113D}"/>
                </a:ext>
              </a:extLst>
            </p:cNvPr>
            <p:cNvSpPr/>
            <p:nvPr/>
          </p:nvSpPr>
          <p:spPr>
            <a:xfrm>
              <a:off x="7113565" y="4829236"/>
              <a:ext cx="1296607" cy="39329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12036">
                      <a:lumMod val="90000"/>
                      <a:lumOff val="10000"/>
                    </a:srgbClr>
                  </a:solidFill>
                  <a:effectLst/>
                  <a:uLnTx/>
                  <a:uFillTx/>
                  <a:latin typeface="Calibri" panose="020F0502020204030204"/>
                  <a:ea typeface="+mn-ea"/>
                  <a:cs typeface="+mn-cs"/>
                </a:rPr>
                <a:t>Runtime</a:t>
              </a:r>
            </a:p>
          </p:txBody>
        </p:sp>
      </p:grpSp>
      <p:grpSp>
        <p:nvGrpSpPr>
          <p:cNvPr id="129" name="Group 128">
            <a:extLst>
              <a:ext uri="{FF2B5EF4-FFF2-40B4-BE49-F238E27FC236}">
                <a16:creationId xmlns:a16="http://schemas.microsoft.com/office/drawing/2014/main" id="{88FE6FE9-8D09-48C4-AABC-64C7A014E14E}"/>
              </a:ext>
            </a:extLst>
          </p:cNvPr>
          <p:cNvGrpSpPr/>
          <p:nvPr>
            <p:custDataLst>
              <p:tags r:id="rId37"/>
            </p:custDataLst>
          </p:nvPr>
        </p:nvGrpSpPr>
        <p:grpSpPr>
          <a:xfrm>
            <a:off x="6721093" y="3615206"/>
            <a:ext cx="1044554" cy="682230"/>
            <a:chOff x="8660189" y="4315128"/>
            <a:chExt cx="1392739" cy="909640"/>
          </a:xfrm>
        </p:grpSpPr>
        <p:sp>
          <p:nvSpPr>
            <p:cNvPr id="130" name="Rectangle 129">
              <a:extLst>
                <a:ext uri="{FF2B5EF4-FFF2-40B4-BE49-F238E27FC236}">
                  <a16:creationId xmlns:a16="http://schemas.microsoft.com/office/drawing/2014/main" id="{A0E37521-BB37-4A8C-AC0B-32560F02724F}"/>
                </a:ext>
              </a:extLst>
            </p:cNvPr>
            <p:cNvSpPr/>
            <p:nvPr/>
          </p:nvSpPr>
          <p:spPr>
            <a:xfrm>
              <a:off x="8660189" y="4315128"/>
              <a:ext cx="1296609" cy="440267"/>
            </a:xfrm>
            <a:prstGeom prst="rect">
              <a:avLst/>
            </a:prstGeom>
            <a:solidFill>
              <a:srgbClr val="14659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1" name="TextBox 130">
              <a:extLst>
                <a:ext uri="{FF2B5EF4-FFF2-40B4-BE49-F238E27FC236}">
                  <a16:creationId xmlns:a16="http://schemas.microsoft.com/office/drawing/2014/main" id="{D643ADFB-3BDA-4C89-BDCD-C945C9F76CBA}"/>
                </a:ext>
              </a:extLst>
            </p:cNvPr>
            <p:cNvSpPr txBox="1"/>
            <p:nvPr/>
          </p:nvSpPr>
          <p:spPr>
            <a:xfrm>
              <a:off x="9131109" y="4391195"/>
              <a:ext cx="921819" cy="287259"/>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Calibri Light" panose="020F0302020204030204"/>
                  <a:ea typeface="+mn-ea"/>
                  <a:cs typeface="+mn-cs"/>
                </a:rPr>
                <a:t>Temps </a:t>
              </a:r>
              <a:r>
                <a:rPr kumimoji="0" lang="en-US" sz="800" b="1" i="0" u="none" strike="noStrike" kern="1200" cap="none" spc="0" normalizeH="0" baseline="0" noProof="0" dirty="0" err="1">
                  <a:ln>
                    <a:noFill/>
                  </a:ln>
                  <a:solidFill>
                    <a:srgbClr val="FFFFFF"/>
                  </a:solidFill>
                  <a:effectLst/>
                  <a:uLnTx/>
                  <a:uFillTx/>
                  <a:latin typeface="Calibri Light" panose="020F0302020204030204"/>
                  <a:ea typeface="+mn-ea"/>
                  <a:cs typeface="+mn-cs"/>
                </a:rPr>
                <a:t>réel</a:t>
              </a:r>
              <a:endParaRPr kumimoji="0" lang="en-US" sz="800" b="1" i="0" u="none" strike="noStrike" kern="1200" cap="none" spc="0" normalizeH="0" baseline="0" noProof="0" dirty="0">
                <a:ln>
                  <a:noFill/>
                </a:ln>
                <a:solidFill>
                  <a:srgbClr val="FFFFFF"/>
                </a:solidFill>
                <a:effectLst/>
                <a:uLnTx/>
                <a:uFillTx/>
                <a:latin typeface="Calibri Light" panose="020F0302020204030204"/>
                <a:ea typeface="+mn-ea"/>
                <a:cs typeface="+mn-cs"/>
              </a:endParaRPr>
            </a:p>
          </p:txBody>
        </p:sp>
        <p:sp>
          <p:nvSpPr>
            <p:cNvPr id="148" name="Rectangle: Rounded Corners 147">
              <a:extLst>
                <a:ext uri="{FF2B5EF4-FFF2-40B4-BE49-F238E27FC236}">
                  <a16:creationId xmlns:a16="http://schemas.microsoft.com/office/drawing/2014/main" id="{5A6DBE2F-9820-446B-B5DC-412DC0678114}"/>
                </a:ext>
              </a:extLst>
            </p:cNvPr>
            <p:cNvSpPr/>
            <p:nvPr/>
          </p:nvSpPr>
          <p:spPr>
            <a:xfrm>
              <a:off x="8668936" y="4831476"/>
              <a:ext cx="1296609" cy="39329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12036">
                      <a:lumMod val="90000"/>
                      <a:lumOff val="10000"/>
                    </a:srgbClr>
                  </a:solidFill>
                  <a:effectLst/>
                  <a:uLnTx/>
                  <a:uFillTx/>
                  <a:latin typeface="Calibri" panose="020F0502020204030204"/>
                  <a:ea typeface="+mn-ea"/>
                  <a:cs typeface="+mn-cs"/>
                </a:rPr>
                <a:t>Micro Analytics Services &amp; Event Stream Processing</a:t>
              </a:r>
            </a:p>
          </p:txBody>
        </p:sp>
      </p:grpSp>
      <p:grpSp>
        <p:nvGrpSpPr>
          <p:cNvPr id="149" name="Group 148">
            <a:extLst>
              <a:ext uri="{FF2B5EF4-FFF2-40B4-BE49-F238E27FC236}">
                <a16:creationId xmlns:a16="http://schemas.microsoft.com/office/drawing/2014/main" id="{75BE23F1-8CB9-4FB5-9126-1FCA80F8C0D1}"/>
              </a:ext>
            </a:extLst>
          </p:cNvPr>
          <p:cNvGrpSpPr/>
          <p:nvPr>
            <p:custDataLst>
              <p:tags r:id="rId38"/>
            </p:custDataLst>
          </p:nvPr>
        </p:nvGrpSpPr>
        <p:grpSpPr>
          <a:xfrm>
            <a:off x="2183212" y="3571917"/>
            <a:ext cx="1012867" cy="707416"/>
            <a:chOff x="3986589" y="4231616"/>
            <a:chExt cx="1350489" cy="960680"/>
          </a:xfrm>
        </p:grpSpPr>
        <p:sp>
          <p:nvSpPr>
            <p:cNvPr id="150" name="Rectangle 149">
              <a:extLst>
                <a:ext uri="{FF2B5EF4-FFF2-40B4-BE49-F238E27FC236}">
                  <a16:creationId xmlns:a16="http://schemas.microsoft.com/office/drawing/2014/main" id="{A206FED1-CB3C-4C4B-ABD0-03822A133A4D}"/>
                </a:ext>
              </a:extLst>
            </p:cNvPr>
            <p:cNvSpPr/>
            <p:nvPr/>
          </p:nvSpPr>
          <p:spPr>
            <a:xfrm>
              <a:off x="3986589" y="4272358"/>
              <a:ext cx="1296609" cy="461943"/>
            </a:xfrm>
            <a:prstGeom prst="rect">
              <a:avLst/>
            </a:prstGeom>
            <a:solidFill>
              <a:srgbClr val="14659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1" name="TextBox 150">
              <a:extLst>
                <a:ext uri="{FF2B5EF4-FFF2-40B4-BE49-F238E27FC236}">
                  <a16:creationId xmlns:a16="http://schemas.microsoft.com/office/drawing/2014/main" id="{A87B1386-6489-4465-9633-B05A4D02EA0D}"/>
                </a:ext>
              </a:extLst>
            </p:cNvPr>
            <p:cNvSpPr txBox="1"/>
            <p:nvPr/>
          </p:nvSpPr>
          <p:spPr>
            <a:xfrm>
              <a:off x="4585088" y="4231616"/>
              <a:ext cx="751990" cy="501558"/>
            </a:xfrm>
            <a:prstGeom prst="rect">
              <a:avLst/>
            </a:prstGeom>
            <a:noFill/>
          </p:spPr>
          <p:txBody>
            <a:bodyPr wrap="squar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Light" panose="020F0302020204030204"/>
                  <a:ea typeface="+mn-ea"/>
                  <a:cs typeface="+mn-cs"/>
                </a:rPr>
                <a:t>SAS Legacy</a:t>
              </a:r>
            </a:p>
          </p:txBody>
        </p:sp>
        <p:sp>
          <p:nvSpPr>
            <p:cNvPr id="152" name="Rectangle: Rounded Corners 151">
              <a:extLst>
                <a:ext uri="{FF2B5EF4-FFF2-40B4-BE49-F238E27FC236}">
                  <a16:creationId xmlns:a16="http://schemas.microsoft.com/office/drawing/2014/main" id="{68BE5DB0-2CE5-4FE2-90A2-4B586A7F1022}"/>
                </a:ext>
              </a:extLst>
            </p:cNvPr>
            <p:cNvSpPr/>
            <p:nvPr/>
          </p:nvSpPr>
          <p:spPr>
            <a:xfrm>
              <a:off x="3986592" y="4800450"/>
              <a:ext cx="1296606" cy="391846"/>
            </a:xfrm>
            <a:prstGeom prst="roundRect">
              <a:avLst/>
            </a:prstGeom>
            <a:solidFill>
              <a:schemeClr val="bg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2036">
                      <a:lumMod val="90000"/>
                      <a:lumOff val="10000"/>
                    </a:srgbClr>
                  </a:solidFill>
                  <a:effectLst/>
                  <a:uLnTx/>
                  <a:uFillTx/>
                  <a:latin typeface="Calibri" panose="020F0502020204030204"/>
                  <a:ea typeface="+mn-ea"/>
                  <a:cs typeface="+mn-cs"/>
                </a:rPr>
                <a:t>Computer Server</a:t>
              </a:r>
            </a:p>
          </p:txBody>
        </p:sp>
      </p:grpSp>
      <p:grpSp>
        <p:nvGrpSpPr>
          <p:cNvPr id="153" name="Group 152">
            <a:extLst>
              <a:ext uri="{FF2B5EF4-FFF2-40B4-BE49-F238E27FC236}">
                <a16:creationId xmlns:a16="http://schemas.microsoft.com/office/drawing/2014/main" id="{44C09F2F-62EE-479D-BFDA-ABEB98A975DA}"/>
              </a:ext>
            </a:extLst>
          </p:cNvPr>
          <p:cNvGrpSpPr/>
          <p:nvPr/>
        </p:nvGrpSpPr>
        <p:grpSpPr>
          <a:xfrm>
            <a:off x="3260783" y="3567483"/>
            <a:ext cx="1060132" cy="718933"/>
            <a:chOff x="3272538" y="3269230"/>
            <a:chExt cx="1060132" cy="718933"/>
          </a:xfrm>
        </p:grpSpPr>
        <p:grpSp>
          <p:nvGrpSpPr>
            <p:cNvPr id="154" name="Group 153">
              <a:extLst>
                <a:ext uri="{FF2B5EF4-FFF2-40B4-BE49-F238E27FC236}">
                  <a16:creationId xmlns:a16="http://schemas.microsoft.com/office/drawing/2014/main" id="{61535BDE-6646-4F9F-8D72-E18225B0EE8E}"/>
                </a:ext>
              </a:extLst>
            </p:cNvPr>
            <p:cNvGrpSpPr/>
            <p:nvPr>
              <p:custDataLst>
                <p:tags r:id="rId45"/>
              </p:custDataLst>
            </p:nvPr>
          </p:nvGrpSpPr>
          <p:grpSpPr>
            <a:xfrm>
              <a:off x="3318013" y="3288954"/>
              <a:ext cx="1014657" cy="699209"/>
              <a:chOff x="3978163" y="4279798"/>
              <a:chExt cx="1352875" cy="932278"/>
            </a:xfrm>
          </p:grpSpPr>
          <p:sp>
            <p:nvSpPr>
              <p:cNvPr id="161" name="Rectangle 160">
                <a:extLst>
                  <a:ext uri="{FF2B5EF4-FFF2-40B4-BE49-F238E27FC236}">
                    <a16:creationId xmlns:a16="http://schemas.microsoft.com/office/drawing/2014/main" id="{D7DCBCB7-AB8E-426C-9FED-50FC976E4087}"/>
                  </a:ext>
                </a:extLst>
              </p:cNvPr>
              <p:cNvSpPr/>
              <p:nvPr/>
            </p:nvSpPr>
            <p:spPr>
              <a:xfrm>
                <a:off x="3986592" y="4315128"/>
                <a:ext cx="1296609" cy="440267"/>
              </a:xfrm>
              <a:prstGeom prst="rect">
                <a:avLst/>
              </a:prstGeom>
              <a:solidFill>
                <a:srgbClr val="146590"/>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2" name="TextBox 161">
                <a:extLst>
                  <a:ext uri="{FF2B5EF4-FFF2-40B4-BE49-F238E27FC236}">
                    <a16:creationId xmlns:a16="http://schemas.microsoft.com/office/drawing/2014/main" id="{A0BE698D-A45B-4203-A3E6-1A19735D1740}"/>
                  </a:ext>
                </a:extLst>
              </p:cNvPr>
              <p:cNvSpPr txBox="1"/>
              <p:nvPr/>
            </p:nvSpPr>
            <p:spPr>
              <a:xfrm>
                <a:off x="4501671" y="4279798"/>
                <a:ext cx="829367" cy="492442"/>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alibri Light" panose="020F0302020204030204"/>
                    <a:ea typeface="+mn-ea"/>
                    <a:cs typeface="+mn-cs"/>
                  </a:rPr>
                  <a:t>MPP RAM</a:t>
                </a:r>
              </a:p>
            </p:txBody>
          </p:sp>
          <p:sp>
            <p:nvSpPr>
              <p:cNvPr id="163" name="Rectangle: Rounded Corners 162">
                <a:extLst>
                  <a:ext uri="{FF2B5EF4-FFF2-40B4-BE49-F238E27FC236}">
                    <a16:creationId xmlns:a16="http://schemas.microsoft.com/office/drawing/2014/main" id="{C499C190-B71F-496F-AFD6-B5019BFB360F}"/>
                  </a:ext>
                </a:extLst>
              </p:cNvPr>
              <p:cNvSpPr/>
              <p:nvPr/>
            </p:nvSpPr>
            <p:spPr>
              <a:xfrm>
                <a:off x="3978163" y="4818783"/>
                <a:ext cx="1296606" cy="393293"/>
              </a:xfrm>
              <a:prstGeom prst="roundRect">
                <a:avLst/>
              </a:prstGeom>
              <a:solidFill>
                <a:schemeClr val="bg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12036">
                        <a:lumMod val="90000"/>
                        <a:lumOff val="10000"/>
                      </a:srgbClr>
                    </a:solidFill>
                    <a:effectLst/>
                    <a:uLnTx/>
                    <a:uFillTx/>
                    <a:latin typeface="Calibri" panose="020F0502020204030204"/>
                    <a:ea typeface="+mn-ea"/>
                    <a:cs typeface="+mn-cs"/>
                  </a:rPr>
                  <a:t>Cloud Analytics Services - CAS</a:t>
                </a:r>
              </a:p>
            </p:txBody>
          </p:sp>
        </p:grpSp>
        <p:sp>
          <p:nvSpPr>
            <p:cNvPr id="155" name="Freeform 6">
              <a:extLst>
                <a:ext uri="{FF2B5EF4-FFF2-40B4-BE49-F238E27FC236}">
                  <a16:creationId xmlns:a16="http://schemas.microsoft.com/office/drawing/2014/main" id="{9180C062-4633-487C-9686-BFFEABB1AC6D}"/>
                </a:ext>
              </a:extLst>
            </p:cNvPr>
            <p:cNvSpPr>
              <a:spLocks noChangeAspect="1" noEditPoints="1"/>
            </p:cNvSpPr>
            <p:nvPr/>
          </p:nvSpPr>
          <p:spPr bwMode="auto">
            <a:xfrm>
              <a:off x="3391952" y="3391723"/>
              <a:ext cx="115438" cy="233033"/>
            </a:xfrm>
            <a:custGeom>
              <a:avLst/>
              <a:gdLst>
                <a:gd name="T0" fmla="*/ 891 w 1714"/>
                <a:gd name="T1" fmla="*/ 3023 h 3456"/>
                <a:gd name="T2" fmla="*/ 894 w 1714"/>
                <a:gd name="T3" fmla="*/ 2711 h 3456"/>
                <a:gd name="T4" fmla="*/ 1018 w 1714"/>
                <a:gd name="T5" fmla="*/ 2849 h 3456"/>
                <a:gd name="T6" fmla="*/ 1018 w 1714"/>
                <a:gd name="T7" fmla="*/ 3065 h 3456"/>
                <a:gd name="T8" fmla="*/ 894 w 1714"/>
                <a:gd name="T9" fmla="*/ 3203 h 3456"/>
                <a:gd name="T10" fmla="*/ 702 w 1714"/>
                <a:gd name="T11" fmla="*/ 3161 h 3456"/>
                <a:gd name="T12" fmla="*/ 601 w 1714"/>
                <a:gd name="T13" fmla="*/ 2922 h 3456"/>
                <a:gd name="T14" fmla="*/ 704 w 1714"/>
                <a:gd name="T15" fmla="*/ 2753 h 3456"/>
                <a:gd name="T16" fmla="*/ 344 w 1714"/>
                <a:gd name="T17" fmla="*/ 1992 h 3456"/>
                <a:gd name="T18" fmla="*/ 381 w 1714"/>
                <a:gd name="T19" fmla="*/ 1862 h 3456"/>
                <a:gd name="T20" fmla="*/ 1374 w 1714"/>
                <a:gd name="T21" fmla="*/ 2112 h 3456"/>
                <a:gd name="T22" fmla="*/ 288 w 1714"/>
                <a:gd name="T23" fmla="*/ 1900 h 3456"/>
                <a:gd name="T24" fmla="*/ 1338 w 1714"/>
                <a:gd name="T25" fmla="*/ 1689 h 3456"/>
                <a:gd name="T26" fmla="*/ 1432 w 1714"/>
                <a:gd name="T27" fmla="*/ 1582 h 3456"/>
                <a:gd name="T28" fmla="*/ 307 w 1714"/>
                <a:gd name="T29" fmla="*/ 1764 h 3456"/>
                <a:gd name="T30" fmla="*/ 366 w 1714"/>
                <a:gd name="T31" fmla="*/ 1284 h 3456"/>
                <a:gd name="T32" fmla="*/ 1338 w 1714"/>
                <a:gd name="T33" fmla="*/ 1284 h 3456"/>
                <a:gd name="T34" fmla="*/ 1432 w 1714"/>
                <a:gd name="T35" fmla="*/ 1391 h 3456"/>
                <a:gd name="T36" fmla="*/ 253 w 1714"/>
                <a:gd name="T37" fmla="*/ 1292 h 3456"/>
                <a:gd name="T38" fmla="*/ 1328 w 1714"/>
                <a:gd name="T39" fmla="*/ 855 h 3456"/>
                <a:gd name="T40" fmla="*/ 991 w 1714"/>
                <a:gd name="T41" fmla="*/ 837 h 3456"/>
                <a:gd name="T42" fmla="*/ 672 w 1714"/>
                <a:gd name="T43" fmla="*/ 812 h 3456"/>
                <a:gd name="T44" fmla="*/ 371 w 1714"/>
                <a:gd name="T45" fmla="*/ 794 h 3456"/>
                <a:gd name="T46" fmla="*/ 384 w 1714"/>
                <a:gd name="T47" fmla="*/ 792 h 3456"/>
                <a:gd name="T48" fmla="*/ 1390 w 1714"/>
                <a:gd name="T49" fmla="*/ 940 h 3456"/>
                <a:gd name="T50" fmla="*/ 1270 w 1714"/>
                <a:gd name="T51" fmla="*/ 719 h 3456"/>
                <a:gd name="T52" fmla="*/ 1126 w 1714"/>
                <a:gd name="T53" fmla="*/ 895 h 3456"/>
                <a:gd name="T54" fmla="*/ 905 w 1714"/>
                <a:gd name="T55" fmla="*/ 775 h 3456"/>
                <a:gd name="T56" fmla="*/ 830 w 1714"/>
                <a:gd name="T57" fmla="*/ 824 h 3456"/>
                <a:gd name="T58" fmla="*/ 579 w 1714"/>
                <a:gd name="T59" fmla="*/ 850 h 3456"/>
                <a:gd name="T60" fmla="*/ 489 w 1714"/>
                <a:gd name="T61" fmla="*/ 754 h 3456"/>
                <a:gd name="T62" fmla="*/ 295 w 1714"/>
                <a:gd name="T63" fmla="*/ 914 h 3456"/>
                <a:gd name="T64" fmla="*/ 1317 w 1714"/>
                <a:gd name="T65" fmla="*/ 516 h 3456"/>
                <a:gd name="T66" fmla="*/ 1022 w 1714"/>
                <a:gd name="T67" fmla="*/ 507 h 3456"/>
                <a:gd name="T68" fmla="*/ 1035 w 1714"/>
                <a:gd name="T69" fmla="*/ 510 h 3456"/>
                <a:gd name="T70" fmla="*/ 733 w 1714"/>
                <a:gd name="T71" fmla="*/ 527 h 3456"/>
                <a:gd name="T72" fmla="*/ 414 w 1714"/>
                <a:gd name="T73" fmla="*/ 553 h 3456"/>
                <a:gd name="T74" fmla="*/ 1465 w 1714"/>
                <a:gd name="T75" fmla="*/ 566 h 3456"/>
                <a:gd name="T76" fmla="*/ 1214 w 1714"/>
                <a:gd name="T77" fmla="*/ 540 h 3456"/>
                <a:gd name="T78" fmla="*/ 1139 w 1714"/>
                <a:gd name="T79" fmla="*/ 491 h 3456"/>
                <a:gd name="T80" fmla="*/ 917 w 1714"/>
                <a:gd name="T81" fmla="*/ 611 h 3456"/>
                <a:gd name="T82" fmla="*/ 774 w 1714"/>
                <a:gd name="T83" fmla="*/ 436 h 3456"/>
                <a:gd name="T84" fmla="*/ 653 w 1714"/>
                <a:gd name="T85" fmla="*/ 657 h 3456"/>
                <a:gd name="T86" fmla="*/ 384 w 1714"/>
                <a:gd name="T87" fmla="*/ 414 h 3456"/>
                <a:gd name="T88" fmla="*/ 409 w 1714"/>
                <a:gd name="T89" fmla="*/ 664 h 3456"/>
                <a:gd name="T90" fmla="*/ 335 w 1714"/>
                <a:gd name="T91" fmla="*/ 424 h 3456"/>
                <a:gd name="T92" fmla="*/ 1714 w 1714"/>
                <a:gd name="T93" fmla="*/ 2181 h 3456"/>
                <a:gd name="T94" fmla="*/ 1245 w 1714"/>
                <a:gd name="T95" fmla="*/ 2435 h 3456"/>
                <a:gd name="T96" fmla="*/ 1702 w 1714"/>
                <a:gd name="T97" fmla="*/ 2655 h 3456"/>
                <a:gd name="T98" fmla="*/ 187 w 1714"/>
                <a:gd name="T99" fmla="*/ 3453 h 3456"/>
                <a:gd name="T100" fmla="*/ 65 w 1714"/>
                <a:gd name="T101" fmla="*/ 2568 h 3456"/>
                <a:gd name="T102" fmla="*/ 472 w 1714"/>
                <a:gd name="T103" fmla="*/ 2594 h 3456"/>
                <a:gd name="T104" fmla="*/ 131 w 1714"/>
                <a:gd name="T105" fmla="*/ 3325 h 3456"/>
                <a:gd name="T106" fmla="*/ 1617 w 1714"/>
                <a:gd name="T107" fmla="*/ 2699 h 3456"/>
                <a:gd name="T108" fmla="*/ 1152 w 1714"/>
                <a:gd name="T109" fmla="*/ 2480 h 3456"/>
                <a:gd name="T110" fmla="*/ 1598 w 1714"/>
                <a:gd name="T111" fmla="*/ 2251 h 3456"/>
                <a:gd name="T112" fmla="*/ 169 w 1714"/>
                <a:gd name="T113" fmla="*/ 104 h 3456"/>
                <a:gd name="T114" fmla="*/ 218 w 1714"/>
                <a:gd name="T115" fmla="*/ 2306 h 3456"/>
                <a:gd name="T116" fmla="*/ 117 w 1714"/>
                <a:gd name="T117" fmla="*/ 2375 h 3456"/>
                <a:gd name="T118" fmla="*/ 117 w 1714"/>
                <a:gd name="T119" fmla="*/ 24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4" h="3456">
                  <a:moveTo>
                    <a:pt x="853" y="2881"/>
                  </a:moveTo>
                  <a:lnTo>
                    <a:pt x="833" y="2883"/>
                  </a:lnTo>
                  <a:lnTo>
                    <a:pt x="814" y="2892"/>
                  </a:lnTo>
                  <a:lnTo>
                    <a:pt x="798" y="2903"/>
                  </a:lnTo>
                  <a:lnTo>
                    <a:pt x="787" y="2919"/>
                  </a:lnTo>
                  <a:lnTo>
                    <a:pt x="779" y="2937"/>
                  </a:lnTo>
                  <a:lnTo>
                    <a:pt x="776" y="2957"/>
                  </a:lnTo>
                  <a:lnTo>
                    <a:pt x="779" y="2977"/>
                  </a:lnTo>
                  <a:lnTo>
                    <a:pt x="787" y="2995"/>
                  </a:lnTo>
                  <a:lnTo>
                    <a:pt x="798" y="3011"/>
                  </a:lnTo>
                  <a:lnTo>
                    <a:pt x="814" y="3023"/>
                  </a:lnTo>
                  <a:lnTo>
                    <a:pt x="833" y="3031"/>
                  </a:lnTo>
                  <a:lnTo>
                    <a:pt x="853" y="3034"/>
                  </a:lnTo>
                  <a:lnTo>
                    <a:pt x="873" y="3031"/>
                  </a:lnTo>
                  <a:lnTo>
                    <a:pt x="891" y="3023"/>
                  </a:lnTo>
                  <a:lnTo>
                    <a:pt x="906" y="3011"/>
                  </a:lnTo>
                  <a:lnTo>
                    <a:pt x="919" y="2995"/>
                  </a:lnTo>
                  <a:lnTo>
                    <a:pt x="926" y="2977"/>
                  </a:lnTo>
                  <a:lnTo>
                    <a:pt x="929" y="2957"/>
                  </a:lnTo>
                  <a:lnTo>
                    <a:pt x="926" y="2937"/>
                  </a:lnTo>
                  <a:lnTo>
                    <a:pt x="919" y="2919"/>
                  </a:lnTo>
                  <a:lnTo>
                    <a:pt x="906" y="2903"/>
                  </a:lnTo>
                  <a:lnTo>
                    <a:pt x="891" y="2892"/>
                  </a:lnTo>
                  <a:lnTo>
                    <a:pt x="873" y="2883"/>
                  </a:lnTo>
                  <a:lnTo>
                    <a:pt x="853" y="2881"/>
                  </a:lnTo>
                  <a:close/>
                  <a:moveTo>
                    <a:pt x="817" y="2706"/>
                  </a:moveTo>
                  <a:lnTo>
                    <a:pt x="887" y="2706"/>
                  </a:lnTo>
                  <a:lnTo>
                    <a:pt x="890" y="2707"/>
                  </a:lnTo>
                  <a:lnTo>
                    <a:pt x="893" y="2709"/>
                  </a:lnTo>
                  <a:lnTo>
                    <a:pt x="894" y="2711"/>
                  </a:lnTo>
                  <a:lnTo>
                    <a:pt x="894" y="2763"/>
                  </a:lnTo>
                  <a:lnTo>
                    <a:pt x="917" y="2770"/>
                  </a:lnTo>
                  <a:lnTo>
                    <a:pt x="940" y="2778"/>
                  </a:lnTo>
                  <a:lnTo>
                    <a:pt x="962" y="2791"/>
                  </a:lnTo>
                  <a:lnTo>
                    <a:pt x="997" y="2754"/>
                  </a:lnTo>
                  <a:lnTo>
                    <a:pt x="999" y="2753"/>
                  </a:lnTo>
                  <a:lnTo>
                    <a:pt x="1002" y="2753"/>
                  </a:lnTo>
                  <a:lnTo>
                    <a:pt x="1004" y="2753"/>
                  </a:lnTo>
                  <a:lnTo>
                    <a:pt x="1006" y="2754"/>
                  </a:lnTo>
                  <a:lnTo>
                    <a:pt x="1055" y="2805"/>
                  </a:lnTo>
                  <a:lnTo>
                    <a:pt x="1056" y="2807"/>
                  </a:lnTo>
                  <a:lnTo>
                    <a:pt x="1057" y="2809"/>
                  </a:lnTo>
                  <a:lnTo>
                    <a:pt x="1056" y="2811"/>
                  </a:lnTo>
                  <a:lnTo>
                    <a:pt x="1055" y="2812"/>
                  </a:lnTo>
                  <a:lnTo>
                    <a:pt x="1018" y="2849"/>
                  </a:lnTo>
                  <a:lnTo>
                    <a:pt x="1031" y="2870"/>
                  </a:lnTo>
                  <a:lnTo>
                    <a:pt x="1040" y="2893"/>
                  </a:lnTo>
                  <a:lnTo>
                    <a:pt x="1047" y="2917"/>
                  </a:lnTo>
                  <a:lnTo>
                    <a:pt x="1098" y="2917"/>
                  </a:lnTo>
                  <a:lnTo>
                    <a:pt x="1101" y="2918"/>
                  </a:lnTo>
                  <a:lnTo>
                    <a:pt x="1103" y="2920"/>
                  </a:lnTo>
                  <a:lnTo>
                    <a:pt x="1104" y="2922"/>
                  </a:lnTo>
                  <a:lnTo>
                    <a:pt x="1104" y="2992"/>
                  </a:lnTo>
                  <a:lnTo>
                    <a:pt x="1103" y="2995"/>
                  </a:lnTo>
                  <a:lnTo>
                    <a:pt x="1101" y="2997"/>
                  </a:lnTo>
                  <a:lnTo>
                    <a:pt x="1098" y="2997"/>
                  </a:lnTo>
                  <a:lnTo>
                    <a:pt x="1047" y="2997"/>
                  </a:lnTo>
                  <a:lnTo>
                    <a:pt x="1040" y="3021"/>
                  </a:lnTo>
                  <a:lnTo>
                    <a:pt x="1031" y="3044"/>
                  </a:lnTo>
                  <a:lnTo>
                    <a:pt x="1018" y="3065"/>
                  </a:lnTo>
                  <a:lnTo>
                    <a:pt x="1055" y="3102"/>
                  </a:lnTo>
                  <a:lnTo>
                    <a:pt x="1056" y="3104"/>
                  </a:lnTo>
                  <a:lnTo>
                    <a:pt x="1057" y="3106"/>
                  </a:lnTo>
                  <a:lnTo>
                    <a:pt x="1056" y="3108"/>
                  </a:lnTo>
                  <a:lnTo>
                    <a:pt x="1055" y="3109"/>
                  </a:lnTo>
                  <a:lnTo>
                    <a:pt x="1006" y="3160"/>
                  </a:lnTo>
                  <a:lnTo>
                    <a:pt x="1004" y="3161"/>
                  </a:lnTo>
                  <a:lnTo>
                    <a:pt x="1002" y="3161"/>
                  </a:lnTo>
                  <a:lnTo>
                    <a:pt x="999" y="3161"/>
                  </a:lnTo>
                  <a:lnTo>
                    <a:pt x="997" y="3160"/>
                  </a:lnTo>
                  <a:lnTo>
                    <a:pt x="962" y="3123"/>
                  </a:lnTo>
                  <a:lnTo>
                    <a:pt x="940" y="3136"/>
                  </a:lnTo>
                  <a:lnTo>
                    <a:pt x="917" y="3145"/>
                  </a:lnTo>
                  <a:lnTo>
                    <a:pt x="894" y="3151"/>
                  </a:lnTo>
                  <a:lnTo>
                    <a:pt x="894" y="3203"/>
                  </a:lnTo>
                  <a:lnTo>
                    <a:pt x="893" y="3206"/>
                  </a:lnTo>
                  <a:lnTo>
                    <a:pt x="890" y="3208"/>
                  </a:lnTo>
                  <a:lnTo>
                    <a:pt x="887" y="3208"/>
                  </a:lnTo>
                  <a:lnTo>
                    <a:pt x="817" y="3208"/>
                  </a:lnTo>
                  <a:lnTo>
                    <a:pt x="815" y="3208"/>
                  </a:lnTo>
                  <a:lnTo>
                    <a:pt x="813" y="3206"/>
                  </a:lnTo>
                  <a:lnTo>
                    <a:pt x="812" y="3203"/>
                  </a:lnTo>
                  <a:lnTo>
                    <a:pt x="812" y="3151"/>
                  </a:lnTo>
                  <a:lnTo>
                    <a:pt x="788" y="3145"/>
                  </a:lnTo>
                  <a:lnTo>
                    <a:pt x="766" y="3136"/>
                  </a:lnTo>
                  <a:lnTo>
                    <a:pt x="744" y="3123"/>
                  </a:lnTo>
                  <a:lnTo>
                    <a:pt x="708" y="3160"/>
                  </a:lnTo>
                  <a:lnTo>
                    <a:pt x="706" y="3161"/>
                  </a:lnTo>
                  <a:lnTo>
                    <a:pt x="704" y="3161"/>
                  </a:lnTo>
                  <a:lnTo>
                    <a:pt x="702" y="3161"/>
                  </a:lnTo>
                  <a:lnTo>
                    <a:pt x="700" y="3160"/>
                  </a:lnTo>
                  <a:lnTo>
                    <a:pt x="650" y="3109"/>
                  </a:lnTo>
                  <a:lnTo>
                    <a:pt x="649" y="3108"/>
                  </a:lnTo>
                  <a:lnTo>
                    <a:pt x="648" y="3106"/>
                  </a:lnTo>
                  <a:lnTo>
                    <a:pt x="649" y="3104"/>
                  </a:lnTo>
                  <a:lnTo>
                    <a:pt x="650" y="3102"/>
                  </a:lnTo>
                  <a:lnTo>
                    <a:pt x="686" y="3065"/>
                  </a:lnTo>
                  <a:lnTo>
                    <a:pt x="674" y="3044"/>
                  </a:lnTo>
                  <a:lnTo>
                    <a:pt x="665" y="3021"/>
                  </a:lnTo>
                  <a:lnTo>
                    <a:pt x="659" y="2997"/>
                  </a:lnTo>
                  <a:lnTo>
                    <a:pt x="606" y="2997"/>
                  </a:lnTo>
                  <a:lnTo>
                    <a:pt x="604" y="2997"/>
                  </a:lnTo>
                  <a:lnTo>
                    <a:pt x="602" y="2995"/>
                  </a:lnTo>
                  <a:lnTo>
                    <a:pt x="601" y="2992"/>
                  </a:lnTo>
                  <a:lnTo>
                    <a:pt x="601" y="2922"/>
                  </a:lnTo>
                  <a:lnTo>
                    <a:pt x="602" y="2920"/>
                  </a:lnTo>
                  <a:lnTo>
                    <a:pt x="604" y="2918"/>
                  </a:lnTo>
                  <a:lnTo>
                    <a:pt x="606" y="2917"/>
                  </a:lnTo>
                  <a:lnTo>
                    <a:pt x="659" y="2917"/>
                  </a:lnTo>
                  <a:lnTo>
                    <a:pt x="665" y="2893"/>
                  </a:lnTo>
                  <a:lnTo>
                    <a:pt x="674" y="2870"/>
                  </a:lnTo>
                  <a:lnTo>
                    <a:pt x="686" y="2849"/>
                  </a:lnTo>
                  <a:lnTo>
                    <a:pt x="650" y="2812"/>
                  </a:lnTo>
                  <a:lnTo>
                    <a:pt x="649" y="2811"/>
                  </a:lnTo>
                  <a:lnTo>
                    <a:pt x="648" y="2809"/>
                  </a:lnTo>
                  <a:lnTo>
                    <a:pt x="649" y="2807"/>
                  </a:lnTo>
                  <a:lnTo>
                    <a:pt x="650" y="2805"/>
                  </a:lnTo>
                  <a:lnTo>
                    <a:pt x="700" y="2754"/>
                  </a:lnTo>
                  <a:lnTo>
                    <a:pt x="702" y="2753"/>
                  </a:lnTo>
                  <a:lnTo>
                    <a:pt x="704" y="2753"/>
                  </a:lnTo>
                  <a:lnTo>
                    <a:pt x="706" y="2753"/>
                  </a:lnTo>
                  <a:lnTo>
                    <a:pt x="708" y="2754"/>
                  </a:lnTo>
                  <a:lnTo>
                    <a:pt x="744" y="2791"/>
                  </a:lnTo>
                  <a:lnTo>
                    <a:pt x="766" y="2778"/>
                  </a:lnTo>
                  <a:lnTo>
                    <a:pt x="788" y="2770"/>
                  </a:lnTo>
                  <a:lnTo>
                    <a:pt x="812" y="2763"/>
                  </a:lnTo>
                  <a:lnTo>
                    <a:pt x="812" y="2711"/>
                  </a:lnTo>
                  <a:lnTo>
                    <a:pt x="813" y="2709"/>
                  </a:lnTo>
                  <a:lnTo>
                    <a:pt x="815" y="2707"/>
                  </a:lnTo>
                  <a:lnTo>
                    <a:pt x="817" y="2706"/>
                  </a:lnTo>
                  <a:close/>
                  <a:moveTo>
                    <a:pt x="381" y="1955"/>
                  </a:moveTo>
                  <a:lnTo>
                    <a:pt x="366" y="1958"/>
                  </a:lnTo>
                  <a:lnTo>
                    <a:pt x="354" y="1967"/>
                  </a:lnTo>
                  <a:lnTo>
                    <a:pt x="347" y="1978"/>
                  </a:lnTo>
                  <a:lnTo>
                    <a:pt x="344" y="1992"/>
                  </a:lnTo>
                  <a:lnTo>
                    <a:pt x="347" y="2007"/>
                  </a:lnTo>
                  <a:lnTo>
                    <a:pt x="354" y="2018"/>
                  </a:lnTo>
                  <a:lnTo>
                    <a:pt x="366" y="2026"/>
                  </a:lnTo>
                  <a:lnTo>
                    <a:pt x="381" y="2029"/>
                  </a:lnTo>
                  <a:lnTo>
                    <a:pt x="1324" y="2029"/>
                  </a:lnTo>
                  <a:lnTo>
                    <a:pt x="1338" y="2026"/>
                  </a:lnTo>
                  <a:lnTo>
                    <a:pt x="1350" y="2018"/>
                  </a:lnTo>
                  <a:lnTo>
                    <a:pt x="1357" y="2007"/>
                  </a:lnTo>
                  <a:lnTo>
                    <a:pt x="1360" y="1992"/>
                  </a:lnTo>
                  <a:lnTo>
                    <a:pt x="1357" y="1978"/>
                  </a:lnTo>
                  <a:lnTo>
                    <a:pt x="1350" y="1967"/>
                  </a:lnTo>
                  <a:lnTo>
                    <a:pt x="1338" y="1958"/>
                  </a:lnTo>
                  <a:lnTo>
                    <a:pt x="1324" y="1955"/>
                  </a:lnTo>
                  <a:lnTo>
                    <a:pt x="381" y="1955"/>
                  </a:lnTo>
                  <a:close/>
                  <a:moveTo>
                    <a:pt x="381" y="1862"/>
                  </a:moveTo>
                  <a:lnTo>
                    <a:pt x="1324" y="1862"/>
                  </a:lnTo>
                  <a:lnTo>
                    <a:pt x="1350" y="1865"/>
                  </a:lnTo>
                  <a:lnTo>
                    <a:pt x="1374" y="1873"/>
                  </a:lnTo>
                  <a:lnTo>
                    <a:pt x="1397" y="1884"/>
                  </a:lnTo>
                  <a:lnTo>
                    <a:pt x="1416" y="1900"/>
                  </a:lnTo>
                  <a:lnTo>
                    <a:pt x="1432" y="1920"/>
                  </a:lnTo>
                  <a:lnTo>
                    <a:pt x="1444" y="1942"/>
                  </a:lnTo>
                  <a:lnTo>
                    <a:pt x="1452" y="1966"/>
                  </a:lnTo>
                  <a:lnTo>
                    <a:pt x="1454" y="1992"/>
                  </a:lnTo>
                  <a:lnTo>
                    <a:pt x="1452" y="2018"/>
                  </a:lnTo>
                  <a:lnTo>
                    <a:pt x="1444" y="2043"/>
                  </a:lnTo>
                  <a:lnTo>
                    <a:pt x="1432" y="2065"/>
                  </a:lnTo>
                  <a:lnTo>
                    <a:pt x="1416" y="2084"/>
                  </a:lnTo>
                  <a:lnTo>
                    <a:pt x="1397" y="2100"/>
                  </a:lnTo>
                  <a:lnTo>
                    <a:pt x="1374" y="2112"/>
                  </a:lnTo>
                  <a:lnTo>
                    <a:pt x="1350" y="2120"/>
                  </a:lnTo>
                  <a:lnTo>
                    <a:pt x="1324" y="2123"/>
                  </a:lnTo>
                  <a:lnTo>
                    <a:pt x="381" y="2123"/>
                  </a:lnTo>
                  <a:lnTo>
                    <a:pt x="354" y="2120"/>
                  </a:lnTo>
                  <a:lnTo>
                    <a:pt x="330" y="2112"/>
                  </a:lnTo>
                  <a:lnTo>
                    <a:pt x="307" y="2100"/>
                  </a:lnTo>
                  <a:lnTo>
                    <a:pt x="288" y="2084"/>
                  </a:lnTo>
                  <a:lnTo>
                    <a:pt x="273" y="2065"/>
                  </a:lnTo>
                  <a:lnTo>
                    <a:pt x="260" y="2043"/>
                  </a:lnTo>
                  <a:lnTo>
                    <a:pt x="253" y="2018"/>
                  </a:lnTo>
                  <a:lnTo>
                    <a:pt x="251" y="1992"/>
                  </a:lnTo>
                  <a:lnTo>
                    <a:pt x="253" y="1966"/>
                  </a:lnTo>
                  <a:lnTo>
                    <a:pt x="260" y="1942"/>
                  </a:lnTo>
                  <a:lnTo>
                    <a:pt x="273" y="1920"/>
                  </a:lnTo>
                  <a:lnTo>
                    <a:pt x="288" y="1900"/>
                  </a:lnTo>
                  <a:lnTo>
                    <a:pt x="307" y="1884"/>
                  </a:lnTo>
                  <a:lnTo>
                    <a:pt x="330" y="1873"/>
                  </a:lnTo>
                  <a:lnTo>
                    <a:pt x="354" y="1865"/>
                  </a:lnTo>
                  <a:lnTo>
                    <a:pt x="381" y="1862"/>
                  </a:lnTo>
                  <a:close/>
                  <a:moveTo>
                    <a:pt x="381" y="1619"/>
                  </a:moveTo>
                  <a:lnTo>
                    <a:pt x="366" y="1621"/>
                  </a:lnTo>
                  <a:lnTo>
                    <a:pt x="354" y="1630"/>
                  </a:lnTo>
                  <a:lnTo>
                    <a:pt x="347" y="1641"/>
                  </a:lnTo>
                  <a:lnTo>
                    <a:pt x="344" y="1656"/>
                  </a:lnTo>
                  <a:lnTo>
                    <a:pt x="347" y="1669"/>
                  </a:lnTo>
                  <a:lnTo>
                    <a:pt x="354" y="1681"/>
                  </a:lnTo>
                  <a:lnTo>
                    <a:pt x="366" y="1689"/>
                  </a:lnTo>
                  <a:lnTo>
                    <a:pt x="381" y="1692"/>
                  </a:lnTo>
                  <a:lnTo>
                    <a:pt x="1324" y="1692"/>
                  </a:lnTo>
                  <a:lnTo>
                    <a:pt x="1338" y="1689"/>
                  </a:lnTo>
                  <a:lnTo>
                    <a:pt x="1350" y="1681"/>
                  </a:lnTo>
                  <a:lnTo>
                    <a:pt x="1357" y="1669"/>
                  </a:lnTo>
                  <a:lnTo>
                    <a:pt x="1360" y="1656"/>
                  </a:lnTo>
                  <a:lnTo>
                    <a:pt x="1357" y="1641"/>
                  </a:lnTo>
                  <a:lnTo>
                    <a:pt x="1350" y="1630"/>
                  </a:lnTo>
                  <a:lnTo>
                    <a:pt x="1338" y="1621"/>
                  </a:lnTo>
                  <a:lnTo>
                    <a:pt x="1324" y="1619"/>
                  </a:lnTo>
                  <a:lnTo>
                    <a:pt x="381" y="1619"/>
                  </a:lnTo>
                  <a:close/>
                  <a:moveTo>
                    <a:pt x="381" y="1525"/>
                  </a:moveTo>
                  <a:lnTo>
                    <a:pt x="1324" y="1525"/>
                  </a:lnTo>
                  <a:lnTo>
                    <a:pt x="1350" y="1528"/>
                  </a:lnTo>
                  <a:lnTo>
                    <a:pt x="1374" y="1535"/>
                  </a:lnTo>
                  <a:lnTo>
                    <a:pt x="1397" y="1548"/>
                  </a:lnTo>
                  <a:lnTo>
                    <a:pt x="1416" y="1564"/>
                  </a:lnTo>
                  <a:lnTo>
                    <a:pt x="1432" y="1582"/>
                  </a:lnTo>
                  <a:lnTo>
                    <a:pt x="1444" y="1604"/>
                  </a:lnTo>
                  <a:lnTo>
                    <a:pt x="1452" y="1630"/>
                  </a:lnTo>
                  <a:lnTo>
                    <a:pt x="1454" y="1656"/>
                  </a:lnTo>
                  <a:lnTo>
                    <a:pt x="1452" y="1682"/>
                  </a:lnTo>
                  <a:lnTo>
                    <a:pt x="1444" y="1706"/>
                  </a:lnTo>
                  <a:lnTo>
                    <a:pt x="1432" y="1727"/>
                  </a:lnTo>
                  <a:lnTo>
                    <a:pt x="1416" y="1747"/>
                  </a:lnTo>
                  <a:lnTo>
                    <a:pt x="1397" y="1764"/>
                  </a:lnTo>
                  <a:lnTo>
                    <a:pt x="1374" y="1775"/>
                  </a:lnTo>
                  <a:lnTo>
                    <a:pt x="1350" y="1782"/>
                  </a:lnTo>
                  <a:lnTo>
                    <a:pt x="1324" y="1786"/>
                  </a:lnTo>
                  <a:lnTo>
                    <a:pt x="381" y="1786"/>
                  </a:lnTo>
                  <a:lnTo>
                    <a:pt x="354" y="1782"/>
                  </a:lnTo>
                  <a:lnTo>
                    <a:pt x="330" y="1775"/>
                  </a:lnTo>
                  <a:lnTo>
                    <a:pt x="307" y="1764"/>
                  </a:lnTo>
                  <a:lnTo>
                    <a:pt x="288" y="1747"/>
                  </a:lnTo>
                  <a:lnTo>
                    <a:pt x="273" y="1727"/>
                  </a:lnTo>
                  <a:lnTo>
                    <a:pt x="260" y="1706"/>
                  </a:lnTo>
                  <a:lnTo>
                    <a:pt x="253" y="1682"/>
                  </a:lnTo>
                  <a:lnTo>
                    <a:pt x="251" y="1656"/>
                  </a:lnTo>
                  <a:lnTo>
                    <a:pt x="253" y="1630"/>
                  </a:lnTo>
                  <a:lnTo>
                    <a:pt x="260" y="1604"/>
                  </a:lnTo>
                  <a:lnTo>
                    <a:pt x="273" y="1582"/>
                  </a:lnTo>
                  <a:lnTo>
                    <a:pt x="288" y="1564"/>
                  </a:lnTo>
                  <a:lnTo>
                    <a:pt x="307" y="1548"/>
                  </a:lnTo>
                  <a:lnTo>
                    <a:pt x="330" y="1535"/>
                  </a:lnTo>
                  <a:lnTo>
                    <a:pt x="354" y="1528"/>
                  </a:lnTo>
                  <a:lnTo>
                    <a:pt x="381" y="1525"/>
                  </a:lnTo>
                  <a:close/>
                  <a:moveTo>
                    <a:pt x="381" y="1282"/>
                  </a:moveTo>
                  <a:lnTo>
                    <a:pt x="366" y="1284"/>
                  </a:lnTo>
                  <a:lnTo>
                    <a:pt x="354" y="1292"/>
                  </a:lnTo>
                  <a:lnTo>
                    <a:pt x="347" y="1304"/>
                  </a:lnTo>
                  <a:lnTo>
                    <a:pt x="344" y="1319"/>
                  </a:lnTo>
                  <a:lnTo>
                    <a:pt x="347" y="1332"/>
                  </a:lnTo>
                  <a:lnTo>
                    <a:pt x="354" y="1345"/>
                  </a:lnTo>
                  <a:lnTo>
                    <a:pt x="366" y="1352"/>
                  </a:lnTo>
                  <a:lnTo>
                    <a:pt x="381" y="1355"/>
                  </a:lnTo>
                  <a:lnTo>
                    <a:pt x="1324" y="1355"/>
                  </a:lnTo>
                  <a:lnTo>
                    <a:pt x="1338" y="1352"/>
                  </a:lnTo>
                  <a:lnTo>
                    <a:pt x="1350" y="1345"/>
                  </a:lnTo>
                  <a:lnTo>
                    <a:pt x="1357" y="1332"/>
                  </a:lnTo>
                  <a:lnTo>
                    <a:pt x="1360" y="1319"/>
                  </a:lnTo>
                  <a:lnTo>
                    <a:pt x="1357" y="1304"/>
                  </a:lnTo>
                  <a:lnTo>
                    <a:pt x="1350" y="1292"/>
                  </a:lnTo>
                  <a:lnTo>
                    <a:pt x="1338" y="1284"/>
                  </a:lnTo>
                  <a:lnTo>
                    <a:pt x="1324" y="1282"/>
                  </a:lnTo>
                  <a:lnTo>
                    <a:pt x="381" y="1282"/>
                  </a:lnTo>
                  <a:close/>
                  <a:moveTo>
                    <a:pt x="381" y="1188"/>
                  </a:moveTo>
                  <a:lnTo>
                    <a:pt x="1324" y="1188"/>
                  </a:lnTo>
                  <a:lnTo>
                    <a:pt x="1350" y="1191"/>
                  </a:lnTo>
                  <a:lnTo>
                    <a:pt x="1374" y="1198"/>
                  </a:lnTo>
                  <a:lnTo>
                    <a:pt x="1397" y="1211"/>
                  </a:lnTo>
                  <a:lnTo>
                    <a:pt x="1416" y="1226"/>
                  </a:lnTo>
                  <a:lnTo>
                    <a:pt x="1432" y="1245"/>
                  </a:lnTo>
                  <a:lnTo>
                    <a:pt x="1444" y="1267"/>
                  </a:lnTo>
                  <a:lnTo>
                    <a:pt x="1452" y="1292"/>
                  </a:lnTo>
                  <a:lnTo>
                    <a:pt x="1454" y="1319"/>
                  </a:lnTo>
                  <a:lnTo>
                    <a:pt x="1452" y="1345"/>
                  </a:lnTo>
                  <a:lnTo>
                    <a:pt x="1444" y="1369"/>
                  </a:lnTo>
                  <a:lnTo>
                    <a:pt x="1432" y="1391"/>
                  </a:lnTo>
                  <a:lnTo>
                    <a:pt x="1416" y="1411"/>
                  </a:lnTo>
                  <a:lnTo>
                    <a:pt x="1397" y="1426"/>
                  </a:lnTo>
                  <a:lnTo>
                    <a:pt x="1374" y="1438"/>
                  </a:lnTo>
                  <a:lnTo>
                    <a:pt x="1350" y="1445"/>
                  </a:lnTo>
                  <a:lnTo>
                    <a:pt x="1324" y="1448"/>
                  </a:lnTo>
                  <a:lnTo>
                    <a:pt x="381" y="1448"/>
                  </a:lnTo>
                  <a:lnTo>
                    <a:pt x="354" y="1445"/>
                  </a:lnTo>
                  <a:lnTo>
                    <a:pt x="330" y="1438"/>
                  </a:lnTo>
                  <a:lnTo>
                    <a:pt x="307" y="1426"/>
                  </a:lnTo>
                  <a:lnTo>
                    <a:pt x="288" y="1411"/>
                  </a:lnTo>
                  <a:lnTo>
                    <a:pt x="273" y="1391"/>
                  </a:lnTo>
                  <a:lnTo>
                    <a:pt x="260" y="1369"/>
                  </a:lnTo>
                  <a:lnTo>
                    <a:pt x="253" y="1345"/>
                  </a:lnTo>
                  <a:lnTo>
                    <a:pt x="251" y="1319"/>
                  </a:lnTo>
                  <a:lnTo>
                    <a:pt x="253" y="1292"/>
                  </a:lnTo>
                  <a:lnTo>
                    <a:pt x="260" y="1267"/>
                  </a:lnTo>
                  <a:lnTo>
                    <a:pt x="273" y="1245"/>
                  </a:lnTo>
                  <a:lnTo>
                    <a:pt x="288" y="1226"/>
                  </a:lnTo>
                  <a:lnTo>
                    <a:pt x="307" y="1211"/>
                  </a:lnTo>
                  <a:lnTo>
                    <a:pt x="330" y="1198"/>
                  </a:lnTo>
                  <a:lnTo>
                    <a:pt x="354" y="1191"/>
                  </a:lnTo>
                  <a:lnTo>
                    <a:pt x="381" y="1188"/>
                  </a:lnTo>
                  <a:close/>
                  <a:moveTo>
                    <a:pt x="1341" y="792"/>
                  </a:moveTo>
                  <a:lnTo>
                    <a:pt x="1328" y="794"/>
                  </a:lnTo>
                  <a:lnTo>
                    <a:pt x="1317" y="801"/>
                  </a:lnTo>
                  <a:lnTo>
                    <a:pt x="1311" y="812"/>
                  </a:lnTo>
                  <a:lnTo>
                    <a:pt x="1308" y="824"/>
                  </a:lnTo>
                  <a:lnTo>
                    <a:pt x="1311" y="837"/>
                  </a:lnTo>
                  <a:lnTo>
                    <a:pt x="1317" y="847"/>
                  </a:lnTo>
                  <a:lnTo>
                    <a:pt x="1328" y="855"/>
                  </a:lnTo>
                  <a:lnTo>
                    <a:pt x="1341" y="858"/>
                  </a:lnTo>
                  <a:lnTo>
                    <a:pt x="1354" y="855"/>
                  </a:lnTo>
                  <a:lnTo>
                    <a:pt x="1364" y="847"/>
                  </a:lnTo>
                  <a:lnTo>
                    <a:pt x="1371" y="837"/>
                  </a:lnTo>
                  <a:lnTo>
                    <a:pt x="1374" y="824"/>
                  </a:lnTo>
                  <a:lnTo>
                    <a:pt x="1371" y="812"/>
                  </a:lnTo>
                  <a:lnTo>
                    <a:pt x="1364" y="801"/>
                  </a:lnTo>
                  <a:lnTo>
                    <a:pt x="1354" y="794"/>
                  </a:lnTo>
                  <a:lnTo>
                    <a:pt x="1341" y="792"/>
                  </a:lnTo>
                  <a:close/>
                  <a:moveTo>
                    <a:pt x="1022" y="792"/>
                  </a:moveTo>
                  <a:lnTo>
                    <a:pt x="1009" y="794"/>
                  </a:lnTo>
                  <a:lnTo>
                    <a:pt x="998" y="801"/>
                  </a:lnTo>
                  <a:lnTo>
                    <a:pt x="991" y="812"/>
                  </a:lnTo>
                  <a:lnTo>
                    <a:pt x="989" y="824"/>
                  </a:lnTo>
                  <a:lnTo>
                    <a:pt x="991" y="837"/>
                  </a:lnTo>
                  <a:lnTo>
                    <a:pt x="998" y="847"/>
                  </a:lnTo>
                  <a:lnTo>
                    <a:pt x="1009" y="855"/>
                  </a:lnTo>
                  <a:lnTo>
                    <a:pt x="1022" y="858"/>
                  </a:lnTo>
                  <a:lnTo>
                    <a:pt x="1035" y="855"/>
                  </a:lnTo>
                  <a:lnTo>
                    <a:pt x="1046" y="847"/>
                  </a:lnTo>
                  <a:lnTo>
                    <a:pt x="1052" y="837"/>
                  </a:lnTo>
                  <a:lnTo>
                    <a:pt x="1055" y="824"/>
                  </a:lnTo>
                  <a:lnTo>
                    <a:pt x="1052" y="812"/>
                  </a:lnTo>
                  <a:lnTo>
                    <a:pt x="1046" y="801"/>
                  </a:lnTo>
                  <a:lnTo>
                    <a:pt x="1035" y="794"/>
                  </a:lnTo>
                  <a:lnTo>
                    <a:pt x="1022" y="792"/>
                  </a:lnTo>
                  <a:close/>
                  <a:moveTo>
                    <a:pt x="703" y="792"/>
                  </a:moveTo>
                  <a:lnTo>
                    <a:pt x="690" y="794"/>
                  </a:lnTo>
                  <a:lnTo>
                    <a:pt x="680" y="801"/>
                  </a:lnTo>
                  <a:lnTo>
                    <a:pt x="672" y="812"/>
                  </a:lnTo>
                  <a:lnTo>
                    <a:pt x="670" y="824"/>
                  </a:lnTo>
                  <a:lnTo>
                    <a:pt x="672" y="837"/>
                  </a:lnTo>
                  <a:lnTo>
                    <a:pt x="680" y="847"/>
                  </a:lnTo>
                  <a:lnTo>
                    <a:pt x="690" y="855"/>
                  </a:lnTo>
                  <a:lnTo>
                    <a:pt x="703" y="858"/>
                  </a:lnTo>
                  <a:lnTo>
                    <a:pt x="715" y="855"/>
                  </a:lnTo>
                  <a:lnTo>
                    <a:pt x="726" y="847"/>
                  </a:lnTo>
                  <a:lnTo>
                    <a:pt x="733" y="837"/>
                  </a:lnTo>
                  <a:lnTo>
                    <a:pt x="736" y="824"/>
                  </a:lnTo>
                  <a:lnTo>
                    <a:pt x="733" y="812"/>
                  </a:lnTo>
                  <a:lnTo>
                    <a:pt x="726" y="801"/>
                  </a:lnTo>
                  <a:lnTo>
                    <a:pt x="715" y="794"/>
                  </a:lnTo>
                  <a:lnTo>
                    <a:pt x="703" y="792"/>
                  </a:lnTo>
                  <a:close/>
                  <a:moveTo>
                    <a:pt x="384" y="792"/>
                  </a:moveTo>
                  <a:lnTo>
                    <a:pt x="371" y="794"/>
                  </a:lnTo>
                  <a:lnTo>
                    <a:pt x="361" y="801"/>
                  </a:lnTo>
                  <a:lnTo>
                    <a:pt x="353" y="812"/>
                  </a:lnTo>
                  <a:lnTo>
                    <a:pt x="351" y="824"/>
                  </a:lnTo>
                  <a:lnTo>
                    <a:pt x="353" y="837"/>
                  </a:lnTo>
                  <a:lnTo>
                    <a:pt x="361" y="847"/>
                  </a:lnTo>
                  <a:lnTo>
                    <a:pt x="371" y="855"/>
                  </a:lnTo>
                  <a:lnTo>
                    <a:pt x="384" y="858"/>
                  </a:lnTo>
                  <a:lnTo>
                    <a:pt x="396" y="855"/>
                  </a:lnTo>
                  <a:lnTo>
                    <a:pt x="407" y="847"/>
                  </a:lnTo>
                  <a:lnTo>
                    <a:pt x="414" y="837"/>
                  </a:lnTo>
                  <a:lnTo>
                    <a:pt x="416" y="824"/>
                  </a:lnTo>
                  <a:lnTo>
                    <a:pt x="414" y="812"/>
                  </a:lnTo>
                  <a:lnTo>
                    <a:pt x="407" y="801"/>
                  </a:lnTo>
                  <a:lnTo>
                    <a:pt x="396" y="794"/>
                  </a:lnTo>
                  <a:lnTo>
                    <a:pt x="384" y="792"/>
                  </a:lnTo>
                  <a:close/>
                  <a:moveTo>
                    <a:pt x="1341" y="699"/>
                  </a:moveTo>
                  <a:lnTo>
                    <a:pt x="1367" y="701"/>
                  </a:lnTo>
                  <a:lnTo>
                    <a:pt x="1390" y="708"/>
                  </a:lnTo>
                  <a:lnTo>
                    <a:pt x="1412" y="719"/>
                  </a:lnTo>
                  <a:lnTo>
                    <a:pt x="1431" y="735"/>
                  </a:lnTo>
                  <a:lnTo>
                    <a:pt x="1446" y="754"/>
                  </a:lnTo>
                  <a:lnTo>
                    <a:pt x="1458" y="775"/>
                  </a:lnTo>
                  <a:lnTo>
                    <a:pt x="1465" y="799"/>
                  </a:lnTo>
                  <a:lnTo>
                    <a:pt x="1467" y="824"/>
                  </a:lnTo>
                  <a:lnTo>
                    <a:pt x="1465" y="850"/>
                  </a:lnTo>
                  <a:lnTo>
                    <a:pt x="1458" y="873"/>
                  </a:lnTo>
                  <a:lnTo>
                    <a:pt x="1446" y="895"/>
                  </a:lnTo>
                  <a:lnTo>
                    <a:pt x="1431" y="914"/>
                  </a:lnTo>
                  <a:lnTo>
                    <a:pt x="1412" y="929"/>
                  </a:lnTo>
                  <a:lnTo>
                    <a:pt x="1390" y="940"/>
                  </a:lnTo>
                  <a:lnTo>
                    <a:pt x="1367" y="948"/>
                  </a:lnTo>
                  <a:lnTo>
                    <a:pt x="1341" y="951"/>
                  </a:lnTo>
                  <a:lnTo>
                    <a:pt x="1315" y="948"/>
                  </a:lnTo>
                  <a:lnTo>
                    <a:pt x="1292" y="940"/>
                  </a:lnTo>
                  <a:lnTo>
                    <a:pt x="1270" y="929"/>
                  </a:lnTo>
                  <a:lnTo>
                    <a:pt x="1251" y="914"/>
                  </a:lnTo>
                  <a:lnTo>
                    <a:pt x="1237" y="895"/>
                  </a:lnTo>
                  <a:lnTo>
                    <a:pt x="1224" y="873"/>
                  </a:lnTo>
                  <a:lnTo>
                    <a:pt x="1217" y="850"/>
                  </a:lnTo>
                  <a:lnTo>
                    <a:pt x="1214" y="824"/>
                  </a:lnTo>
                  <a:lnTo>
                    <a:pt x="1217" y="799"/>
                  </a:lnTo>
                  <a:lnTo>
                    <a:pt x="1224" y="775"/>
                  </a:lnTo>
                  <a:lnTo>
                    <a:pt x="1237" y="754"/>
                  </a:lnTo>
                  <a:lnTo>
                    <a:pt x="1251" y="735"/>
                  </a:lnTo>
                  <a:lnTo>
                    <a:pt x="1270" y="719"/>
                  </a:lnTo>
                  <a:lnTo>
                    <a:pt x="1292" y="708"/>
                  </a:lnTo>
                  <a:lnTo>
                    <a:pt x="1315" y="701"/>
                  </a:lnTo>
                  <a:lnTo>
                    <a:pt x="1341" y="699"/>
                  </a:lnTo>
                  <a:close/>
                  <a:moveTo>
                    <a:pt x="1022" y="699"/>
                  </a:moveTo>
                  <a:lnTo>
                    <a:pt x="1048" y="701"/>
                  </a:lnTo>
                  <a:lnTo>
                    <a:pt x="1071" y="708"/>
                  </a:lnTo>
                  <a:lnTo>
                    <a:pt x="1093" y="719"/>
                  </a:lnTo>
                  <a:lnTo>
                    <a:pt x="1112" y="735"/>
                  </a:lnTo>
                  <a:lnTo>
                    <a:pt x="1126" y="754"/>
                  </a:lnTo>
                  <a:lnTo>
                    <a:pt x="1139" y="775"/>
                  </a:lnTo>
                  <a:lnTo>
                    <a:pt x="1146" y="799"/>
                  </a:lnTo>
                  <a:lnTo>
                    <a:pt x="1148" y="824"/>
                  </a:lnTo>
                  <a:lnTo>
                    <a:pt x="1146" y="850"/>
                  </a:lnTo>
                  <a:lnTo>
                    <a:pt x="1139" y="873"/>
                  </a:lnTo>
                  <a:lnTo>
                    <a:pt x="1126" y="895"/>
                  </a:lnTo>
                  <a:lnTo>
                    <a:pt x="1112" y="914"/>
                  </a:lnTo>
                  <a:lnTo>
                    <a:pt x="1093" y="929"/>
                  </a:lnTo>
                  <a:lnTo>
                    <a:pt x="1071" y="940"/>
                  </a:lnTo>
                  <a:lnTo>
                    <a:pt x="1048" y="948"/>
                  </a:lnTo>
                  <a:lnTo>
                    <a:pt x="1022" y="951"/>
                  </a:lnTo>
                  <a:lnTo>
                    <a:pt x="996" y="948"/>
                  </a:lnTo>
                  <a:lnTo>
                    <a:pt x="972" y="940"/>
                  </a:lnTo>
                  <a:lnTo>
                    <a:pt x="951" y="929"/>
                  </a:lnTo>
                  <a:lnTo>
                    <a:pt x="932" y="914"/>
                  </a:lnTo>
                  <a:lnTo>
                    <a:pt x="917" y="895"/>
                  </a:lnTo>
                  <a:lnTo>
                    <a:pt x="905" y="873"/>
                  </a:lnTo>
                  <a:lnTo>
                    <a:pt x="898" y="850"/>
                  </a:lnTo>
                  <a:lnTo>
                    <a:pt x="896" y="824"/>
                  </a:lnTo>
                  <a:lnTo>
                    <a:pt x="898" y="799"/>
                  </a:lnTo>
                  <a:lnTo>
                    <a:pt x="905" y="775"/>
                  </a:lnTo>
                  <a:lnTo>
                    <a:pt x="917" y="754"/>
                  </a:lnTo>
                  <a:lnTo>
                    <a:pt x="932" y="735"/>
                  </a:lnTo>
                  <a:lnTo>
                    <a:pt x="951" y="719"/>
                  </a:lnTo>
                  <a:lnTo>
                    <a:pt x="972" y="708"/>
                  </a:lnTo>
                  <a:lnTo>
                    <a:pt x="996" y="701"/>
                  </a:lnTo>
                  <a:lnTo>
                    <a:pt x="1022" y="699"/>
                  </a:lnTo>
                  <a:close/>
                  <a:moveTo>
                    <a:pt x="703" y="699"/>
                  </a:moveTo>
                  <a:lnTo>
                    <a:pt x="728" y="701"/>
                  </a:lnTo>
                  <a:lnTo>
                    <a:pt x="752" y="708"/>
                  </a:lnTo>
                  <a:lnTo>
                    <a:pt x="774" y="719"/>
                  </a:lnTo>
                  <a:lnTo>
                    <a:pt x="792" y="735"/>
                  </a:lnTo>
                  <a:lnTo>
                    <a:pt x="808" y="754"/>
                  </a:lnTo>
                  <a:lnTo>
                    <a:pt x="819" y="775"/>
                  </a:lnTo>
                  <a:lnTo>
                    <a:pt x="826" y="799"/>
                  </a:lnTo>
                  <a:lnTo>
                    <a:pt x="830" y="824"/>
                  </a:lnTo>
                  <a:lnTo>
                    <a:pt x="826" y="850"/>
                  </a:lnTo>
                  <a:lnTo>
                    <a:pt x="819" y="873"/>
                  </a:lnTo>
                  <a:lnTo>
                    <a:pt x="808" y="895"/>
                  </a:lnTo>
                  <a:lnTo>
                    <a:pt x="792" y="914"/>
                  </a:lnTo>
                  <a:lnTo>
                    <a:pt x="774" y="929"/>
                  </a:lnTo>
                  <a:lnTo>
                    <a:pt x="752" y="940"/>
                  </a:lnTo>
                  <a:lnTo>
                    <a:pt x="728" y="948"/>
                  </a:lnTo>
                  <a:lnTo>
                    <a:pt x="703" y="951"/>
                  </a:lnTo>
                  <a:lnTo>
                    <a:pt x="678" y="948"/>
                  </a:lnTo>
                  <a:lnTo>
                    <a:pt x="653" y="940"/>
                  </a:lnTo>
                  <a:lnTo>
                    <a:pt x="632" y="929"/>
                  </a:lnTo>
                  <a:lnTo>
                    <a:pt x="614" y="914"/>
                  </a:lnTo>
                  <a:lnTo>
                    <a:pt x="598" y="895"/>
                  </a:lnTo>
                  <a:lnTo>
                    <a:pt x="586" y="873"/>
                  </a:lnTo>
                  <a:lnTo>
                    <a:pt x="579" y="850"/>
                  </a:lnTo>
                  <a:lnTo>
                    <a:pt x="577" y="824"/>
                  </a:lnTo>
                  <a:lnTo>
                    <a:pt x="579" y="799"/>
                  </a:lnTo>
                  <a:lnTo>
                    <a:pt x="586" y="775"/>
                  </a:lnTo>
                  <a:lnTo>
                    <a:pt x="598" y="754"/>
                  </a:lnTo>
                  <a:lnTo>
                    <a:pt x="614" y="735"/>
                  </a:lnTo>
                  <a:lnTo>
                    <a:pt x="632" y="719"/>
                  </a:lnTo>
                  <a:lnTo>
                    <a:pt x="653" y="708"/>
                  </a:lnTo>
                  <a:lnTo>
                    <a:pt x="678" y="701"/>
                  </a:lnTo>
                  <a:lnTo>
                    <a:pt x="703" y="699"/>
                  </a:lnTo>
                  <a:close/>
                  <a:moveTo>
                    <a:pt x="384" y="699"/>
                  </a:moveTo>
                  <a:lnTo>
                    <a:pt x="409" y="701"/>
                  </a:lnTo>
                  <a:lnTo>
                    <a:pt x="433" y="708"/>
                  </a:lnTo>
                  <a:lnTo>
                    <a:pt x="454" y="719"/>
                  </a:lnTo>
                  <a:lnTo>
                    <a:pt x="473" y="735"/>
                  </a:lnTo>
                  <a:lnTo>
                    <a:pt x="489" y="754"/>
                  </a:lnTo>
                  <a:lnTo>
                    <a:pt x="500" y="775"/>
                  </a:lnTo>
                  <a:lnTo>
                    <a:pt x="508" y="799"/>
                  </a:lnTo>
                  <a:lnTo>
                    <a:pt x="511" y="824"/>
                  </a:lnTo>
                  <a:lnTo>
                    <a:pt x="508" y="850"/>
                  </a:lnTo>
                  <a:lnTo>
                    <a:pt x="500" y="873"/>
                  </a:lnTo>
                  <a:lnTo>
                    <a:pt x="489" y="895"/>
                  </a:lnTo>
                  <a:lnTo>
                    <a:pt x="473" y="914"/>
                  </a:lnTo>
                  <a:lnTo>
                    <a:pt x="454" y="929"/>
                  </a:lnTo>
                  <a:lnTo>
                    <a:pt x="433" y="940"/>
                  </a:lnTo>
                  <a:lnTo>
                    <a:pt x="409" y="948"/>
                  </a:lnTo>
                  <a:lnTo>
                    <a:pt x="384" y="951"/>
                  </a:lnTo>
                  <a:lnTo>
                    <a:pt x="359" y="948"/>
                  </a:lnTo>
                  <a:lnTo>
                    <a:pt x="335" y="940"/>
                  </a:lnTo>
                  <a:lnTo>
                    <a:pt x="314" y="929"/>
                  </a:lnTo>
                  <a:lnTo>
                    <a:pt x="295" y="914"/>
                  </a:lnTo>
                  <a:lnTo>
                    <a:pt x="279" y="895"/>
                  </a:lnTo>
                  <a:lnTo>
                    <a:pt x="267" y="873"/>
                  </a:lnTo>
                  <a:lnTo>
                    <a:pt x="260" y="850"/>
                  </a:lnTo>
                  <a:lnTo>
                    <a:pt x="257" y="824"/>
                  </a:lnTo>
                  <a:lnTo>
                    <a:pt x="260" y="799"/>
                  </a:lnTo>
                  <a:lnTo>
                    <a:pt x="267" y="775"/>
                  </a:lnTo>
                  <a:lnTo>
                    <a:pt x="279" y="754"/>
                  </a:lnTo>
                  <a:lnTo>
                    <a:pt x="295" y="735"/>
                  </a:lnTo>
                  <a:lnTo>
                    <a:pt x="314" y="719"/>
                  </a:lnTo>
                  <a:lnTo>
                    <a:pt x="335" y="708"/>
                  </a:lnTo>
                  <a:lnTo>
                    <a:pt x="359" y="701"/>
                  </a:lnTo>
                  <a:lnTo>
                    <a:pt x="384" y="699"/>
                  </a:lnTo>
                  <a:close/>
                  <a:moveTo>
                    <a:pt x="1341" y="507"/>
                  </a:moveTo>
                  <a:lnTo>
                    <a:pt x="1328" y="510"/>
                  </a:lnTo>
                  <a:lnTo>
                    <a:pt x="1317" y="516"/>
                  </a:lnTo>
                  <a:lnTo>
                    <a:pt x="1311" y="527"/>
                  </a:lnTo>
                  <a:lnTo>
                    <a:pt x="1308" y="540"/>
                  </a:lnTo>
                  <a:lnTo>
                    <a:pt x="1311" y="553"/>
                  </a:lnTo>
                  <a:lnTo>
                    <a:pt x="1317" y="563"/>
                  </a:lnTo>
                  <a:lnTo>
                    <a:pt x="1328" y="571"/>
                  </a:lnTo>
                  <a:lnTo>
                    <a:pt x="1341" y="573"/>
                  </a:lnTo>
                  <a:lnTo>
                    <a:pt x="1354" y="571"/>
                  </a:lnTo>
                  <a:lnTo>
                    <a:pt x="1364" y="563"/>
                  </a:lnTo>
                  <a:lnTo>
                    <a:pt x="1371" y="553"/>
                  </a:lnTo>
                  <a:lnTo>
                    <a:pt x="1374" y="540"/>
                  </a:lnTo>
                  <a:lnTo>
                    <a:pt x="1371" y="527"/>
                  </a:lnTo>
                  <a:lnTo>
                    <a:pt x="1364" y="516"/>
                  </a:lnTo>
                  <a:lnTo>
                    <a:pt x="1354" y="510"/>
                  </a:lnTo>
                  <a:lnTo>
                    <a:pt x="1341" y="507"/>
                  </a:lnTo>
                  <a:close/>
                  <a:moveTo>
                    <a:pt x="1022" y="507"/>
                  </a:moveTo>
                  <a:lnTo>
                    <a:pt x="1009" y="510"/>
                  </a:lnTo>
                  <a:lnTo>
                    <a:pt x="998" y="516"/>
                  </a:lnTo>
                  <a:lnTo>
                    <a:pt x="991" y="527"/>
                  </a:lnTo>
                  <a:lnTo>
                    <a:pt x="989" y="540"/>
                  </a:lnTo>
                  <a:lnTo>
                    <a:pt x="991" y="553"/>
                  </a:lnTo>
                  <a:lnTo>
                    <a:pt x="998" y="563"/>
                  </a:lnTo>
                  <a:lnTo>
                    <a:pt x="1009" y="571"/>
                  </a:lnTo>
                  <a:lnTo>
                    <a:pt x="1022" y="573"/>
                  </a:lnTo>
                  <a:lnTo>
                    <a:pt x="1035" y="571"/>
                  </a:lnTo>
                  <a:lnTo>
                    <a:pt x="1046" y="563"/>
                  </a:lnTo>
                  <a:lnTo>
                    <a:pt x="1052" y="553"/>
                  </a:lnTo>
                  <a:lnTo>
                    <a:pt x="1055" y="540"/>
                  </a:lnTo>
                  <a:lnTo>
                    <a:pt x="1052" y="527"/>
                  </a:lnTo>
                  <a:lnTo>
                    <a:pt x="1046" y="516"/>
                  </a:lnTo>
                  <a:lnTo>
                    <a:pt x="1035" y="510"/>
                  </a:lnTo>
                  <a:lnTo>
                    <a:pt x="1022" y="507"/>
                  </a:lnTo>
                  <a:close/>
                  <a:moveTo>
                    <a:pt x="703" y="507"/>
                  </a:moveTo>
                  <a:lnTo>
                    <a:pt x="690" y="510"/>
                  </a:lnTo>
                  <a:lnTo>
                    <a:pt x="680" y="516"/>
                  </a:lnTo>
                  <a:lnTo>
                    <a:pt x="672" y="527"/>
                  </a:lnTo>
                  <a:lnTo>
                    <a:pt x="670" y="540"/>
                  </a:lnTo>
                  <a:lnTo>
                    <a:pt x="672" y="553"/>
                  </a:lnTo>
                  <a:lnTo>
                    <a:pt x="680" y="563"/>
                  </a:lnTo>
                  <a:lnTo>
                    <a:pt x="690" y="571"/>
                  </a:lnTo>
                  <a:lnTo>
                    <a:pt x="703" y="573"/>
                  </a:lnTo>
                  <a:lnTo>
                    <a:pt x="715" y="571"/>
                  </a:lnTo>
                  <a:lnTo>
                    <a:pt x="726" y="563"/>
                  </a:lnTo>
                  <a:lnTo>
                    <a:pt x="733" y="553"/>
                  </a:lnTo>
                  <a:lnTo>
                    <a:pt x="736" y="540"/>
                  </a:lnTo>
                  <a:lnTo>
                    <a:pt x="733" y="527"/>
                  </a:lnTo>
                  <a:lnTo>
                    <a:pt x="726" y="516"/>
                  </a:lnTo>
                  <a:lnTo>
                    <a:pt x="715" y="510"/>
                  </a:lnTo>
                  <a:lnTo>
                    <a:pt x="703" y="507"/>
                  </a:lnTo>
                  <a:close/>
                  <a:moveTo>
                    <a:pt x="384" y="507"/>
                  </a:moveTo>
                  <a:lnTo>
                    <a:pt x="371" y="510"/>
                  </a:lnTo>
                  <a:lnTo>
                    <a:pt x="361" y="516"/>
                  </a:lnTo>
                  <a:lnTo>
                    <a:pt x="353" y="527"/>
                  </a:lnTo>
                  <a:lnTo>
                    <a:pt x="351" y="540"/>
                  </a:lnTo>
                  <a:lnTo>
                    <a:pt x="353" y="553"/>
                  </a:lnTo>
                  <a:lnTo>
                    <a:pt x="361" y="563"/>
                  </a:lnTo>
                  <a:lnTo>
                    <a:pt x="371" y="571"/>
                  </a:lnTo>
                  <a:lnTo>
                    <a:pt x="384" y="573"/>
                  </a:lnTo>
                  <a:lnTo>
                    <a:pt x="396" y="571"/>
                  </a:lnTo>
                  <a:lnTo>
                    <a:pt x="407" y="563"/>
                  </a:lnTo>
                  <a:lnTo>
                    <a:pt x="414" y="553"/>
                  </a:lnTo>
                  <a:lnTo>
                    <a:pt x="416" y="540"/>
                  </a:lnTo>
                  <a:lnTo>
                    <a:pt x="414" y="527"/>
                  </a:lnTo>
                  <a:lnTo>
                    <a:pt x="407" y="516"/>
                  </a:lnTo>
                  <a:lnTo>
                    <a:pt x="396" y="510"/>
                  </a:lnTo>
                  <a:lnTo>
                    <a:pt x="384" y="507"/>
                  </a:lnTo>
                  <a:close/>
                  <a:moveTo>
                    <a:pt x="1341" y="414"/>
                  </a:moveTo>
                  <a:lnTo>
                    <a:pt x="1367" y="417"/>
                  </a:lnTo>
                  <a:lnTo>
                    <a:pt x="1390" y="424"/>
                  </a:lnTo>
                  <a:lnTo>
                    <a:pt x="1412" y="436"/>
                  </a:lnTo>
                  <a:lnTo>
                    <a:pt x="1431" y="450"/>
                  </a:lnTo>
                  <a:lnTo>
                    <a:pt x="1446" y="469"/>
                  </a:lnTo>
                  <a:lnTo>
                    <a:pt x="1458" y="491"/>
                  </a:lnTo>
                  <a:lnTo>
                    <a:pt x="1465" y="514"/>
                  </a:lnTo>
                  <a:lnTo>
                    <a:pt x="1467" y="540"/>
                  </a:lnTo>
                  <a:lnTo>
                    <a:pt x="1465" y="566"/>
                  </a:lnTo>
                  <a:lnTo>
                    <a:pt x="1458" y="590"/>
                  </a:lnTo>
                  <a:lnTo>
                    <a:pt x="1446" y="611"/>
                  </a:lnTo>
                  <a:lnTo>
                    <a:pt x="1431" y="629"/>
                  </a:lnTo>
                  <a:lnTo>
                    <a:pt x="1412" y="645"/>
                  </a:lnTo>
                  <a:lnTo>
                    <a:pt x="1390" y="657"/>
                  </a:lnTo>
                  <a:lnTo>
                    <a:pt x="1367" y="664"/>
                  </a:lnTo>
                  <a:lnTo>
                    <a:pt x="1341" y="666"/>
                  </a:lnTo>
                  <a:lnTo>
                    <a:pt x="1315" y="664"/>
                  </a:lnTo>
                  <a:lnTo>
                    <a:pt x="1292" y="657"/>
                  </a:lnTo>
                  <a:lnTo>
                    <a:pt x="1270" y="645"/>
                  </a:lnTo>
                  <a:lnTo>
                    <a:pt x="1251" y="629"/>
                  </a:lnTo>
                  <a:lnTo>
                    <a:pt x="1237" y="611"/>
                  </a:lnTo>
                  <a:lnTo>
                    <a:pt x="1224" y="590"/>
                  </a:lnTo>
                  <a:lnTo>
                    <a:pt x="1217" y="566"/>
                  </a:lnTo>
                  <a:lnTo>
                    <a:pt x="1214" y="540"/>
                  </a:lnTo>
                  <a:lnTo>
                    <a:pt x="1217" y="514"/>
                  </a:lnTo>
                  <a:lnTo>
                    <a:pt x="1224" y="491"/>
                  </a:lnTo>
                  <a:lnTo>
                    <a:pt x="1237" y="469"/>
                  </a:lnTo>
                  <a:lnTo>
                    <a:pt x="1251" y="450"/>
                  </a:lnTo>
                  <a:lnTo>
                    <a:pt x="1270" y="436"/>
                  </a:lnTo>
                  <a:lnTo>
                    <a:pt x="1292" y="424"/>
                  </a:lnTo>
                  <a:lnTo>
                    <a:pt x="1315" y="417"/>
                  </a:lnTo>
                  <a:lnTo>
                    <a:pt x="1341" y="414"/>
                  </a:lnTo>
                  <a:close/>
                  <a:moveTo>
                    <a:pt x="1022" y="414"/>
                  </a:moveTo>
                  <a:lnTo>
                    <a:pt x="1048" y="417"/>
                  </a:lnTo>
                  <a:lnTo>
                    <a:pt x="1071" y="424"/>
                  </a:lnTo>
                  <a:lnTo>
                    <a:pt x="1093" y="436"/>
                  </a:lnTo>
                  <a:lnTo>
                    <a:pt x="1112" y="450"/>
                  </a:lnTo>
                  <a:lnTo>
                    <a:pt x="1126" y="469"/>
                  </a:lnTo>
                  <a:lnTo>
                    <a:pt x="1139" y="491"/>
                  </a:lnTo>
                  <a:lnTo>
                    <a:pt x="1146" y="514"/>
                  </a:lnTo>
                  <a:lnTo>
                    <a:pt x="1148" y="540"/>
                  </a:lnTo>
                  <a:lnTo>
                    <a:pt x="1146" y="566"/>
                  </a:lnTo>
                  <a:lnTo>
                    <a:pt x="1139" y="590"/>
                  </a:lnTo>
                  <a:lnTo>
                    <a:pt x="1126" y="611"/>
                  </a:lnTo>
                  <a:lnTo>
                    <a:pt x="1112" y="629"/>
                  </a:lnTo>
                  <a:lnTo>
                    <a:pt x="1093" y="645"/>
                  </a:lnTo>
                  <a:lnTo>
                    <a:pt x="1071" y="657"/>
                  </a:lnTo>
                  <a:lnTo>
                    <a:pt x="1048" y="664"/>
                  </a:lnTo>
                  <a:lnTo>
                    <a:pt x="1022" y="666"/>
                  </a:lnTo>
                  <a:lnTo>
                    <a:pt x="996" y="664"/>
                  </a:lnTo>
                  <a:lnTo>
                    <a:pt x="972" y="657"/>
                  </a:lnTo>
                  <a:lnTo>
                    <a:pt x="951" y="645"/>
                  </a:lnTo>
                  <a:lnTo>
                    <a:pt x="932" y="629"/>
                  </a:lnTo>
                  <a:lnTo>
                    <a:pt x="917" y="611"/>
                  </a:lnTo>
                  <a:lnTo>
                    <a:pt x="905" y="590"/>
                  </a:lnTo>
                  <a:lnTo>
                    <a:pt x="898" y="566"/>
                  </a:lnTo>
                  <a:lnTo>
                    <a:pt x="896" y="540"/>
                  </a:lnTo>
                  <a:lnTo>
                    <a:pt x="898" y="514"/>
                  </a:lnTo>
                  <a:lnTo>
                    <a:pt x="905" y="491"/>
                  </a:lnTo>
                  <a:lnTo>
                    <a:pt x="917" y="469"/>
                  </a:lnTo>
                  <a:lnTo>
                    <a:pt x="932" y="450"/>
                  </a:lnTo>
                  <a:lnTo>
                    <a:pt x="951" y="436"/>
                  </a:lnTo>
                  <a:lnTo>
                    <a:pt x="972" y="424"/>
                  </a:lnTo>
                  <a:lnTo>
                    <a:pt x="996" y="417"/>
                  </a:lnTo>
                  <a:lnTo>
                    <a:pt x="1022" y="414"/>
                  </a:lnTo>
                  <a:close/>
                  <a:moveTo>
                    <a:pt x="703" y="414"/>
                  </a:moveTo>
                  <a:lnTo>
                    <a:pt x="728" y="417"/>
                  </a:lnTo>
                  <a:lnTo>
                    <a:pt x="752" y="424"/>
                  </a:lnTo>
                  <a:lnTo>
                    <a:pt x="774" y="436"/>
                  </a:lnTo>
                  <a:lnTo>
                    <a:pt x="792" y="450"/>
                  </a:lnTo>
                  <a:lnTo>
                    <a:pt x="808" y="469"/>
                  </a:lnTo>
                  <a:lnTo>
                    <a:pt x="819" y="491"/>
                  </a:lnTo>
                  <a:lnTo>
                    <a:pt x="826" y="514"/>
                  </a:lnTo>
                  <a:lnTo>
                    <a:pt x="830" y="540"/>
                  </a:lnTo>
                  <a:lnTo>
                    <a:pt x="826" y="566"/>
                  </a:lnTo>
                  <a:lnTo>
                    <a:pt x="819" y="590"/>
                  </a:lnTo>
                  <a:lnTo>
                    <a:pt x="808" y="611"/>
                  </a:lnTo>
                  <a:lnTo>
                    <a:pt x="792" y="629"/>
                  </a:lnTo>
                  <a:lnTo>
                    <a:pt x="774" y="645"/>
                  </a:lnTo>
                  <a:lnTo>
                    <a:pt x="752" y="657"/>
                  </a:lnTo>
                  <a:lnTo>
                    <a:pt x="728" y="664"/>
                  </a:lnTo>
                  <a:lnTo>
                    <a:pt x="703" y="666"/>
                  </a:lnTo>
                  <a:lnTo>
                    <a:pt x="678" y="664"/>
                  </a:lnTo>
                  <a:lnTo>
                    <a:pt x="653" y="657"/>
                  </a:lnTo>
                  <a:lnTo>
                    <a:pt x="632" y="645"/>
                  </a:lnTo>
                  <a:lnTo>
                    <a:pt x="614" y="629"/>
                  </a:lnTo>
                  <a:lnTo>
                    <a:pt x="598" y="611"/>
                  </a:lnTo>
                  <a:lnTo>
                    <a:pt x="586" y="590"/>
                  </a:lnTo>
                  <a:lnTo>
                    <a:pt x="579" y="566"/>
                  </a:lnTo>
                  <a:lnTo>
                    <a:pt x="577" y="540"/>
                  </a:lnTo>
                  <a:lnTo>
                    <a:pt x="579" y="514"/>
                  </a:lnTo>
                  <a:lnTo>
                    <a:pt x="586" y="491"/>
                  </a:lnTo>
                  <a:lnTo>
                    <a:pt x="598" y="469"/>
                  </a:lnTo>
                  <a:lnTo>
                    <a:pt x="614" y="450"/>
                  </a:lnTo>
                  <a:lnTo>
                    <a:pt x="632" y="436"/>
                  </a:lnTo>
                  <a:lnTo>
                    <a:pt x="653" y="424"/>
                  </a:lnTo>
                  <a:lnTo>
                    <a:pt x="678" y="417"/>
                  </a:lnTo>
                  <a:lnTo>
                    <a:pt x="703" y="414"/>
                  </a:lnTo>
                  <a:close/>
                  <a:moveTo>
                    <a:pt x="384" y="414"/>
                  </a:moveTo>
                  <a:lnTo>
                    <a:pt x="409" y="417"/>
                  </a:lnTo>
                  <a:lnTo>
                    <a:pt x="433" y="424"/>
                  </a:lnTo>
                  <a:lnTo>
                    <a:pt x="454" y="436"/>
                  </a:lnTo>
                  <a:lnTo>
                    <a:pt x="473" y="450"/>
                  </a:lnTo>
                  <a:lnTo>
                    <a:pt x="489" y="469"/>
                  </a:lnTo>
                  <a:lnTo>
                    <a:pt x="500" y="491"/>
                  </a:lnTo>
                  <a:lnTo>
                    <a:pt x="508" y="514"/>
                  </a:lnTo>
                  <a:lnTo>
                    <a:pt x="511" y="540"/>
                  </a:lnTo>
                  <a:lnTo>
                    <a:pt x="508" y="566"/>
                  </a:lnTo>
                  <a:lnTo>
                    <a:pt x="500" y="590"/>
                  </a:lnTo>
                  <a:lnTo>
                    <a:pt x="489" y="611"/>
                  </a:lnTo>
                  <a:lnTo>
                    <a:pt x="473" y="629"/>
                  </a:lnTo>
                  <a:lnTo>
                    <a:pt x="454" y="645"/>
                  </a:lnTo>
                  <a:lnTo>
                    <a:pt x="433" y="657"/>
                  </a:lnTo>
                  <a:lnTo>
                    <a:pt x="409" y="664"/>
                  </a:lnTo>
                  <a:lnTo>
                    <a:pt x="384" y="666"/>
                  </a:lnTo>
                  <a:lnTo>
                    <a:pt x="359" y="664"/>
                  </a:lnTo>
                  <a:lnTo>
                    <a:pt x="335" y="657"/>
                  </a:lnTo>
                  <a:lnTo>
                    <a:pt x="314" y="645"/>
                  </a:lnTo>
                  <a:lnTo>
                    <a:pt x="295" y="629"/>
                  </a:lnTo>
                  <a:lnTo>
                    <a:pt x="279" y="611"/>
                  </a:lnTo>
                  <a:lnTo>
                    <a:pt x="267" y="590"/>
                  </a:lnTo>
                  <a:lnTo>
                    <a:pt x="260" y="566"/>
                  </a:lnTo>
                  <a:lnTo>
                    <a:pt x="257" y="540"/>
                  </a:lnTo>
                  <a:lnTo>
                    <a:pt x="260" y="514"/>
                  </a:lnTo>
                  <a:lnTo>
                    <a:pt x="267" y="491"/>
                  </a:lnTo>
                  <a:lnTo>
                    <a:pt x="279" y="469"/>
                  </a:lnTo>
                  <a:lnTo>
                    <a:pt x="295" y="450"/>
                  </a:lnTo>
                  <a:lnTo>
                    <a:pt x="314" y="436"/>
                  </a:lnTo>
                  <a:lnTo>
                    <a:pt x="335" y="424"/>
                  </a:lnTo>
                  <a:lnTo>
                    <a:pt x="359" y="417"/>
                  </a:lnTo>
                  <a:lnTo>
                    <a:pt x="384" y="414"/>
                  </a:lnTo>
                  <a:close/>
                  <a:moveTo>
                    <a:pt x="218" y="0"/>
                  </a:moveTo>
                  <a:lnTo>
                    <a:pt x="1495" y="0"/>
                  </a:lnTo>
                  <a:lnTo>
                    <a:pt x="1530" y="3"/>
                  </a:lnTo>
                  <a:lnTo>
                    <a:pt x="1564" y="12"/>
                  </a:lnTo>
                  <a:lnTo>
                    <a:pt x="1595" y="24"/>
                  </a:lnTo>
                  <a:lnTo>
                    <a:pt x="1624" y="42"/>
                  </a:lnTo>
                  <a:lnTo>
                    <a:pt x="1650" y="64"/>
                  </a:lnTo>
                  <a:lnTo>
                    <a:pt x="1671" y="89"/>
                  </a:lnTo>
                  <a:lnTo>
                    <a:pt x="1689" y="118"/>
                  </a:lnTo>
                  <a:lnTo>
                    <a:pt x="1702" y="149"/>
                  </a:lnTo>
                  <a:lnTo>
                    <a:pt x="1711" y="182"/>
                  </a:lnTo>
                  <a:lnTo>
                    <a:pt x="1714" y="218"/>
                  </a:lnTo>
                  <a:lnTo>
                    <a:pt x="1714" y="2181"/>
                  </a:lnTo>
                  <a:lnTo>
                    <a:pt x="1711" y="2217"/>
                  </a:lnTo>
                  <a:lnTo>
                    <a:pt x="1702" y="2251"/>
                  </a:lnTo>
                  <a:lnTo>
                    <a:pt x="1689" y="2282"/>
                  </a:lnTo>
                  <a:lnTo>
                    <a:pt x="1671" y="2310"/>
                  </a:lnTo>
                  <a:lnTo>
                    <a:pt x="1650" y="2335"/>
                  </a:lnTo>
                  <a:lnTo>
                    <a:pt x="1624" y="2357"/>
                  </a:lnTo>
                  <a:lnTo>
                    <a:pt x="1595" y="2375"/>
                  </a:lnTo>
                  <a:lnTo>
                    <a:pt x="1564" y="2389"/>
                  </a:lnTo>
                  <a:lnTo>
                    <a:pt x="1530" y="2396"/>
                  </a:lnTo>
                  <a:lnTo>
                    <a:pt x="1495" y="2399"/>
                  </a:lnTo>
                  <a:lnTo>
                    <a:pt x="1293" y="2399"/>
                  </a:lnTo>
                  <a:lnTo>
                    <a:pt x="1277" y="2402"/>
                  </a:lnTo>
                  <a:lnTo>
                    <a:pt x="1263" y="2410"/>
                  </a:lnTo>
                  <a:lnTo>
                    <a:pt x="1252" y="2420"/>
                  </a:lnTo>
                  <a:lnTo>
                    <a:pt x="1245" y="2435"/>
                  </a:lnTo>
                  <a:lnTo>
                    <a:pt x="1242" y="2451"/>
                  </a:lnTo>
                  <a:lnTo>
                    <a:pt x="1245" y="2467"/>
                  </a:lnTo>
                  <a:lnTo>
                    <a:pt x="1252" y="2481"/>
                  </a:lnTo>
                  <a:lnTo>
                    <a:pt x="1263" y="2493"/>
                  </a:lnTo>
                  <a:lnTo>
                    <a:pt x="1277" y="2500"/>
                  </a:lnTo>
                  <a:lnTo>
                    <a:pt x="1293" y="2502"/>
                  </a:lnTo>
                  <a:lnTo>
                    <a:pt x="1490" y="2503"/>
                  </a:lnTo>
                  <a:lnTo>
                    <a:pt x="1526" y="2505"/>
                  </a:lnTo>
                  <a:lnTo>
                    <a:pt x="1561" y="2513"/>
                  </a:lnTo>
                  <a:lnTo>
                    <a:pt x="1593" y="2527"/>
                  </a:lnTo>
                  <a:lnTo>
                    <a:pt x="1621" y="2546"/>
                  </a:lnTo>
                  <a:lnTo>
                    <a:pt x="1648" y="2568"/>
                  </a:lnTo>
                  <a:lnTo>
                    <a:pt x="1670" y="2594"/>
                  </a:lnTo>
                  <a:lnTo>
                    <a:pt x="1689" y="2623"/>
                  </a:lnTo>
                  <a:lnTo>
                    <a:pt x="1702" y="2655"/>
                  </a:lnTo>
                  <a:lnTo>
                    <a:pt x="1711" y="2689"/>
                  </a:lnTo>
                  <a:lnTo>
                    <a:pt x="1714" y="2725"/>
                  </a:lnTo>
                  <a:lnTo>
                    <a:pt x="1714" y="3233"/>
                  </a:lnTo>
                  <a:lnTo>
                    <a:pt x="1711" y="3270"/>
                  </a:lnTo>
                  <a:lnTo>
                    <a:pt x="1702" y="3303"/>
                  </a:lnTo>
                  <a:lnTo>
                    <a:pt x="1689" y="3336"/>
                  </a:lnTo>
                  <a:lnTo>
                    <a:pt x="1670" y="3365"/>
                  </a:lnTo>
                  <a:lnTo>
                    <a:pt x="1648" y="3391"/>
                  </a:lnTo>
                  <a:lnTo>
                    <a:pt x="1621" y="3413"/>
                  </a:lnTo>
                  <a:lnTo>
                    <a:pt x="1593" y="3431"/>
                  </a:lnTo>
                  <a:lnTo>
                    <a:pt x="1561" y="3444"/>
                  </a:lnTo>
                  <a:lnTo>
                    <a:pt x="1526" y="3453"/>
                  </a:lnTo>
                  <a:lnTo>
                    <a:pt x="1490" y="3456"/>
                  </a:lnTo>
                  <a:lnTo>
                    <a:pt x="222" y="3456"/>
                  </a:lnTo>
                  <a:lnTo>
                    <a:pt x="187" y="3453"/>
                  </a:lnTo>
                  <a:lnTo>
                    <a:pt x="152" y="3444"/>
                  </a:lnTo>
                  <a:lnTo>
                    <a:pt x="121" y="3431"/>
                  </a:lnTo>
                  <a:lnTo>
                    <a:pt x="91" y="3413"/>
                  </a:lnTo>
                  <a:lnTo>
                    <a:pt x="65" y="3391"/>
                  </a:lnTo>
                  <a:lnTo>
                    <a:pt x="43" y="3365"/>
                  </a:lnTo>
                  <a:lnTo>
                    <a:pt x="24" y="3336"/>
                  </a:lnTo>
                  <a:lnTo>
                    <a:pt x="10" y="3303"/>
                  </a:lnTo>
                  <a:lnTo>
                    <a:pt x="2" y="3270"/>
                  </a:lnTo>
                  <a:lnTo>
                    <a:pt x="0" y="3233"/>
                  </a:lnTo>
                  <a:lnTo>
                    <a:pt x="0" y="2725"/>
                  </a:lnTo>
                  <a:lnTo>
                    <a:pt x="2" y="2689"/>
                  </a:lnTo>
                  <a:lnTo>
                    <a:pt x="10" y="2655"/>
                  </a:lnTo>
                  <a:lnTo>
                    <a:pt x="24" y="2623"/>
                  </a:lnTo>
                  <a:lnTo>
                    <a:pt x="43" y="2594"/>
                  </a:lnTo>
                  <a:lnTo>
                    <a:pt x="65" y="2568"/>
                  </a:lnTo>
                  <a:lnTo>
                    <a:pt x="91" y="2546"/>
                  </a:lnTo>
                  <a:lnTo>
                    <a:pt x="121" y="2527"/>
                  </a:lnTo>
                  <a:lnTo>
                    <a:pt x="152" y="2513"/>
                  </a:lnTo>
                  <a:lnTo>
                    <a:pt x="187" y="2505"/>
                  </a:lnTo>
                  <a:lnTo>
                    <a:pt x="222" y="2503"/>
                  </a:lnTo>
                  <a:lnTo>
                    <a:pt x="457" y="2503"/>
                  </a:lnTo>
                  <a:lnTo>
                    <a:pt x="472" y="2505"/>
                  </a:lnTo>
                  <a:lnTo>
                    <a:pt x="485" y="2511"/>
                  </a:lnTo>
                  <a:lnTo>
                    <a:pt x="495" y="2522"/>
                  </a:lnTo>
                  <a:lnTo>
                    <a:pt x="501" y="2534"/>
                  </a:lnTo>
                  <a:lnTo>
                    <a:pt x="503" y="2549"/>
                  </a:lnTo>
                  <a:lnTo>
                    <a:pt x="501" y="2564"/>
                  </a:lnTo>
                  <a:lnTo>
                    <a:pt x="495" y="2577"/>
                  </a:lnTo>
                  <a:lnTo>
                    <a:pt x="485" y="2587"/>
                  </a:lnTo>
                  <a:lnTo>
                    <a:pt x="472" y="2594"/>
                  </a:lnTo>
                  <a:lnTo>
                    <a:pt x="457" y="2596"/>
                  </a:lnTo>
                  <a:lnTo>
                    <a:pt x="222" y="2596"/>
                  </a:lnTo>
                  <a:lnTo>
                    <a:pt x="196" y="2598"/>
                  </a:lnTo>
                  <a:lnTo>
                    <a:pt x="172" y="2607"/>
                  </a:lnTo>
                  <a:lnTo>
                    <a:pt x="150" y="2618"/>
                  </a:lnTo>
                  <a:lnTo>
                    <a:pt x="131" y="2634"/>
                  </a:lnTo>
                  <a:lnTo>
                    <a:pt x="115" y="2653"/>
                  </a:lnTo>
                  <a:lnTo>
                    <a:pt x="104" y="2675"/>
                  </a:lnTo>
                  <a:lnTo>
                    <a:pt x="95" y="2699"/>
                  </a:lnTo>
                  <a:lnTo>
                    <a:pt x="93" y="2725"/>
                  </a:lnTo>
                  <a:lnTo>
                    <a:pt x="93" y="3233"/>
                  </a:lnTo>
                  <a:lnTo>
                    <a:pt x="95" y="3259"/>
                  </a:lnTo>
                  <a:lnTo>
                    <a:pt x="104" y="3283"/>
                  </a:lnTo>
                  <a:lnTo>
                    <a:pt x="115" y="3305"/>
                  </a:lnTo>
                  <a:lnTo>
                    <a:pt x="131" y="3325"/>
                  </a:lnTo>
                  <a:lnTo>
                    <a:pt x="150" y="3341"/>
                  </a:lnTo>
                  <a:lnTo>
                    <a:pt x="172" y="3352"/>
                  </a:lnTo>
                  <a:lnTo>
                    <a:pt x="196" y="3360"/>
                  </a:lnTo>
                  <a:lnTo>
                    <a:pt x="222" y="3363"/>
                  </a:lnTo>
                  <a:lnTo>
                    <a:pt x="1490" y="3363"/>
                  </a:lnTo>
                  <a:lnTo>
                    <a:pt x="1517" y="3360"/>
                  </a:lnTo>
                  <a:lnTo>
                    <a:pt x="1541" y="3352"/>
                  </a:lnTo>
                  <a:lnTo>
                    <a:pt x="1563" y="3341"/>
                  </a:lnTo>
                  <a:lnTo>
                    <a:pt x="1582" y="3325"/>
                  </a:lnTo>
                  <a:lnTo>
                    <a:pt x="1597" y="3305"/>
                  </a:lnTo>
                  <a:lnTo>
                    <a:pt x="1610" y="3283"/>
                  </a:lnTo>
                  <a:lnTo>
                    <a:pt x="1617" y="3259"/>
                  </a:lnTo>
                  <a:lnTo>
                    <a:pt x="1619" y="3233"/>
                  </a:lnTo>
                  <a:lnTo>
                    <a:pt x="1619" y="2725"/>
                  </a:lnTo>
                  <a:lnTo>
                    <a:pt x="1617" y="2699"/>
                  </a:lnTo>
                  <a:lnTo>
                    <a:pt x="1610" y="2675"/>
                  </a:lnTo>
                  <a:lnTo>
                    <a:pt x="1597" y="2653"/>
                  </a:lnTo>
                  <a:lnTo>
                    <a:pt x="1582" y="2634"/>
                  </a:lnTo>
                  <a:lnTo>
                    <a:pt x="1563" y="2618"/>
                  </a:lnTo>
                  <a:lnTo>
                    <a:pt x="1541" y="2607"/>
                  </a:lnTo>
                  <a:lnTo>
                    <a:pt x="1517" y="2598"/>
                  </a:lnTo>
                  <a:lnTo>
                    <a:pt x="1490" y="2596"/>
                  </a:lnTo>
                  <a:lnTo>
                    <a:pt x="1293" y="2596"/>
                  </a:lnTo>
                  <a:lnTo>
                    <a:pt x="1264" y="2593"/>
                  </a:lnTo>
                  <a:lnTo>
                    <a:pt x="1237" y="2585"/>
                  </a:lnTo>
                  <a:lnTo>
                    <a:pt x="1212" y="2571"/>
                  </a:lnTo>
                  <a:lnTo>
                    <a:pt x="1190" y="2553"/>
                  </a:lnTo>
                  <a:lnTo>
                    <a:pt x="1173" y="2532"/>
                  </a:lnTo>
                  <a:lnTo>
                    <a:pt x="1160" y="2507"/>
                  </a:lnTo>
                  <a:lnTo>
                    <a:pt x="1152" y="2480"/>
                  </a:lnTo>
                  <a:lnTo>
                    <a:pt x="1148" y="2451"/>
                  </a:lnTo>
                  <a:lnTo>
                    <a:pt x="1152" y="2421"/>
                  </a:lnTo>
                  <a:lnTo>
                    <a:pt x="1160" y="2394"/>
                  </a:lnTo>
                  <a:lnTo>
                    <a:pt x="1173" y="2370"/>
                  </a:lnTo>
                  <a:lnTo>
                    <a:pt x="1190" y="2348"/>
                  </a:lnTo>
                  <a:lnTo>
                    <a:pt x="1212" y="2330"/>
                  </a:lnTo>
                  <a:lnTo>
                    <a:pt x="1237" y="2318"/>
                  </a:lnTo>
                  <a:lnTo>
                    <a:pt x="1264" y="2309"/>
                  </a:lnTo>
                  <a:lnTo>
                    <a:pt x="1293" y="2306"/>
                  </a:lnTo>
                  <a:lnTo>
                    <a:pt x="1496" y="2306"/>
                  </a:lnTo>
                  <a:lnTo>
                    <a:pt x="1520" y="2304"/>
                  </a:lnTo>
                  <a:lnTo>
                    <a:pt x="1544" y="2297"/>
                  </a:lnTo>
                  <a:lnTo>
                    <a:pt x="1565" y="2285"/>
                  </a:lnTo>
                  <a:lnTo>
                    <a:pt x="1584" y="2269"/>
                  </a:lnTo>
                  <a:lnTo>
                    <a:pt x="1598" y="2251"/>
                  </a:lnTo>
                  <a:lnTo>
                    <a:pt x="1610" y="2230"/>
                  </a:lnTo>
                  <a:lnTo>
                    <a:pt x="1617" y="2207"/>
                  </a:lnTo>
                  <a:lnTo>
                    <a:pt x="1619" y="2181"/>
                  </a:lnTo>
                  <a:lnTo>
                    <a:pt x="1619" y="218"/>
                  </a:lnTo>
                  <a:lnTo>
                    <a:pt x="1617" y="193"/>
                  </a:lnTo>
                  <a:lnTo>
                    <a:pt x="1610" y="170"/>
                  </a:lnTo>
                  <a:lnTo>
                    <a:pt x="1598" y="149"/>
                  </a:lnTo>
                  <a:lnTo>
                    <a:pt x="1583" y="130"/>
                  </a:lnTo>
                  <a:lnTo>
                    <a:pt x="1565" y="115"/>
                  </a:lnTo>
                  <a:lnTo>
                    <a:pt x="1544" y="104"/>
                  </a:lnTo>
                  <a:lnTo>
                    <a:pt x="1520" y="96"/>
                  </a:lnTo>
                  <a:lnTo>
                    <a:pt x="1495" y="93"/>
                  </a:lnTo>
                  <a:lnTo>
                    <a:pt x="218" y="93"/>
                  </a:lnTo>
                  <a:lnTo>
                    <a:pt x="193" y="96"/>
                  </a:lnTo>
                  <a:lnTo>
                    <a:pt x="169" y="104"/>
                  </a:lnTo>
                  <a:lnTo>
                    <a:pt x="148" y="115"/>
                  </a:lnTo>
                  <a:lnTo>
                    <a:pt x="130" y="130"/>
                  </a:lnTo>
                  <a:lnTo>
                    <a:pt x="114" y="149"/>
                  </a:lnTo>
                  <a:lnTo>
                    <a:pt x="103" y="170"/>
                  </a:lnTo>
                  <a:lnTo>
                    <a:pt x="95" y="193"/>
                  </a:lnTo>
                  <a:lnTo>
                    <a:pt x="93" y="218"/>
                  </a:lnTo>
                  <a:lnTo>
                    <a:pt x="93" y="2181"/>
                  </a:lnTo>
                  <a:lnTo>
                    <a:pt x="95" y="2207"/>
                  </a:lnTo>
                  <a:lnTo>
                    <a:pt x="103" y="2230"/>
                  </a:lnTo>
                  <a:lnTo>
                    <a:pt x="114" y="2251"/>
                  </a:lnTo>
                  <a:lnTo>
                    <a:pt x="130" y="2269"/>
                  </a:lnTo>
                  <a:lnTo>
                    <a:pt x="148" y="2285"/>
                  </a:lnTo>
                  <a:lnTo>
                    <a:pt x="169" y="2297"/>
                  </a:lnTo>
                  <a:lnTo>
                    <a:pt x="193" y="2304"/>
                  </a:lnTo>
                  <a:lnTo>
                    <a:pt x="218" y="2306"/>
                  </a:lnTo>
                  <a:lnTo>
                    <a:pt x="454" y="2306"/>
                  </a:lnTo>
                  <a:lnTo>
                    <a:pt x="470" y="2308"/>
                  </a:lnTo>
                  <a:lnTo>
                    <a:pt x="482" y="2316"/>
                  </a:lnTo>
                  <a:lnTo>
                    <a:pt x="492" y="2325"/>
                  </a:lnTo>
                  <a:lnTo>
                    <a:pt x="499" y="2338"/>
                  </a:lnTo>
                  <a:lnTo>
                    <a:pt x="501" y="2353"/>
                  </a:lnTo>
                  <a:lnTo>
                    <a:pt x="499" y="2368"/>
                  </a:lnTo>
                  <a:lnTo>
                    <a:pt x="492" y="2380"/>
                  </a:lnTo>
                  <a:lnTo>
                    <a:pt x="482" y="2391"/>
                  </a:lnTo>
                  <a:lnTo>
                    <a:pt x="470" y="2397"/>
                  </a:lnTo>
                  <a:lnTo>
                    <a:pt x="454" y="2399"/>
                  </a:lnTo>
                  <a:lnTo>
                    <a:pt x="218" y="2399"/>
                  </a:lnTo>
                  <a:lnTo>
                    <a:pt x="182" y="2396"/>
                  </a:lnTo>
                  <a:lnTo>
                    <a:pt x="149" y="2389"/>
                  </a:lnTo>
                  <a:lnTo>
                    <a:pt x="117" y="2375"/>
                  </a:lnTo>
                  <a:lnTo>
                    <a:pt x="89" y="2357"/>
                  </a:lnTo>
                  <a:lnTo>
                    <a:pt x="64" y="2335"/>
                  </a:lnTo>
                  <a:lnTo>
                    <a:pt x="42" y="2310"/>
                  </a:lnTo>
                  <a:lnTo>
                    <a:pt x="24" y="2282"/>
                  </a:lnTo>
                  <a:lnTo>
                    <a:pt x="10" y="2251"/>
                  </a:lnTo>
                  <a:lnTo>
                    <a:pt x="2" y="2217"/>
                  </a:lnTo>
                  <a:lnTo>
                    <a:pt x="0" y="2181"/>
                  </a:lnTo>
                  <a:lnTo>
                    <a:pt x="0" y="218"/>
                  </a:lnTo>
                  <a:lnTo>
                    <a:pt x="2" y="182"/>
                  </a:lnTo>
                  <a:lnTo>
                    <a:pt x="10" y="149"/>
                  </a:lnTo>
                  <a:lnTo>
                    <a:pt x="24" y="118"/>
                  </a:lnTo>
                  <a:lnTo>
                    <a:pt x="42" y="89"/>
                  </a:lnTo>
                  <a:lnTo>
                    <a:pt x="64" y="64"/>
                  </a:lnTo>
                  <a:lnTo>
                    <a:pt x="89" y="42"/>
                  </a:lnTo>
                  <a:lnTo>
                    <a:pt x="117" y="24"/>
                  </a:lnTo>
                  <a:lnTo>
                    <a:pt x="149" y="12"/>
                  </a:lnTo>
                  <a:lnTo>
                    <a:pt x="182" y="3"/>
                  </a:lnTo>
                  <a:lnTo>
                    <a:pt x="218" y="0"/>
                  </a:lnTo>
                  <a:close/>
                </a:path>
              </a:pathLst>
            </a:custGeom>
            <a:solidFill>
              <a:schemeClr val="accent6"/>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Calibri Light"/>
                <a:ea typeface="+mn-ea"/>
                <a:cs typeface="+mn-cs"/>
              </a:endParaRPr>
            </a:p>
          </p:txBody>
        </p:sp>
        <p:sp>
          <p:nvSpPr>
            <p:cNvPr id="156" name="Freeform 6">
              <a:extLst>
                <a:ext uri="{FF2B5EF4-FFF2-40B4-BE49-F238E27FC236}">
                  <a16:creationId xmlns:a16="http://schemas.microsoft.com/office/drawing/2014/main" id="{95035514-B32E-4613-B4E0-948EA6914AA0}"/>
                </a:ext>
              </a:extLst>
            </p:cNvPr>
            <p:cNvSpPr>
              <a:spLocks noChangeAspect="1" noEditPoints="1"/>
            </p:cNvSpPr>
            <p:nvPr/>
          </p:nvSpPr>
          <p:spPr bwMode="auto">
            <a:xfrm>
              <a:off x="3680226" y="3448012"/>
              <a:ext cx="86967" cy="175560"/>
            </a:xfrm>
            <a:custGeom>
              <a:avLst/>
              <a:gdLst>
                <a:gd name="T0" fmla="*/ 891 w 1714"/>
                <a:gd name="T1" fmla="*/ 3023 h 3456"/>
                <a:gd name="T2" fmla="*/ 894 w 1714"/>
                <a:gd name="T3" fmla="*/ 2711 h 3456"/>
                <a:gd name="T4" fmla="*/ 1018 w 1714"/>
                <a:gd name="T5" fmla="*/ 2849 h 3456"/>
                <a:gd name="T6" fmla="*/ 1018 w 1714"/>
                <a:gd name="T7" fmla="*/ 3065 h 3456"/>
                <a:gd name="T8" fmla="*/ 894 w 1714"/>
                <a:gd name="T9" fmla="*/ 3203 h 3456"/>
                <a:gd name="T10" fmla="*/ 702 w 1714"/>
                <a:gd name="T11" fmla="*/ 3161 h 3456"/>
                <a:gd name="T12" fmla="*/ 601 w 1714"/>
                <a:gd name="T13" fmla="*/ 2922 h 3456"/>
                <a:gd name="T14" fmla="*/ 704 w 1714"/>
                <a:gd name="T15" fmla="*/ 2753 h 3456"/>
                <a:gd name="T16" fmla="*/ 344 w 1714"/>
                <a:gd name="T17" fmla="*/ 1992 h 3456"/>
                <a:gd name="T18" fmla="*/ 381 w 1714"/>
                <a:gd name="T19" fmla="*/ 1862 h 3456"/>
                <a:gd name="T20" fmla="*/ 1374 w 1714"/>
                <a:gd name="T21" fmla="*/ 2112 h 3456"/>
                <a:gd name="T22" fmla="*/ 288 w 1714"/>
                <a:gd name="T23" fmla="*/ 1900 h 3456"/>
                <a:gd name="T24" fmla="*/ 1338 w 1714"/>
                <a:gd name="T25" fmla="*/ 1689 h 3456"/>
                <a:gd name="T26" fmla="*/ 1432 w 1714"/>
                <a:gd name="T27" fmla="*/ 1582 h 3456"/>
                <a:gd name="T28" fmla="*/ 307 w 1714"/>
                <a:gd name="T29" fmla="*/ 1764 h 3456"/>
                <a:gd name="T30" fmla="*/ 366 w 1714"/>
                <a:gd name="T31" fmla="*/ 1284 h 3456"/>
                <a:gd name="T32" fmla="*/ 1338 w 1714"/>
                <a:gd name="T33" fmla="*/ 1284 h 3456"/>
                <a:gd name="T34" fmla="*/ 1432 w 1714"/>
                <a:gd name="T35" fmla="*/ 1391 h 3456"/>
                <a:gd name="T36" fmla="*/ 253 w 1714"/>
                <a:gd name="T37" fmla="*/ 1292 h 3456"/>
                <a:gd name="T38" fmla="*/ 1328 w 1714"/>
                <a:gd name="T39" fmla="*/ 855 h 3456"/>
                <a:gd name="T40" fmla="*/ 991 w 1714"/>
                <a:gd name="T41" fmla="*/ 837 h 3456"/>
                <a:gd name="T42" fmla="*/ 672 w 1714"/>
                <a:gd name="T43" fmla="*/ 812 h 3456"/>
                <a:gd name="T44" fmla="*/ 371 w 1714"/>
                <a:gd name="T45" fmla="*/ 794 h 3456"/>
                <a:gd name="T46" fmla="*/ 384 w 1714"/>
                <a:gd name="T47" fmla="*/ 792 h 3456"/>
                <a:gd name="T48" fmla="*/ 1390 w 1714"/>
                <a:gd name="T49" fmla="*/ 940 h 3456"/>
                <a:gd name="T50" fmla="*/ 1270 w 1714"/>
                <a:gd name="T51" fmla="*/ 719 h 3456"/>
                <a:gd name="T52" fmla="*/ 1126 w 1714"/>
                <a:gd name="T53" fmla="*/ 895 h 3456"/>
                <a:gd name="T54" fmla="*/ 905 w 1714"/>
                <a:gd name="T55" fmla="*/ 775 h 3456"/>
                <a:gd name="T56" fmla="*/ 830 w 1714"/>
                <a:gd name="T57" fmla="*/ 824 h 3456"/>
                <a:gd name="T58" fmla="*/ 579 w 1714"/>
                <a:gd name="T59" fmla="*/ 850 h 3456"/>
                <a:gd name="T60" fmla="*/ 489 w 1714"/>
                <a:gd name="T61" fmla="*/ 754 h 3456"/>
                <a:gd name="T62" fmla="*/ 295 w 1714"/>
                <a:gd name="T63" fmla="*/ 914 h 3456"/>
                <a:gd name="T64" fmla="*/ 1317 w 1714"/>
                <a:gd name="T65" fmla="*/ 516 h 3456"/>
                <a:gd name="T66" fmla="*/ 1022 w 1714"/>
                <a:gd name="T67" fmla="*/ 507 h 3456"/>
                <a:gd name="T68" fmla="*/ 1035 w 1714"/>
                <a:gd name="T69" fmla="*/ 510 h 3456"/>
                <a:gd name="T70" fmla="*/ 733 w 1714"/>
                <a:gd name="T71" fmla="*/ 527 h 3456"/>
                <a:gd name="T72" fmla="*/ 414 w 1714"/>
                <a:gd name="T73" fmla="*/ 553 h 3456"/>
                <a:gd name="T74" fmla="*/ 1465 w 1714"/>
                <a:gd name="T75" fmla="*/ 566 h 3456"/>
                <a:gd name="T76" fmla="*/ 1214 w 1714"/>
                <a:gd name="T77" fmla="*/ 540 h 3456"/>
                <a:gd name="T78" fmla="*/ 1139 w 1714"/>
                <a:gd name="T79" fmla="*/ 491 h 3456"/>
                <a:gd name="T80" fmla="*/ 917 w 1714"/>
                <a:gd name="T81" fmla="*/ 611 h 3456"/>
                <a:gd name="T82" fmla="*/ 774 w 1714"/>
                <a:gd name="T83" fmla="*/ 436 h 3456"/>
                <a:gd name="T84" fmla="*/ 653 w 1714"/>
                <a:gd name="T85" fmla="*/ 657 h 3456"/>
                <a:gd name="T86" fmla="*/ 384 w 1714"/>
                <a:gd name="T87" fmla="*/ 414 h 3456"/>
                <a:gd name="T88" fmla="*/ 409 w 1714"/>
                <a:gd name="T89" fmla="*/ 664 h 3456"/>
                <a:gd name="T90" fmla="*/ 335 w 1714"/>
                <a:gd name="T91" fmla="*/ 424 h 3456"/>
                <a:gd name="T92" fmla="*/ 1714 w 1714"/>
                <a:gd name="T93" fmla="*/ 2181 h 3456"/>
                <a:gd name="T94" fmla="*/ 1245 w 1714"/>
                <a:gd name="T95" fmla="*/ 2435 h 3456"/>
                <a:gd name="T96" fmla="*/ 1702 w 1714"/>
                <a:gd name="T97" fmla="*/ 2655 h 3456"/>
                <a:gd name="T98" fmla="*/ 187 w 1714"/>
                <a:gd name="T99" fmla="*/ 3453 h 3456"/>
                <a:gd name="T100" fmla="*/ 65 w 1714"/>
                <a:gd name="T101" fmla="*/ 2568 h 3456"/>
                <a:gd name="T102" fmla="*/ 472 w 1714"/>
                <a:gd name="T103" fmla="*/ 2594 h 3456"/>
                <a:gd name="T104" fmla="*/ 131 w 1714"/>
                <a:gd name="T105" fmla="*/ 3325 h 3456"/>
                <a:gd name="T106" fmla="*/ 1617 w 1714"/>
                <a:gd name="T107" fmla="*/ 2699 h 3456"/>
                <a:gd name="T108" fmla="*/ 1152 w 1714"/>
                <a:gd name="T109" fmla="*/ 2480 h 3456"/>
                <a:gd name="T110" fmla="*/ 1598 w 1714"/>
                <a:gd name="T111" fmla="*/ 2251 h 3456"/>
                <a:gd name="T112" fmla="*/ 169 w 1714"/>
                <a:gd name="T113" fmla="*/ 104 h 3456"/>
                <a:gd name="T114" fmla="*/ 218 w 1714"/>
                <a:gd name="T115" fmla="*/ 2306 h 3456"/>
                <a:gd name="T116" fmla="*/ 117 w 1714"/>
                <a:gd name="T117" fmla="*/ 2375 h 3456"/>
                <a:gd name="T118" fmla="*/ 117 w 1714"/>
                <a:gd name="T119" fmla="*/ 24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4" h="3456">
                  <a:moveTo>
                    <a:pt x="853" y="2881"/>
                  </a:moveTo>
                  <a:lnTo>
                    <a:pt x="833" y="2883"/>
                  </a:lnTo>
                  <a:lnTo>
                    <a:pt x="814" y="2892"/>
                  </a:lnTo>
                  <a:lnTo>
                    <a:pt x="798" y="2903"/>
                  </a:lnTo>
                  <a:lnTo>
                    <a:pt x="787" y="2919"/>
                  </a:lnTo>
                  <a:lnTo>
                    <a:pt x="779" y="2937"/>
                  </a:lnTo>
                  <a:lnTo>
                    <a:pt x="776" y="2957"/>
                  </a:lnTo>
                  <a:lnTo>
                    <a:pt x="779" y="2977"/>
                  </a:lnTo>
                  <a:lnTo>
                    <a:pt x="787" y="2995"/>
                  </a:lnTo>
                  <a:lnTo>
                    <a:pt x="798" y="3011"/>
                  </a:lnTo>
                  <a:lnTo>
                    <a:pt x="814" y="3023"/>
                  </a:lnTo>
                  <a:lnTo>
                    <a:pt x="833" y="3031"/>
                  </a:lnTo>
                  <a:lnTo>
                    <a:pt x="853" y="3034"/>
                  </a:lnTo>
                  <a:lnTo>
                    <a:pt x="873" y="3031"/>
                  </a:lnTo>
                  <a:lnTo>
                    <a:pt x="891" y="3023"/>
                  </a:lnTo>
                  <a:lnTo>
                    <a:pt x="906" y="3011"/>
                  </a:lnTo>
                  <a:lnTo>
                    <a:pt x="919" y="2995"/>
                  </a:lnTo>
                  <a:lnTo>
                    <a:pt x="926" y="2977"/>
                  </a:lnTo>
                  <a:lnTo>
                    <a:pt x="929" y="2957"/>
                  </a:lnTo>
                  <a:lnTo>
                    <a:pt x="926" y="2937"/>
                  </a:lnTo>
                  <a:lnTo>
                    <a:pt x="919" y="2919"/>
                  </a:lnTo>
                  <a:lnTo>
                    <a:pt x="906" y="2903"/>
                  </a:lnTo>
                  <a:lnTo>
                    <a:pt x="891" y="2892"/>
                  </a:lnTo>
                  <a:lnTo>
                    <a:pt x="873" y="2883"/>
                  </a:lnTo>
                  <a:lnTo>
                    <a:pt x="853" y="2881"/>
                  </a:lnTo>
                  <a:close/>
                  <a:moveTo>
                    <a:pt x="817" y="2706"/>
                  </a:moveTo>
                  <a:lnTo>
                    <a:pt x="887" y="2706"/>
                  </a:lnTo>
                  <a:lnTo>
                    <a:pt x="890" y="2707"/>
                  </a:lnTo>
                  <a:lnTo>
                    <a:pt x="893" y="2709"/>
                  </a:lnTo>
                  <a:lnTo>
                    <a:pt x="894" y="2711"/>
                  </a:lnTo>
                  <a:lnTo>
                    <a:pt x="894" y="2763"/>
                  </a:lnTo>
                  <a:lnTo>
                    <a:pt x="917" y="2770"/>
                  </a:lnTo>
                  <a:lnTo>
                    <a:pt x="940" y="2778"/>
                  </a:lnTo>
                  <a:lnTo>
                    <a:pt x="962" y="2791"/>
                  </a:lnTo>
                  <a:lnTo>
                    <a:pt x="997" y="2754"/>
                  </a:lnTo>
                  <a:lnTo>
                    <a:pt x="999" y="2753"/>
                  </a:lnTo>
                  <a:lnTo>
                    <a:pt x="1002" y="2753"/>
                  </a:lnTo>
                  <a:lnTo>
                    <a:pt x="1004" y="2753"/>
                  </a:lnTo>
                  <a:lnTo>
                    <a:pt x="1006" y="2754"/>
                  </a:lnTo>
                  <a:lnTo>
                    <a:pt x="1055" y="2805"/>
                  </a:lnTo>
                  <a:lnTo>
                    <a:pt x="1056" y="2807"/>
                  </a:lnTo>
                  <a:lnTo>
                    <a:pt x="1057" y="2809"/>
                  </a:lnTo>
                  <a:lnTo>
                    <a:pt x="1056" y="2811"/>
                  </a:lnTo>
                  <a:lnTo>
                    <a:pt x="1055" y="2812"/>
                  </a:lnTo>
                  <a:lnTo>
                    <a:pt x="1018" y="2849"/>
                  </a:lnTo>
                  <a:lnTo>
                    <a:pt x="1031" y="2870"/>
                  </a:lnTo>
                  <a:lnTo>
                    <a:pt x="1040" y="2893"/>
                  </a:lnTo>
                  <a:lnTo>
                    <a:pt x="1047" y="2917"/>
                  </a:lnTo>
                  <a:lnTo>
                    <a:pt x="1098" y="2917"/>
                  </a:lnTo>
                  <a:lnTo>
                    <a:pt x="1101" y="2918"/>
                  </a:lnTo>
                  <a:lnTo>
                    <a:pt x="1103" y="2920"/>
                  </a:lnTo>
                  <a:lnTo>
                    <a:pt x="1104" y="2922"/>
                  </a:lnTo>
                  <a:lnTo>
                    <a:pt x="1104" y="2992"/>
                  </a:lnTo>
                  <a:lnTo>
                    <a:pt x="1103" y="2995"/>
                  </a:lnTo>
                  <a:lnTo>
                    <a:pt x="1101" y="2997"/>
                  </a:lnTo>
                  <a:lnTo>
                    <a:pt x="1098" y="2997"/>
                  </a:lnTo>
                  <a:lnTo>
                    <a:pt x="1047" y="2997"/>
                  </a:lnTo>
                  <a:lnTo>
                    <a:pt x="1040" y="3021"/>
                  </a:lnTo>
                  <a:lnTo>
                    <a:pt x="1031" y="3044"/>
                  </a:lnTo>
                  <a:lnTo>
                    <a:pt x="1018" y="3065"/>
                  </a:lnTo>
                  <a:lnTo>
                    <a:pt x="1055" y="3102"/>
                  </a:lnTo>
                  <a:lnTo>
                    <a:pt x="1056" y="3104"/>
                  </a:lnTo>
                  <a:lnTo>
                    <a:pt x="1057" y="3106"/>
                  </a:lnTo>
                  <a:lnTo>
                    <a:pt x="1056" y="3108"/>
                  </a:lnTo>
                  <a:lnTo>
                    <a:pt x="1055" y="3109"/>
                  </a:lnTo>
                  <a:lnTo>
                    <a:pt x="1006" y="3160"/>
                  </a:lnTo>
                  <a:lnTo>
                    <a:pt x="1004" y="3161"/>
                  </a:lnTo>
                  <a:lnTo>
                    <a:pt x="1002" y="3161"/>
                  </a:lnTo>
                  <a:lnTo>
                    <a:pt x="999" y="3161"/>
                  </a:lnTo>
                  <a:lnTo>
                    <a:pt x="997" y="3160"/>
                  </a:lnTo>
                  <a:lnTo>
                    <a:pt x="962" y="3123"/>
                  </a:lnTo>
                  <a:lnTo>
                    <a:pt x="940" y="3136"/>
                  </a:lnTo>
                  <a:lnTo>
                    <a:pt x="917" y="3145"/>
                  </a:lnTo>
                  <a:lnTo>
                    <a:pt x="894" y="3151"/>
                  </a:lnTo>
                  <a:lnTo>
                    <a:pt x="894" y="3203"/>
                  </a:lnTo>
                  <a:lnTo>
                    <a:pt x="893" y="3206"/>
                  </a:lnTo>
                  <a:lnTo>
                    <a:pt x="890" y="3208"/>
                  </a:lnTo>
                  <a:lnTo>
                    <a:pt x="887" y="3208"/>
                  </a:lnTo>
                  <a:lnTo>
                    <a:pt x="817" y="3208"/>
                  </a:lnTo>
                  <a:lnTo>
                    <a:pt x="815" y="3208"/>
                  </a:lnTo>
                  <a:lnTo>
                    <a:pt x="813" y="3206"/>
                  </a:lnTo>
                  <a:lnTo>
                    <a:pt x="812" y="3203"/>
                  </a:lnTo>
                  <a:lnTo>
                    <a:pt x="812" y="3151"/>
                  </a:lnTo>
                  <a:lnTo>
                    <a:pt x="788" y="3145"/>
                  </a:lnTo>
                  <a:lnTo>
                    <a:pt x="766" y="3136"/>
                  </a:lnTo>
                  <a:lnTo>
                    <a:pt x="744" y="3123"/>
                  </a:lnTo>
                  <a:lnTo>
                    <a:pt x="708" y="3160"/>
                  </a:lnTo>
                  <a:lnTo>
                    <a:pt x="706" y="3161"/>
                  </a:lnTo>
                  <a:lnTo>
                    <a:pt x="704" y="3161"/>
                  </a:lnTo>
                  <a:lnTo>
                    <a:pt x="702" y="3161"/>
                  </a:lnTo>
                  <a:lnTo>
                    <a:pt x="700" y="3160"/>
                  </a:lnTo>
                  <a:lnTo>
                    <a:pt x="650" y="3109"/>
                  </a:lnTo>
                  <a:lnTo>
                    <a:pt x="649" y="3108"/>
                  </a:lnTo>
                  <a:lnTo>
                    <a:pt x="648" y="3106"/>
                  </a:lnTo>
                  <a:lnTo>
                    <a:pt x="649" y="3104"/>
                  </a:lnTo>
                  <a:lnTo>
                    <a:pt x="650" y="3102"/>
                  </a:lnTo>
                  <a:lnTo>
                    <a:pt x="686" y="3065"/>
                  </a:lnTo>
                  <a:lnTo>
                    <a:pt x="674" y="3044"/>
                  </a:lnTo>
                  <a:lnTo>
                    <a:pt x="665" y="3021"/>
                  </a:lnTo>
                  <a:lnTo>
                    <a:pt x="659" y="2997"/>
                  </a:lnTo>
                  <a:lnTo>
                    <a:pt x="606" y="2997"/>
                  </a:lnTo>
                  <a:lnTo>
                    <a:pt x="604" y="2997"/>
                  </a:lnTo>
                  <a:lnTo>
                    <a:pt x="602" y="2995"/>
                  </a:lnTo>
                  <a:lnTo>
                    <a:pt x="601" y="2992"/>
                  </a:lnTo>
                  <a:lnTo>
                    <a:pt x="601" y="2922"/>
                  </a:lnTo>
                  <a:lnTo>
                    <a:pt x="602" y="2920"/>
                  </a:lnTo>
                  <a:lnTo>
                    <a:pt x="604" y="2918"/>
                  </a:lnTo>
                  <a:lnTo>
                    <a:pt x="606" y="2917"/>
                  </a:lnTo>
                  <a:lnTo>
                    <a:pt x="659" y="2917"/>
                  </a:lnTo>
                  <a:lnTo>
                    <a:pt x="665" y="2893"/>
                  </a:lnTo>
                  <a:lnTo>
                    <a:pt x="674" y="2870"/>
                  </a:lnTo>
                  <a:lnTo>
                    <a:pt x="686" y="2849"/>
                  </a:lnTo>
                  <a:lnTo>
                    <a:pt x="650" y="2812"/>
                  </a:lnTo>
                  <a:lnTo>
                    <a:pt x="649" y="2811"/>
                  </a:lnTo>
                  <a:lnTo>
                    <a:pt x="648" y="2809"/>
                  </a:lnTo>
                  <a:lnTo>
                    <a:pt x="649" y="2807"/>
                  </a:lnTo>
                  <a:lnTo>
                    <a:pt x="650" y="2805"/>
                  </a:lnTo>
                  <a:lnTo>
                    <a:pt x="700" y="2754"/>
                  </a:lnTo>
                  <a:lnTo>
                    <a:pt x="702" y="2753"/>
                  </a:lnTo>
                  <a:lnTo>
                    <a:pt x="704" y="2753"/>
                  </a:lnTo>
                  <a:lnTo>
                    <a:pt x="706" y="2753"/>
                  </a:lnTo>
                  <a:lnTo>
                    <a:pt x="708" y="2754"/>
                  </a:lnTo>
                  <a:lnTo>
                    <a:pt x="744" y="2791"/>
                  </a:lnTo>
                  <a:lnTo>
                    <a:pt x="766" y="2778"/>
                  </a:lnTo>
                  <a:lnTo>
                    <a:pt x="788" y="2770"/>
                  </a:lnTo>
                  <a:lnTo>
                    <a:pt x="812" y="2763"/>
                  </a:lnTo>
                  <a:lnTo>
                    <a:pt x="812" y="2711"/>
                  </a:lnTo>
                  <a:lnTo>
                    <a:pt x="813" y="2709"/>
                  </a:lnTo>
                  <a:lnTo>
                    <a:pt x="815" y="2707"/>
                  </a:lnTo>
                  <a:lnTo>
                    <a:pt x="817" y="2706"/>
                  </a:lnTo>
                  <a:close/>
                  <a:moveTo>
                    <a:pt x="381" y="1955"/>
                  </a:moveTo>
                  <a:lnTo>
                    <a:pt x="366" y="1958"/>
                  </a:lnTo>
                  <a:lnTo>
                    <a:pt x="354" y="1967"/>
                  </a:lnTo>
                  <a:lnTo>
                    <a:pt x="347" y="1978"/>
                  </a:lnTo>
                  <a:lnTo>
                    <a:pt x="344" y="1992"/>
                  </a:lnTo>
                  <a:lnTo>
                    <a:pt x="347" y="2007"/>
                  </a:lnTo>
                  <a:lnTo>
                    <a:pt x="354" y="2018"/>
                  </a:lnTo>
                  <a:lnTo>
                    <a:pt x="366" y="2026"/>
                  </a:lnTo>
                  <a:lnTo>
                    <a:pt x="381" y="2029"/>
                  </a:lnTo>
                  <a:lnTo>
                    <a:pt x="1324" y="2029"/>
                  </a:lnTo>
                  <a:lnTo>
                    <a:pt x="1338" y="2026"/>
                  </a:lnTo>
                  <a:lnTo>
                    <a:pt x="1350" y="2018"/>
                  </a:lnTo>
                  <a:lnTo>
                    <a:pt x="1357" y="2007"/>
                  </a:lnTo>
                  <a:lnTo>
                    <a:pt x="1360" y="1992"/>
                  </a:lnTo>
                  <a:lnTo>
                    <a:pt x="1357" y="1978"/>
                  </a:lnTo>
                  <a:lnTo>
                    <a:pt x="1350" y="1967"/>
                  </a:lnTo>
                  <a:lnTo>
                    <a:pt x="1338" y="1958"/>
                  </a:lnTo>
                  <a:lnTo>
                    <a:pt x="1324" y="1955"/>
                  </a:lnTo>
                  <a:lnTo>
                    <a:pt x="381" y="1955"/>
                  </a:lnTo>
                  <a:close/>
                  <a:moveTo>
                    <a:pt x="381" y="1862"/>
                  </a:moveTo>
                  <a:lnTo>
                    <a:pt x="1324" y="1862"/>
                  </a:lnTo>
                  <a:lnTo>
                    <a:pt x="1350" y="1865"/>
                  </a:lnTo>
                  <a:lnTo>
                    <a:pt x="1374" y="1873"/>
                  </a:lnTo>
                  <a:lnTo>
                    <a:pt x="1397" y="1884"/>
                  </a:lnTo>
                  <a:lnTo>
                    <a:pt x="1416" y="1900"/>
                  </a:lnTo>
                  <a:lnTo>
                    <a:pt x="1432" y="1920"/>
                  </a:lnTo>
                  <a:lnTo>
                    <a:pt x="1444" y="1942"/>
                  </a:lnTo>
                  <a:lnTo>
                    <a:pt x="1452" y="1966"/>
                  </a:lnTo>
                  <a:lnTo>
                    <a:pt x="1454" y="1992"/>
                  </a:lnTo>
                  <a:lnTo>
                    <a:pt x="1452" y="2018"/>
                  </a:lnTo>
                  <a:lnTo>
                    <a:pt x="1444" y="2043"/>
                  </a:lnTo>
                  <a:lnTo>
                    <a:pt x="1432" y="2065"/>
                  </a:lnTo>
                  <a:lnTo>
                    <a:pt x="1416" y="2084"/>
                  </a:lnTo>
                  <a:lnTo>
                    <a:pt x="1397" y="2100"/>
                  </a:lnTo>
                  <a:lnTo>
                    <a:pt x="1374" y="2112"/>
                  </a:lnTo>
                  <a:lnTo>
                    <a:pt x="1350" y="2120"/>
                  </a:lnTo>
                  <a:lnTo>
                    <a:pt x="1324" y="2123"/>
                  </a:lnTo>
                  <a:lnTo>
                    <a:pt x="381" y="2123"/>
                  </a:lnTo>
                  <a:lnTo>
                    <a:pt x="354" y="2120"/>
                  </a:lnTo>
                  <a:lnTo>
                    <a:pt x="330" y="2112"/>
                  </a:lnTo>
                  <a:lnTo>
                    <a:pt x="307" y="2100"/>
                  </a:lnTo>
                  <a:lnTo>
                    <a:pt x="288" y="2084"/>
                  </a:lnTo>
                  <a:lnTo>
                    <a:pt x="273" y="2065"/>
                  </a:lnTo>
                  <a:lnTo>
                    <a:pt x="260" y="2043"/>
                  </a:lnTo>
                  <a:lnTo>
                    <a:pt x="253" y="2018"/>
                  </a:lnTo>
                  <a:lnTo>
                    <a:pt x="251" y="1992"/>
                  </a:lnTo>
                  <a:lnTo>
                    <a:pt x="253" y="1966"/>
                  </a:lnTo>
                  <a:lnTo>
                    <a:pt x="260" y="1942"/>
                  </a:lnTo>
                  <a:lnTo>
                    <a:pt x="273" y="1920"/>
                  </a:lnTo>
                  <a:lnTo>
                    <a:pt x="288" y="1900"/>
                  </a:lnTo>
                  <a:lnTo>
                    <a:pt x="307" y="1884"/>
                  </a:lnTo>
                  <a:lnTo>
                    <a:pt x="330" y="1873"/>
                  </a:lnTo>
                  <a:lnTo>
                    <a:pt x="354" y="1865"/>
                  </a:lnTo>
                  <a:lnTo>
                    <a:pt x="381" y="1862"/>
                  </a:lnTo>
                  <a:close/>
                  <a:moveTo>
                    <a:pt x="381" y="1619"/>
                  </a:moveTo>
                  <a:lnTo>
                    <a:pt x="366" y="1621"/>
                  </a:lnTo>
                  <a:lnTo>
                    <a:pt x="354" y="1630"/>
                  </a:lnTo>
                  <a:lnTo>
                    <a:pt x="347" y="1641"/>
                  </a:lnTo>
                  <a:lnTo>
                    <a:pt x="344" y="1656"/>
                  </a:lnTo>
                  <a:lnTo>
                    <a:pt x="347" y="1669"/>
                  </a:lnTo>
                  <a:lnTo>
                    <a:pt x="354" y="1681"/>
                  </a:lnTo>
                  <a:lnTo>
                    <a:pt x="366" y="1689"/>
                  </a:lnTo>
                  <a:lnTo>
                    <a:pt x="381" y="1692"/>
                  </a:lnTo>
                  <a:lnTo>
                    <a:pt x="1324" y="1692"/>
                  </a:lnTo>
                  <a:lnTo>
                    <a:pt x="1338" y="1689"/>
                  </a:lnTo>
                  <a:lnTo>
                    <a:pt x="1350" y="1681"/>
                  </a:lnTo>
                  <a:lnTo>
                    <a:pt x="1357" y="1669"/>
                  </a:lnTo>
                  <a:lnTo>
                    <a:pt x="1360" y="1656"/>
                  </a:lnTo>
                  <a:lnTo>
                    <a:pt x="1357" y="1641"/>
                  </a:lnTo>
                  <a:lnTo>
                    <a:pt x="1350" y="1630"/>
                  </a:lnTo>
                  <a:lnTo>
                    <a:pt x="1338" y="1621"/>
                  </a:lnTo>
                  <a:lnTo>
                    <a:pt x="1324" y="1619"/>
                  </a:lnTo>
                  <a:lnTo>
                    <a:pt x="381" y="1619"/>
                  </a:lnTo>
                  <a:close/>
                  <a:moveTo>
                    <a:pt x="381" y="1525"/>
                  </a:moveTo>
                  <a:lnTo>
                    <a:pt x="1324" y="1525"/>
                  </a:lnTo>
                  <a:lnTo>
                    <a:pt x="1350" y="1528"/>
                  </a:lnTo>
                  <a:lnTo>
                    <a:pt x="1374" y="1535"/>
                  </a:lnTo>
                  <a:lnTo>
                    <a:pt x="1397" y="1548"/>
                  </a:lnTo>
                  <a:lnTo>
                    <a:pt x="1416" y="1564"/>
                  </a:lnTo>
                  <a:lnTo>
                    <a:pt x="1432" y="1582"/>
                  </a:lnTo>
                  <a:lnTo>
                    <a:pt x="1444" y="1604"/>
                  </a:lnTo>
                  <a:lnTo>
                    <a:pt x="1452" y="1630"/>
                  </a:lnTo>
                  <a:lnTo>
                    <a:pt x="1454" y="1656"/>
                  </a:lnTo>
                  <a:lnTo>
                    <a:pt x="1452" y="1682"/>
                  </a:lnTo>
                  <a:lnTo>
                    <a:pt x="1444" y="1706"/>
                  </a:lnTo>
                  <a:lnTo>
                    <a:pt x="1432" y="1727"/>
                  </a:lnTo>
                  <a:lnTo>
                    <a:pt x="1416" y="1747"/>
                  </a:lnTo>
                  <a:lnTo>
                    <a:pt x="1397" y="1764"/>
                  </a:lnTo>
                  <a:lnTo>
                    <a:pt x="1374" y="1775"/>
                  </a:lnTo>
                  <a:lnTo>
                    <a:pt x="1350" y="1782"/>
                  </a:lnTo>
                  <a:lnTo>
                    <a:pt x="1324" y="1786"/>
                  </a:lnTo>
                  <a:lnTo>
                    <a:pt x="381" y="1786"/>
                  </a:lnTo>
                  <a:lnTo>
                    <a:pt x="354" y="1782"/>
                  </a:lnTo>
                  <a:lnTo>
                    <a:pt x="330" y="1775"/>
                  </a:lnTo>
                  <a:lnTo>
                    <a:pt x="307" y="1764"/>
                  </a:lnTo>
                  <a:lnTo>
                    <a:pt x="288" y="1747"/>
                  </a:lnTo>
                  <a:lnTo>
                    <a:pt x="273" y="1727"/>
                  </a:lnTo>
                  <a:lnTo>
                    <a:pt x="260" y="1706"/>
                  </a:lnTo>
                  <a:lnTo>
                    <a:pt x="253" y="1682"/>
                  </a:lnTo>
                  <a:lnTo>
                    <a:pt x="251" y="1656"/>
                  </a:lnTo>
                  <a:lnTo>
                    <a:pt x="253" y="1630"/>
                  </a:lnTo>
                  <a:lnTo>
                    <a:pt x="260" y="1604"/>
                  </a:lnTo>
                  <a:lnTo>
                    <a:pt x="273" y="1582"/>
                  </a:lnTo>
                  <a:lnTo>
                    <a:pt x="288" y="1564"/>
                  </a:lnTo>
                  <a:lnTo>
                    <a:pt x="307" y="1548"/>
                  </a:lnTo>
                  <a:lnTo>
                    <a:pt x="330" y="1535"/>
                  </a:lnTo>
                  <a:lnTo>
                    <a:pt x="354" y="1528"/>
                  </a:lnTo>
                  <a:lnTo>
                    <a:pt x="381" y="1525"/>
                  </a:lnTo>
                  <a:close/>
                  <a:moveTo>
                    <a:pt x="381" y="1282"/>
                  </a:moveTo>
                  <a:lnTo>
                    <a:pt x="366" y="1284"/>
                  </a:lnTo>
                  <a:lnTo>
                    <a:pt x="354" y="1292"/>
                  </a:lnTo>
                  <a:lnTo>
                    <a:pt x="347" y="1304"/>
                  </a:lnTo>
                  <a:lnTo>
                    <a:pt x="344" y="1319"/>
                  </a:lnTo>
                  <a:lnTo>
                    <a:pt x="347" y="1332"/>
                  </a:lnTo>
                  <a:lnTo>
                    <a:pt x="354" y="1345"/>
                  </a:lnTo>
                  <a:lnTo>
                    <a:pt x="366" y="1352"/>
                  </a:lnTo>
                  <a:lnTo>
                    <a:pt x="381" y="1355"/>
                  </a:lnTo>
                  <a:lnTo>
                    <a:pt x="1324" y="1355"/>
                  </a:lnTo>
                  <a:lnTo>
                    <a:pt x="1338" y="1352"/>
                  </a:lnTo>
                  <a:lnTo>
                    <a:pt x="1350" y="1345"/>
                  </a:lnTo>
                  <a:lnTo>
                    <a:pt x="1357" y="1332"/>
                  </a:lnTo>
                  <a:lnTo>
                    <a:pt x="1360" y="1319"/>
                  </a:lnTo>
                  <a:lnTo>
                    <a:pt x="1357" y="1304"/>
                  </a:lnTo>
                  <a:lnTo>
                    <a:pt x="1350" y="1292"/>
                  </a:lnTo>
                  <a:lnTo>
                    <a:pt x="1338" y="1284"/>
                  </a:lnTo>
                  <a:lnTo>
                    <a:pt x="1324" y="1282"/>
                  </a:lnTo>
                  <a:lnTo>
                    <a:pt x="381" y="1282"/>
                  </a:lnTo>
                  <a:close/>
                  <a:moveTo>
                    <a:pt x="381" y="1188"/>
                  </a:moveTo>
                  <a:lnTo>
                    <a:pt x="1324" y="1188"/>
                  </a:lnTo>
                  <a:lnTo>
                    <a:pt x="1350" y="1191"/>
                  </a:lnTo>
                  <a:lnTo>
                    <a:pt x="1374" y="1198"/>
                  </a:lnTo>
                  <a:lnTo>
                    <a:pt x="1397" y="1211"/>
                  </a:lnTo>
                  <a:lnTo>
                    <a:pt x="1416" y="1226"/>
                  </a:lnTo>
                  <a:lnTo>
                    <a:pt x="1432" y="1245"/>
                  </a:lnTo>
                  <a:lnTo>
                    <a:pt x="1444" y="1267"/>
                  </a:lnTo>
                  <a:lnTo>
                    <a:pt x="1452" y="1292"/>
                  </a:lnTo>
                  <a:lnTo>
                    <a:pt x="1454" y="1319"/>
                  </a:lnTo>
                  <a:lnTo>
                    <a:pt x="1452" y="1345"/>
                  </a:lnTo>
                  <a:lnTo>
                    <a:pt x="1444" y="1369"/>
                  </a:lnTo>
                  <a:lnTo>
                    <a:pt x="1432" y="1391"/>
                  </a:lnTo>
                  <a:lnTo>
                    <a:pt x="1416" y="1411"/>
                  </a:lnTo>
                  <a:lnTo>
                    <a:pt x="1397" y="1426"/>
                  </a:lnTo>
                  <a:lnTo>
                    <a:pt x="1374" y="1438"/>
                  </a:lnTo>
                  <a:lnTo>
                    <a:pt x="1350" y="1445"/>
                  </a:lnTo>
                  <a:lnTo>
                    <a:pt x="1324" y="1448"/>
                  </a:lnTo>
                  <a:lnTo>
                    <a:pt x="381" y="1448"/>
                  </a:lnTo>
                  <a:lnTo>
                    <a:pt x="354" y="1445"/>
                  </a:lnTo>
                  <a:lnTo>
                    <a:pt x="330" y="1438"/>
                  </a:lnTo>
                  <a:lnTo>
                    <a:pt x="307" y="1426"/>
                  </a:lnTo>
                  <a:lnTo>
                    <a:pt x="288" y="1411"/>
                  </a:lnTo>
                  <a:lnTo>
                    <a:pt x="273" y="1391"/>
                  </a:lnTo>
                  <a:lnTo>
                    <a:pt x="260" y="1369"/>
                  </a:lnTo>
                  <a:lnTo>
                    <a:pt x="253" y="1345"/>
                  </a:lnTo>
                  <a:lnTo>
                    <a:pt x="251" y="1319"/>
                  </a:lnTo>
                  <a:lnTo>
                    <a:pt x="253" y="1292"/>
                  </a:lnTo>
                  <a:lnTo>
                    <a:pt x="260" y="1267"/>
                  </a:lnTo>
                  <a:lnTo>
                    <a:pt x="273" y="1245"/>
                  </a:lnTo>
                  <a:lnTo>
                    <a:pt x="288" y="1226"/>
                  </a:lnTo>
                  <a:lnTo>
                    <a:pt x="307" y="1211"/>
                  </a:lnTo>
                  <a:lnTo>
                    <a:pt x="330" y="1198"/>
                  </a:lnTo>
                  <a:lnTo>
                    <a:pt x="354" y="1191"/>
                  </a:lnTo>
                  <a:lnTo>
                    <a:pt x="381" y="1188"/>
                  </a:lnTo>
                  <a:close/>
                  <a:moveTo>
                    <a:pt x="1341" y="792"/>
                  </a:moveTo>
                  <a:lnTo>
                    <a:pt x="1328" y="794"/>
                  </a:lnTo>
                  <a:lnTo>
                    <a:pt x="1317" y="801"/>
                  </a:lnTo>
                  <a:lnTo>
                    <a:pt x="1311" y="812"/>
                  </a:lnTo>
                  <a:lnTo>
                    <a:pt x="1308" y="824"/>
                  </a:lnTo>
                  <a:lnTo>
                    <a:pt x="1311" y="837"/>
                  </a:lnTo>
                  <a:lnTo>
                    <a:pt x="1317" y="847"/>
                  </a:lnTo>
                  <a:lnTo>
                    <a:pt x="1328" y="855"/>
                  </a:lnTo>
                  <a:lnTo>
                    <a:pt x="1341" y="858"/>
                  </a:lnTo>
                  <a:lnTo>
                    <a:pt x="1354" y="855"/>
                  </a:lnTo>
                  <a:lnTo>
                    <a:pt x="1364" y="847"/>
                  </a:lnTo>
                  <a:lnTo>
                    <a:pt x="1371" y="837"/>
                  </a:lnTo>
                  <a:lnTo>
                    <a:pt x="1374" y="824"/>
                  </a:lnTo>
                  <a:lnTo>
                    <a:pt x="1371" y="812"/>
                  </a:lnTo>
                  <a:lnTo>
                    <a:pt x="1364" y="801"/>
                  </a:lnTo>
                  <a:lnTo>
                    <a:pt x="1354" y="794"/>
                  </a:lnTo>
                  <a:lnTo>
                    <a:pt x="1341" y="792"/>
                  </a:lnTo>
                  <a:close/>
                  <a:moveTo>
                    <a:pt x="1022" y="792"/>
                  </a:moveTo>
                  <a:lnTo>
                    <a:pt x="1009" y="794"/>
                  </a:lnTo>
                  <a:lnTo>
                    <a:pt x="998" y="801"/>
                  </a:lnTo>
                  <a:lnTo>
                    <a:pt x="991" y="812"/>
                  </a:lnTo>
                  <a:lnTo>
                    <a:pt x="989" y="824"/>
                  </a:lnTo>
                  <a:lnTo>
                    <a:pt x="991" y="837"/>
                  </a:lnTo>
                  <a:lnTo>
                    <a:pt x="998" y="847"/>
                  </a:lnTo>
                  <a:lnTo>
                    <a:pt x="1009" y="855"/>
                  </a:lnTo>
                  <a:lnTo>
                    <a:pt x="1022" y="858"/>
                  </a:lnTo>
                  <a:lnTo>
                    <a:pt x="1035" y="855"/>
                  </a:lnTo>
                  <a:lnTo>
                    <a:pt x="1046" y="847"/>
                  </a:lnTo>
                  <a:lnTo>
                    <a:pt x="1052" y="837"/>
                  </a:lnTo>
                  <a:lnTo>
                    <a:pt x="1055" y="824"/>
                  </a:lnTo>
                  <a:lnTo>
                    <a:pt x="1052" y="812"/>
                  </a:lnTo>
                  <a:lnTo>
                    <a:pt x="1046" y="801"/>
                  </a:lnTo>
                  <a:lnTo>
                    <a:pt x="1035" y="794"/>
                  </a:lnTo>
                  <a:lnTo>
                    <a:pt x="1022" y="792"/>
                  </a:lnTo>
                  <a:close/>
                  <a:moveTo>
                    <a:pt x="703" y="792"/>
                  </a:moveTo>
                  <a:lnTo>
                    <a:pt x="690" y="794"/>
                  </a:lnTo>
                  <a:lnTo>
                    <a:pt x="680" y="801"/>
                  </a:lnTo>
                  <a:lnTo>
                    <a:pt x="672" y="812"/>
                  </a:lnTo>
                  <a:lnTo>
                    <a:pt x="670" y="824"/>
                  </a:lnTo>
                  <a:lnTo>
                    <a:pt x="672" y="837"/>
                  </a:lnTo>
                  <a:lnTo>
                    <a:pt x="680" y="847"/>
                  </a:lnTo>
                  <a:lnTo>
                    <a:pt x="690" y="855"/>
                  </a:lnTo>
                  <a:lnTo>
                    <a:pt x="703" y="858"/>
                  </a:lnTo>
                  <a:lnTo>
                    <a:pt x="715" y="855"/>
                  </a:lnTo>
                  <a:lnTo>
                    <a:pt x="726" y="847"/>
                  </a:lnTo>
                  <a:lnTo>
                    <a:pt x="733" y="837"/>
                  </a:lnTo>
                  <a:lnTo>
                    <a:pt x="736" y="824"/>
                  </a:lnTo>
                  <a:lnTo>
                    <a:pt x="733" y="812"/>
                  </a:lnTo>
                  <a:lnTo>
                    <a:pt x="726" y="801"/>
                  </a:lnTo>
                  <a:lnTo>
                    <a:pt x="715" y="794"/>
                  </a:lnTo>
                  <a:lnTo>
                    <a:pt x="703" y="792"/>
                  </a:lnTo>
                  <a:close/>
                  <a:moveTo>
                    <a:pt x="384" y="792"/>
                  </a:moveTo>
                  <a:lnTo>
                    <a:pt x="371" y="794"/>
                  </a:lnTo>
                  <a:lnTo>
                    <a:pt x="361" y="801"/>
                  </a:lnTo>
                  <a:lnTo>
                    <a:pt x="353" y="812"/>
                  </a:lnTo>
                  <a:lnTo>
                    <a:pt x="351" y="824"/>
                  </a:lnTo>
                  <a:lnTo>
                    <a:pt x="353" y="837"/>
                  </a:lnTo>
                  <a:lnTo>
                    <a:pt x="361" y="847"/>
                  </a:lnTo>
                  <a:lnTo>
                    <a:pt x="371" y="855"/>
                  </a:lnTo>
                  <a:lnTo>
                    <a:pt x="384" y="858"/>
                  </a:lnTo>
                  <a:lnTo>
                    <a:pt x="396" y="855"/>
                  </a:lnTo>
                  <a:lnTo>
                    <a:pt x="407" y="847"/>
                  </a:lnTo>
                  <a:lnTo>
                    <a:pt x="414" y="837"/>
                  </a:lnTo>
                  <a:lnTo>
                    <a:pt x="416" y="824"/>
                  </a:lnTo>
                  <a:lnTo>
                    <a:pt x="414" y="812"/>
                  </a:lnTo>
                  <a:lnTo>
                    <a:pt x="407" y="801"/>
                  </a:lnTo>
                  <a:lnTo>
                    <a:pt x="396" y="794"/>
                  </a:lnTo>
                  <a:lnTo>
                    <a:pt x="384" y="792"/>
                  </a:lnTo>
                  <a:close/>
                  <a:moveTo>
                    <a:pt x="1341" y="699"/>
                  </a:moveTo>
                  <a:lnTo>
                    <a:pt x="1367" y="701"/>
                  </a:lnTo>
                  <a:lnTo>
                    <a:pt x="1390" y="708"/>
                  </a:lnTo>
                  <a:lnTo>
                    <a:pt x="1412" y="719"/>
                  </a:lnTo>
                  <a:lnTo>
                    <a:pt x="1431" y="735"/>
                  </a:lnTo>
                  <a:lnTo>
                    <a:pt x="1446" y="754"/>
                  </a:lnTo>
                  <a:lnTo>
                    <a:pt x="1458" y="775"/>
                  </a:lnTo>
                  <a:lnTo>
                    <a:pt x="1465" y="799"/>
                  </a:lnTo>
                  <a:lnTo>
                    <a:pt x="1467" y="824"/>
                  </a:lnTo>
                  <a:lnTo>
                    <a:pt x="1465" y="850"/>
                  </a:lnTo>
                  <a:lnTo>
                    <a:pt x="1458" y="873"/>
                  </a:lnTo>
                  <a:lnTo>
                    <a:pt x="1446" y="895"/>
                  </a:lnTo>
                  <a:lnTo>
                    <a:pt x="1431" y="914"/>
                  </a:lnTo>
                  <a:lnTo>
                    <a:pt x="1412" y="929"/>
                  </a:lnTo>
                  <a:lnTo>
                    <a:pt x="1390" y="940"/>
                  </a:lnTo>
                  <a:lnTo>
                    <a:pt x="1367" y="948"/>
                  </a:lnTo>
                  <a:lnTo>
                    <a:pt x="1341" y="951"/>
                  </a:lnTo>
                  <a:lnTo>
                    <a:pt x="1315" y="948"/>
                  </a:lnTo>
                  <a:lnTo>
                    <a:pt x="1292" y="940"/>
                  </a:lnTo>
                  <a:lnTo>
                    <a:pt x="1270" y="929"/>
                  </a:lnTo>
                  <a:lnTo>
                    <a:pt x="1251" y="914"/>
                  </a:lnTo>
                  <a:lnTo>
                    <a:pt x="1237" y="895"/>
                  </a:lnTo>
                  <a:lnTo>
                    <a:pt x="1224" y="873"/>
                  </a:lnTo>
                  <a:lnTo>
                    <a:pt x="1217" y="850"/>
                  </a:lnTo>
                  <a:lnTo>
                    <a:pt x="1214" y="824"/>
                  </a:lnTo>
                  <a:lnTo>
                    <a:pt x="1217" y="799"/>
                  </a:lnTo>
                  <a:lnTo>
                    <a:pt x="1224" y="775"/>
                  </a:lnTo>
                  <a:lnTo>
                    <a:pt x="1237" y="754"/>
                  </a:lnTo>
                  <a:lnTo>
                    <a:pt x="1251" y="735"/>
                  </a:lnTo>
                  <a:lnTo>
                    <a:pt x="1270" y="719"/>
                  </a:lnTo>
                  <a:lnTo>
                    <a:pt x="1292" y="708"/>
                  </a:lnTo>
                  <a:lnTo>
                    <a:pt x="1315" y="701"/>
                  </a:lnTo>
                  <a:lnTo>
                    <a:pt x="1341" y="699"/>
                  </a:lnTo>
                  <a:close/>
                  <a:moveTo>
                    <a:pt x="1022" y="699"/>
                  </a:moveTo>
                  <a:lnTo>
                    <a:pt x="1048" y="701"/>
                  </a:lnTo>
                  <a:lnTo>
                    <a:pt x="1071" y="708"/>
                  </a:lnTo>
                  <a:lnTo>
                    <a:pt x="1093" y="719"/>
                  </a:lnTo>
                  <a:lnTo>
                    <a:pt x="1112" y="735"/>
                  </a:lnTo>
                  <a:lnTo>
                    <a:pt x="1126" y="754"/>
                  </a:lnTo>
                  <a:lnTo>
                    <a:pt x="1139" y="775"/>
                  </a:lnTo>
                  <a:lnTo>
                    <a:pt x="1146" y="799"/>
                  </a:lnTo>
                  <a:lnTo>
                    <a:pt x="1148" y="824"/>
                  </a:lnTo>
                  <a:lnTo>
                    <a:pt x="1146" y="850"/>
                  </a:lnTo>
                  <a:lnTo>
                    <a:pt x="1139" y="873"/>
                  </a:lnTo>
                  <a:lnTo>
                    <a:pt x="1126" y="895"/>
                  </a:lnTo>
                  <a:lnTo>
                    <a:pt x="1112" y="914"/>
                  </a:lnTo>
                  <a:lnTo>
                    <a:pt x="1093" y="929"/>
                  </a:lnTo>
                  <a:lnTo>
                    <a:pt x="1071" y="940"/>
                  </a:lnTo>
                  <a:lnTo>
                    <a:pt x="1048" y="948"/>
                  </a:lnTo>
                  <a:lnTo>
                    <a:pt x="1022" y="951"/>
                  </a:lnTo>
                  <a:lnTo>
                    <a:pt x="996" y="948"/>
                  </a:lnTo>
                  <a:lnTo>
                    <a:pt x="972" y="940"/>
                  </a:lnTo>
                  <a:lnTo>
                    <a:pt x="951" y="929"/>
                  </a:lnTo>
                  <a:lnTo>
                    <a:pt x="932" y="914"/>
                  </a:lnTo>
                  <a:lnTo>
                    <a:pt x="917" y="895"/>
                  </a:lnTo>
                  <a:lnTo>
                    <a:pt x="905" y="873"/>
                  </a:lnTo>
                  <a:lnTo>
                    <a:pt x="898" y="850"/>
                  </a:lnTo>
                  <a:lnTo>
                    <a:pt x="896" y="824"/>
                  </a:lnTo>
                  <a:lnTo>
                    <a:pt x="898" y="799"/>
                  </a:lnTo>
                  <a:lnTo>
                    <a:pt x="905" y="775"/>
                  </a:lnTo>
                  <a:lnTo>
                    <a:pt x="917" y="754"/>
                  </a:lnTo>
                  <a:lnTo>
                    <a:pt x="932" y="735"/>
                  </a:lnTo>
                  <a:lnTo>
                    <a:pt x="951" y="719"/>
                  </a:lnTo>
                  <a:lnTo>
                    <a:pt x="972" y="708"/>
                  </a:lnTo>
                  <a:lnTo>
                    <a:pt x="996" y="701"/>
                  </a:lnTo>
                  <a:lnTo>
                    <a:pt x="1022" y="699"/>
                  </a:lnTo>
                  <a:close/>
                  <a:moveTo>
                    <a:pt x="703" y="699"/>
                  </a:moveTo>
                  <a:lnTo>
                    <a:pt x="728" y="701"/>
                  </a:lnTo>
                  <a:lnTo>
                    <a:pt x="752" y="708"/>
                  </a:lnTo>
                  <a:lnTo>
                    <a:pt x="774" y="719"/>
                  </a:lnTo>
                  <a:lnTo>
                    <a:pt x="792" y="735"/>
                  </a:lnTo>
                  <a:lnTo>
                    <a:pt x="808" y="754"/>
                  </a:lnTo>
                  <a:lnTo>
                    <a:pt x="819" y="775"/>
                  </a:lnTo>
                  <a:lnTo>
                    <a:pt x="826" y="799"/>
                  </a:lnTo>
                  <a:lnTo>
                    <a:pt x="830" y="824"/>
                  </a:lnTo>
                  <a:lnTo>
                    <a:pt x="826" y="850"/>
                  </a:lnTo>
                  <a:lnTo>
                    <a:pt x="819" y="873"/>
                  </a:lnTo>
                  <a:lnTo>
                    <a:pt x="808" y="895"/>
                  </a:lnTo>
                  <a:lnTo>
                    <a:pt x="792" y="914"/>
                  </a:lnTo>
                  <a:lnTo>
                    <a:pt x="774" y="929"/>
                  </a:lnTo>
                  <a:lnTo>
                    <a:pt x="752" y="940"/>
                  </a:lnTo>
                  <a:lnTo>
                    <a:pt x="728" y="948"/>
                  </a:lnTo>
                  <a:lnTo>
                    <a:pt x="703" y="951"/>
                  </a:lnTo>
                  <a:lnTo>
                    <a:pt x="678" y="948"/>
                  </a:lnTo>
                  <a:lnTo>
                    <a:pt x="653" y="940"/>
                  </a:lnTo>
                  <a:lnTo>
                    <a:pt x="632" y="929"/>
                  </a:lnTo>
                  <a:lnTo>
                    <a:pt x="614" y="914"/>
                  </a:lnTo>
                  <a:lnTo>
                    <a:pt x="598" y="895"/>
                  </a:lnTo>
                  <a:lnTo>
                    <a:pt x="586" y="873"/>
                  </a:lnTo>
                  <a:lnTo>
                    <a:pt x="579" y="850"/>
                  </a:lnTo>
                  <a:lnTo>
                    <a:pt x="577" y="824"/>
                  </a:lnTo>
                  <a:lnTo>
                    <a:pt x="579" y="799"/>
                  </a:lnTo>
                  <a:lnTo>
                    <a:pt x="586" y="775"/>
                  </a:lnTo>
                  <a:lnTo>
                    <a:pt x="598" y="754"/>
                  </a:lnTo>
                  <a:lnTo>
                    <a:pt x="614" y="735"/>
                  </a:lnTo>
                  <a:lnTo>
                    <a:pt x="632" y="719"/>
                  </a:lnTo>
                  <a:lnTo>
                    <a:pt x="653" y="708"/>
                  </a:lnTo>
                  <a:lnTo>
                    <a:pt x="678" y="701"/>
                  </a:lnTo>
                  <a:lnTo>
                    <a:pt x="703" y="699"/>
                  </a:lnTo>
                  <a:close/>
                  <a:moveTo>
                    <a:pt x="384" y="699"/>
                  </a:moveTo>
                  <a:lnTo>
                    <a:pt x="409" y="701"/>
                  </a:lnTo>
                  <a:lnTo>
                    <a:pt x="433" y="708"/>
                  </a:lnTo>
                  <a:lnTo>
                    <a:pt x="454" y="719"/>
                  </a:lnTo>
                  <a:lnTo>
                    <a:pt x="473" y="735"/>
                  </a:lnTo>
                  <a:lnTo>
                    <a:pt x="489" y="754"/>
                  </a:lnTo>
                  <a:lnTo>
                    <a:pt x="500" y="775"/>
                  </a:lnTo>
                  <a:lnTo>
                    <a:pt x="508" y="799"/>
                  </a:lnTo>
                  <a:lnTo>
                    <a:pt x="511" y="824"/>
                  </a:lnTo>
                  <a:lnTo>
                    <a:pt x="508" y="850"/>
                  </a:lnTo>
                  <a:lnTo>
                    <a:pt x="500" y="873"/>
                  </a:lnTo>
                  <a:lnTo>
                    <a:pt x="489" y="895"/>
                  </a:lnTo>
                  <a:lnTo>
                    <a:pt x="473" y="914"/>
                  </a:lnTo>
                  <a:lnTo>
                    <a:pt x="454" y="929"/>
                  </a:lnTo>
                  <a:lnTo>
                    <a:pt x="433" y="940"/>
                  </a:lnTo>
                  <a:lnTo>
                    <a:pt x="409" y="948"/>
                  </a:lnTo>
                  <a:lnTo>
                    <a:pt x="384" y="951"/>
                  </a:lnTo>
                  <a:lnTo>
                    <a:pt x="359" y="948"/>
                  </a:lnTo>
                  <a:lnTo>
                    <a:pt x="335" y="940"/>
                  </a:lnTo>
                  <a:lnTo>
                    <a:pt x="314" y="929"/>
                  </a:lnTo>
                  <a:lnTo>
                    <a:pt x="295" y="914"/>
                  </a:lnTo>
                  <a:lnTo>
                    <a:pt x="279" y="895"/>
                  </a:lnTo>
                  <a:lnTo>
                    <a:pt x="267" y="873"/>
                  </a:lnTo>
                  <a:lnTo>
                    <a:pt x="260" y="850"/>
                  </a:lnTo>
                  <a:lnTo>
                    <a:pt x="257" y="824"/>
                  </a:lnTo>
                  <a:lnTo>
                    <a:pt x="260" y="799"/>
                  </a:lnTo>
                  <a:lnTo>
                    <a:pt x="267" y="775"/>
                  </a:lnTo>
                  <a:lnTo>
                    <a:pt x="279" y="754"/>
                  </a:lnTo>
                  <a:lnTo>
                    <a:pt x="295" y="735"/>
                  </a:lnTo>
                  <a:lnTo>
                    <a:pt x="314" y="719"/>
                  </a:lnTo>
                  <a:lnTo>
                    <a:pt x="335" y="708"/>
                  </a:lnTo>
                  <a:lnTo>
                    <a:pt x="359" y="701"/>
                  </a:lnTo>
                  <a:lnTo>
                    <a:pt x="384" y="699"/>
                  </a:lnTo>
                  <a:close/>
                  <a:moveTo>
                    <a:pt x="1341" y="507"/>
                  </a:moveTo>
                  <a:lnTo>
                    <a:pt x="1328" y="510"/>
                  </a:lnTo>
                  <a:lnTo>
                    <a:pt x="1317" y="516"/>
                  </a:lnTo>
                  <a:lnTo>
                    <a:pt x="1311" y="527"/>
                  </a:lnTo>
                  <a:lnTo>
                    <a:pt x="1308" y="540"/>
                  </a:lnTo>
                  <a:lnTo>
                    <a:pt x="1311" y="553"/>
                  </a:lnTo>
                  <a:lnTo>
                    <a:pt x="1317" y="563"/>
                  </a:lnTo>
                  <a:lnTo>
                    <a:pt x="1328" y="571"/>
                  </a:lnTo>
                  <a:lnTo>
                    <a:pt x="1341" y="573"/>
                  </a:lnTo>
                  <a:lnTo>
                    <a:pt x="1354" y="571"/>
                  </a:lnTo>
                  <a:lnTo>
                    <a:pt x="1364" y="563"/>
                  </a:lnTo>
                  <a:lnTo>
                    <a:pt x="1371" y="553"/>
                  </a:lnTo>
                  <a:lnTo>
                    <a:pt x="1374" y="540"/>
                  </a:lnTo>
                  <a:lnTo>
                    <a:pt x="1371" y="527"/>
                  </a:lnTo>
                  <a:lnTo>
                    <a:pt x="1364" y="516"/>
                  </a:lnTo>
                  <a:lnTo>
                    <a:pt x="1354" y="510"/>
                  </a:lnTo>
                  <a:lnTo>
                    <a:pt x="1341" y="507"/>
                  </a:lnTo>
                  <a:close/>
                  <a:moveTo>
                    <a:pt x="1022" y="507"/>
                  </a:moveTo>
                  <a:lnTo>
                    <a:pt x="1009" y="510"/>
                  </a:lnTo>
                  <a:lnTo>
                    <a:pt x="998" y="516"/>
                  </a:lnTo>
                  <a:lnTo>
                    <a:pt x="991" y="527"/>
                  </a:lnTo>
                  <a:lnTo>
                    <a:pt x="989" y="540"/>
                  </a:lnTo>
                  <a:lnTo>
                    <a:pt x="991" y="553"/>
                  </a:lnTo>
                  <a:lnTo>
                    <a:pt x="998" y="563"/>
                  </a:lnTo>
                  <a:lnTo>
                    <a:pt x="1009" y="571"/>
                  </a:lnTo>
                  <a:lnTo>
                    <a:pt x="1022" y="573"/>
                  </a:lnTo>
                  <a:lnTo>
                    <a:pt x="1035" y="571"/>
                  </a:lnTo>
                  <a:lnTo>
                    <a:pt x="1046" y="563"/>
                  </a:lnTo>
                  <a:lnTo>
                    <a:pt x="1052" y="553"/>
                  </a:lnTo>
                  <a:lnTo>
                    <a:pt x="1055" y="540"/>
                  </a:lnTo>
                  <a:lnTo>
                    <a:pt x="1052" y="527"/>
                  </a:lnTo>
                  <a:lnTo>
                    <a:pt x="1046" y="516"/>
                  </a:lnTo>
                  <a:lnTo>
                    <a:pt x="1035" y="510"/>
                  </a:lnTo>
                  <a:lnTo>
                    <a:pt x="1022" y="507"/>
                  </a:lnTo>
                  <a:close/>
                  <a:moveTo>
                    <a:pt x="703" y="507"/>
                  </a:moveTo>
                  <a:lnTo>
                    <a:pt x="690" y="510"/>
                  </a:lnTo>
                  <a:lnTo>
                    <a:pt x="680" y="516"/>
                  </a:lnTo>
                  <a:lnTo>
                    <a:pt x="672" y="527"/>
                  </a:lnTo>
                  <a:lnTo>
                    <a:pt x="670" y="540"/>
                  </a:lnTo>
                  <a:lnTo>
                    <a:pt x="672" y="553"/>
                  </a:lnTo>
                  <a:lnTo>
                    <a:pt x="680" y="563"/>
                  </a:lnTo>
                  <a:lnTo>
                    <a:pt x="690" y="571"/>
                  </a:lnTo>
                  <a:lnTo>
                    <a:pt x="703" y="573"/>
                  </a:lnTo>
                  <a:lnTo>
                    <a:pt x="715" y="571"/>
                  </a:lnTo>
                  <a:lnTo>
                    <a:pt x="726" y="563"/>
                  </a:lnTo>
                  <a:lnTo>
                    <a:pt x="733" y="553"/>
                  </a:lnTo>
                  <a:lnTo>
                    <a:pt x="736" y="540"/>
                  </a:lnTo>
                  <a:lnTo>
                    <a:pt x="733" y="527"/>
                  </a:lnTo>
                  <a:lnTo>
                    <a:pt x="726" y="516"/>
                  </a:lnTo>
                  <a:lnTo>
                    <a:pt x="715" y="510"/>
                  </a:lnTo>
                  <a:lnTo>
                    <a:pt x="703" y="507"/>
                  </a:lnTo>
                  <a:close/>
                  <a:moveTo>
                    <a:pt x="384" y="507"/>
                  </a:moveTo>
                  <a:lnTo>
                    <a:pt x="371" y="510"/>
                  </a:lnTo>
                  <a:lnTo>
                    <a:pt x="361" y="516"/>
                  </a:lnTo>
                  <a:lnTo>
                    <a:pt x="353" y="527"/>
                  </a:lnTo>
                  <a:lnTo>
                    <a:pt x="351" y="540"/>
                  </a:lnTo>
                  <a:lnTo>
                    <a:pt x="353" y="553"/>
                  </a:lnTo>
                  <a:lnTo>
                    <a:pt x="361" y="563"/>
                  </a:lnTo>
                  <a:lnTo>
                    <a:pt x="371" y="571"/>
                  </a:lnTo>
                  <a:lnTo>
                    <a:pt x="384" y="573"/>
                  </a:lnTo>
                  <a:lnTo>
                    <a:pt x="396" y="571"/>
                  </a:lnTo>
                  <a:lnTo>
                    <a:pt x="407" y="563"/>
                  </a:lnTo>
                  <a:lnTo>
                    <a:pt x="414" y="553"/>
                  </a:lnTo>
                  <a:lnTo>
                    <a:pt x="416" y="540"/>
                  </a:lnTo>
                  <a:lnTo>
                    <a:pt x="414" y="527"/>
                  </a:lnTo>
                  <a:lnTo>
                    <a:pt x="407" y="516"/>
                  </a:lnTo>
                  <a:lnTo>
                    <a:pt x="396" y="510"/>
                  </a:lnTo>
                  <a:lnTo>
                    <a:pt x="384" y="507"/>
                  </a:lnTo>
                  <a:close/>
                  <a:moveTo>
                    <a:pt x="1341" y="414"/>
                  </a:moveTo>
                  <a:lnTo>
                    <a:pt x="1367" y="417"/>
                  </a:lnTo>
                  <a:lnTo>
                    <a:pt x="1390" y="424"/>
                  </a:lnTo>
                  <a:lnTo>
                    <a:pt x="1412" y="436"/>
                  </a:lnTo>
                  <a:lnTo>
                    <a:pt x="1431" y="450"/>
                  </a:lnTo>
                  <a:lnTo>
                    <a:pt x="1446" y="469"/>
                  </a:lnTo>
                  <a:lnTo>
                    <a:pt x="1458" y="491"/>
                  </a:lnTo>
                  <a:lnTo>
                    <a:pt x="1465" y="514"/>
                  </a:lnTo>
                  <a:lnTo>
                    <a:pt x="1467" y="540"/>
                  </a:lnTo>
                  <a:lnTo>
                    <a:pt x="1465" y="566"/>
                  </a:lnTo>
                  <a:lnTo>
                    <a:pt x="1458" y="590"/>
                  </a:lnTo>
                  <a:lnTo>
                    <a:pt x="1446" y="611"/>
                  </a:lnTo>
                  <a:lnTo>
                    <a:pt x="1431" y="629"/>
                  </a:lnTo>
                  <a:lnTo>
                    <a:pt x="1412" y="645"/>
                  </a:lnTo>
                  <a:lnTo>
                    <a:pt x="1390" y="657"/>
                  </a:lnTo>
                  <a:lnTo>
                    <a:pt x="1367" y="664"/>
                  </a:lnTo>
                  <a:lnTo>
                    <a:pt x="1341" y="666"/>
                  </a:lnTo>
                  <a:lnTo>
                    <a:pt x="1315" y="664"/>
                  </a:lnTo>
                  <a:lnTo>
                    <a:pt x="1292" y="657"/>
                  </a:lnTo>
                  <a:lnTo>
                    <a:pt x="1270" y="645"/>
                  </a:lnTo>
                  <a:lnTo>
                    <a:pt x="1251" y="629"/>
                  </a:lnTo>
                  <a:lnTo>
                    <a:pt x="1237" y="611"/>
                  </a:lnTo>
                  <a:lnTo>
                    <a:pt x="1224" y="590"/>
                  </a:lnTo>
                  <a:lnTo>
                    <a:pt x="1217" y="566"/>
                  </a:lnTo>
                  <a:lnTo>
                    <a:pt x="1214" y="540"/>
                  </a:lnTo>
                  <a:lnTo>
                    <a:pt x="1217" y="514"/>
                  </a:lnTo>
                  <a:lnTo>
                    <a:pt x="1224" y="491"/>
                  </a:lnTo>
                  <a:lnTo>
                    <a:pt x="1237" y="469"/>
                  </a:lnTo>
                  <a:lnTo>
                    <a:pt x="1251" y="450"/>
                  </a:lnTo>
                  <a:lnTo>
                    <a:pt x="1270" y="436"/>
                  </a:lnTo>
                  <a:lnTo>
                    <a:pt x="1292" y="424"/>
                  </a:lnTo>
                  <a:lnTo>
                    <a:pt x="1315" y="417"/>
                  </a:lnTo>
                  <a:lnTo>
                    <a:pt x="1341" y="414"/>
                  </a:lnTo>
                  <a:close/>
                  <a:moveTo>
                    <a:pt x="1022" y="414"/>
                  </a:moveTo>
                  <a:lnTo>
                    <a:pt x="1048" y="417"/>
                  </a:lnTo>
                  <a:lnTo>
                    <a:pt x="1071" y="424"/>
                  </a:lnTo>
                  <a:lnTo>
                    <a:pt x="1093" y="436"/>
                  </a:lnTo>
                  <a:lnTo>
                    <a:pt x="1112" y="450"/>
                  </a:lnTo>
                  <a:lnTo>
                    <a:pt x="1126" y="469"/>
                  </a:lnTo>
                  <a:lnTo>
                    <a:pt x="1139" y="491"/>
                  </a:lnTo>
                  <a:lnTo>
                    <a:pt x="1146" y="514"/>
                  </a:lnTo>
                  <a:lnTo>
                    <a:pt x="1148" y="540"/>
                  </a:lnTo>
                  <a:lnTo>
                    <a:pt x="1146" y="566"/>
                  </a:lnTo>
                  <a:lnTo>
                    <a:pt x="1139" y="590"/>
                  </a:lnTo>
                  <a:lnTo>
                    <a:pt x="1126" y="611"/>
                  </a:lnTo>
                  <a:lnTo>
                    <a:pt x="1112" y="629"/>
                  </a:lnTo>
                  <a:lnTo>
                    <a:pt x="1093" y="645"/>
                  </a:lnTo>
                  <a:lnTo>
                    <a:pt x="1071" y="657"/>
                  </a:lnTo>
                  <a:lnTo>
                    <a:pt x="1048" y="664"/>
                  </a:lnTo>
                  <a:lnTo>
                    <a:pt x="1022" y="666"/>
                  </a:lnTo>
                  <a:lnTo>
                    <a:pt x="996" y="664"/>
                  </a:lnTo>
                  <a:lnTo>
                    <a:pt x="972" y="657"/>
                  </a:lnTo>
                  <a:lnTo>
                    <a:pt x="951" y="645"/>
                  </a:lnTo>
                  <a:lnTo>
                    <a:pt x="932" y="629"/>
                  </a:lnTo>
                  <a:lnTo>
                    <a:pt x="917" y="611"/>
                  </a:lnTo>
                  <a:lnTo>
                    <a:pt x="905" y="590"/>
                  </a:lnTo>
                  <a:lnTo>
                    <a:pt x="898" y="566"/>
                  </a:lnTo>
                  <a:lnTo>
                    <a:pt x="896" y="540"/>
                  </a:lnTo>
                  <a:lnTo>
                    <a:pt x="898" y="514"/>
                  </a:lnTo>
                  <a:lnTo>
                    <a:pt x="905" y="491"/>
                  </a:lnTo>
                  <a:lnTo>
                    <a:pt x="917" y="469"/>
                  </a:lnTo>
                  <a:lnTo>
                    <a:pt x="932" y="450"/>
                  </a:lnTo>
                  <a:lnTo>
                    <a:pt x="951" y="436"/>
                  </a:lnTo>
                  <a:lnTo>
                    <a:pt x="972" y="424"/>
                  </a:lnTo>
                  <a:lnTo>
                    <a:pt x="996" y="417"/>
                  </a:lnTo>
                  <a:lnTo>
                    <a:pt x="1022" y="414"/>
                  </a:lnTo>
                  <a:close/>
                  <a:moveTo>
                    <a:pt x="703" y="414"/>
                  </a:moveTo>
                  <a:lnTo>
                    <a:pt x="728" y="417"/>
                  </a:lnTo>
                  <a:lnTo>
                    <a:pt x="752" y="424"/>
                  </a:lnTo>
                  <a:lnTo>
                    <a:pt x="774" y="436"/>
                  </a:lnTo>
                  <a:lnTo>
                    <a:pt x="792" y="450"/>
                  </a:lnTo>
                  <a:lnTo>
                    <a:pt x="808" y="469"/>
                  </a:lnTo>
                  <a:lnTo>
                    <a:pt x="819" y="491"/>
                  </a:lnTo>
                  <a:lnTo>
                    <a:pt x="826" y="514"/>
                  </a:lnTo>
                  <a:lnTo>
                    <a:pt x="830" y="540"/>
                  </a:lnTo>
                  <a:lnTo>
                    <a:pt x="826" y="566"/>
                  </a:lnTo>
                  <a:lnTo>
                    <a:pt x="819" y="590"/>
                  </a:lnTo>
                  <a:lnTo>
                    <a:pt x="808" y="611"/>
                  </a:lnTo>
                  <a:lnTo>
                    <a:pt x="792" y="629"/>
                  </a:lnTo>
                  <a:lnTo>
                    <a:pt x="774" y="645"/>
                  </a:lnTo>
                  <a:lnTo>
                    <a:pt x="752" y="657"/>
                  </a:lnTo>
                  <a:lnTo>
                    <a:pt x="728" y="664"/>
                  </a:lnTo>
                  <a:lnTo>
                    <a:pt x="703" y="666"/>
                  </a:lnTo>
                  <a:lnTo>
                    <a:pt x="678" y="664"/>
                  </a:lnTo>
                  <a:lnTo>
                    <a:pt x="653" y="657"/>
                  </a:lnTo>
                  <a:lnTo>
                    <a:pt x="632" y="645"/>
                  </a:lnTo>
                  <a:lnTo>
                    <a:pt x="614" y="629"/>
                  </a:lnTo>
                  <a:lnTo>
                    <a:pt x="598" y="611"/>
                  </a:lnTo>
                  <a:lnTo>
                    <a:pt x="586" y="590"/>
                  </a:lnTo>
                  <a:lnTo>
                    <a:pt x="579" y="566"/>
                  </a:lnTo>
                  <a:lnTo>
                    <a:pt x="577" y="540"/>
                  </a:lnTo>
                  <a:lnTo>
                    <a:pt x="579" y="514"/>
                  </a:lnTo>
                  <a:lnTo>
                    <a:pt x="586" y="491"/>
                  </a:lnTo>
                  <a:lnTo>
                    <a:pt x="598" y="469"/>
                  </a:lnTo>
                  <a:lnTo>
                    <a:pt x="614" y="450"/>
                  </a:lnTo>
                  <a:lnTo>
                    <a:pt x="632" y="436"/>
                  </a:lnTo>
                  <a:lnTo>
                    <a:pt x="653" y="424"/>
                  </a:lnTo>
                  <a:lnTo>
                    <a:pt x="678" y="417"/>
                  </a:lnTo>
                  <a:lnTo>
                    <a:pt x="703" y="414"/>
                  </a:lnTo>
                  <a:close/>
                  <a:moveTo>
                    <a:pt x="384" y="414"/>
                  </a:moveTo>
                  <a:lnTo>
                    <a:pt x="409" y="417"/>
                  </a:lnTo>
                  <a:lnTo>
                    <a:pt x="433" y="424"/>
                  </a:lnTo>
                  <a:lnTo>
                    <a:pt x="454" y="436"/>
                  </a:lnTo>
                  <a:lnTo>
                    <a:pt x="473" y="450"/>
                  </a:lnTo>
                  <a:lnTo>
                    <a:pt x="489" y="469"/>
                  </a:lnTo>
                  <a:lnTo>
                    <a:pt x="500" y="491"/>
                  </a:lnTo>
                  <a:lnTo>
                    <a:pt x="508" y="514"/>
                  </a:lnTo>
                  <a:lnTo>
                    <a:pt x="511" y="540"/>
                  </a:lnTo>
                  <a:lnTo>
                    <a:pt x="508" y="566"/>
                  </a:lnTo>
                  <a:lnTo>
                    <a:pt x="500" y="590"/>
                  </a:lnTo>
                  <a:lnTo>
                    <a:pt x="489" y="611"/>
                  </a:lnTo>
                  <a:lnTo>
                    <a:pt x="473" y="629"/>
                  </a:lnTo>
                  <a:lnTo>
                    <a:pt x="454" y="645"/>
                  </a:lnTo>
                  <a:lnTo>
                    <a:pt x="433" y="657"/>
                  </a:lnTo>
                  <a:lnTo>
                    <a:pt x="409" y="664"/>
                  </a:lnTo>
                  <a:lnTo>
                    <a:pt x="384" y="666"/>
                  </a:lnTo>
                  <a:lnTo>
                    <a:pt x="359" y="664"/>
                  </a:lnTo>
                  <a:lnTo>
                    <a:pt x="335" y="657"/>
                  </a:lnTo>
                  <a:lnTo>
                    <a:pt x="314" y="645"/>
                  </a:lnTo>
                  <a:lnTo>
                    <a:pt x="295" y="629"/>
                  </a:lnTo>
                  <a:lnTo>
                    <a:pt x="279" y="611"/>
                  </a:lnTo>
                  <a:lnTo>
                    <a:pt x="267" y="590"/>
                  </a:lnTo>
                  <a:lnTo>
                    <a:pt x="260" y="566"/>
                  </a:lnTo>
                  <a:lnTo>
                    <a:pt x="257" y="540"/>
                  </a:lnTo>
                  <a:lnTo>
                    <a:pt x="260" y="514"/>
                  </a:lnTo>
                  <a:lnTo>
                    <a:pt x="267" y="491"/>
                  </a:lnTo>
                  <a:lnTo>
                    <a:pt x="279" y="469"/>
                  </a:lnTo>
                  <a:lnTo>
                    <a:pt x="295" y="450"/>
                  </a:lnTo>
                  <a:lnTo>
                    <a:pt x="314" y="436"/>
                  </a:lnTo>
                  <a:lnTo>
                    <a:pt x="335" y="424"/>
                  </a:lnTo>
                  <a:lnTo>
                    <a:pt x="359" y="417"/>
                  </a:lnTo>
                  <a:lnTo>
                    <a:pt x="384" y="414"/>
                  </a:lnTo>
                  <a:close/>
                  <a:moveTo>
                    <a:pt x="218" y="0"/>
                  </a:moveTo>
                  <a:lnTo>
                    <a:pt x="1495" y="0"/>
                  </a:lnTo>
                  <a:lnTo>
                    <a:pt x="1530" y="3"/>
                  </a:lnTo>
                  <a:lnTo>
                    <a:pt x="1564" y="12"/>
                  </a:lnTo>
                  <a:lnTo>
                    <a:pt x="1595" y="24"/>
                  </a:lnTo>
                  <a:lnTo>
                    <a:pt x="1624" y="42"/>
                  </a:lnTo>
                  <a:lnTo>
                    <a:pt x="1650" y="64"/>
                  </a:lnTo>
                  <a:lnTo>
                    <a:pt x="1671" y="89"/>
                  </a:lnTo>
                  <a:lnTo>
                    <a:pt x="1689" y="118"/>
                  </a:lnTo>
                  <a:lnTo>
                    <a:pt x="1702" y="149"/>
                  </a:lnTo>
                  <a:lnTo>
                    <a:pt x="1711" y="182"/>
                  </a:lnTo>
                  <a:lnTo>
                    <a:pt x="1714" y="218"/>
                  </a:lnTo>
                  <a:lnTo>
                    <a:pt x="1714" y="2181"/>
                  </a:lnTo>
                  <a:lnTo>
                    <a:pt x="1711" y="2217"/>
                  </a:lnTo>
                  <a:lnTo>
                    <a:pt x="1702" y="2251"/>
                  </a:lnTo>
                  <a:lnTo>
                    <a:pt x="1689" y="2282"/>
                  </a:lnTo>
                  <a:lnTo>
                    <a:pt x="1671" y="2310"/>
                  </a:lnTo>
                  <a:lnTo>
                    <a:pt x="1650" y="2335"/>
                  </a:lnTo>
                  <a:lnTo>
                    <a:pt x="1624" y="2357"/>
                  </a:lnTo>
                  <a:lnTo>
                    <a:pt x="1595" y="2375"/>
                  </a:lnTo>
                  <a:lnTo>
                    <a:pt x="1564" y="2389"/>
                  </a:lnTo>
                  <a:lnTo>
                    <a:pt x="1530" y="2396"/>
                  </a:lnTo>
                  <a:lnTo>
                    <a:pt x="1495" y="2399"/>
                  </a:lnTo>
                  <a:lnTo>
                    <a:pt x="1293" y="2399"/>
                  </a:lnTo>
                  <a:lnTo>
                    <a:pt x="1277" y="2402"/>
                  </a:lnTo>
                  <a:lnTo>
                    <a:pt x="1263" y="2410"/>
                  </a:lnTo>
                  <a:lnTo>
                    <a:pt x="1252" y="2420"/>
                  </a:lnTo>
                  <a:lnTo>
                    <a:pt x="1245" y="2435"/>
                  </a:lnTo>
                  <a:lnTo>
                    <a:pt x="1242" y="2451"/>
                  </a:lnTo>
                  <a:lnTo>
                    <a:pt x="1245" y="2467"/>
                  </a:lnTo>
                  <a:lnTo>
                    <a:pt x="1252" y="2481"/>
                  </a:lnTo>
                  <a:lnTo>
                    <a:pt x="1263" y="2493"/>
                  </a:lnTo>
                  <a:lnTo>
                    <a:pt x="1277" y="2500"/>
                  </a:lnTo>
                  <a:lnTo>
                    <a:pt x="1293" y="2502"/>
                  </a:lnTo>
                  <a:lnTo>
                    <a:pt x="1490" y="2503"/>
                  </a:lnTo>
                  <a:lnTo>
                    <a:pt x="1526" y="2505"/>
                  </a:lnTo>
                  <a:lnTo>
                    <a:pt x="1561" y="2513"/>
                  </a:lnTo>
                  <a:lnTo>
                    <a:pt x="1593" y="2527"/>
                  </a:lnTo>
                  <a:lnTo>
                    <a:pt x="1621" y="2546"/>
                  </a:lnTo>
                  <a:lnTo>
                    <a:pt x="1648" y="2568"/>
                  </a:lnTo>
                  <a:lnTo>
                    <a:pt x="1670" y="2594"/>
                  </a:lnTo>
                  <a:lnTo>
                    <a:pt x="1689" y="2623"/>
                  </a:lnTo>
                  <a:lnTo>
                    <a:pt x="1702" y="2655"/>
                  </a:lnTo>
                  <a:lnTo>
                    <a:pt x="1711" y="2689"/>
                  </a:lnTo>
                  <a:lnTo>
                    <a:pt x="1714" y="2725"/>
                  </a:lnTo>
                  <a:lnTo>
                    <a:pt x="1714" y="3233"/>
                  </a:lnTo>
                  <a:lnTo>
                    <a:pt x="1711" y="3270"/>
                  </a:lnTo>
                  <a:lnTo>
                    <a:pt x="1702" y="3303"/>
                  </a:lnTo>
                  <a:lnTo>
                    <a:pt x="1689" y="3336"/>
                  </a:lnTo>
                  <a:lnTo>
                    <a:pt x="1670" y="3365"/>
                  </a:lnTo>
                  <a:lnTo>
                    <a:pt x="1648" y="3391"/>
                  </a:lnTo>
                  <a:lnTo>
                    <a:pt x="1621" y="3413"/>
                  </a:lnTo>
                  <a:lnTo>
                    <a:pt x="1593" y="3431"/>
                  </a:lnTo>
                  <a:lnTo>
                    <a:pt x="1561" y="3444"/>
                  </a:lnTo>
                  <a:lnTo>
                    <a:pt x="1526" y="3453"/>
                  </a:lnTo>
                  <a:lnTo>
                    <a:pt x="1490" y="3456"/>
                  </a:lnTo>
                  <a:lnTo>
                    <a:pt x="222" y="3456"/>
                  </a:lnTo>
                  <a:lnTo>
                    <a:pt x="187" y="3453"/>
                  </a:lnTo>
                  <a:lnTo>
                    <a:pt x="152" y="3444"/>
                  </a:lnTo>
                  <a:lnTo>
                    <a:pt x="121" y="3431"/>
                  </a:lnTo>
                  <a:lnTo>
                    <a:pt x="91" y="3413"/>
                  </a:lnTo>
                  <a:lnTo>
                    <a:pt x="65" y="3391"/>
                  </a:lnTo>
                  <a:lnTo>
                    <a:pt x="43" y="3365"/>
                  </a:lnTo>
                  <a:lnTo>
                    <a:pt x="24" y="3336"/>
                  </a:lnTo>
                  <a:lnTo>
                    <a:pt x="10" y="3303"/>
                  </a:lnTo>
                  <a:lnTo>
                    <a:pt x="2" y="3270"/>
                  </a:lnTo>
                  <a:lnTo>
                    <a:pt x="0" y="3233"/>
                  </a:lnTo>
                  <a:lnTo>
                    <a:pt x="0" y="2725"/>
                  </a:lnTo>
                  <a:lnTo>
                    <a:pt x="2" y="2689"/>
                  </a:lnTo>
                  <a:lnTo>
                    <a:pt x="10" y="2655"/>
                  </a:lnTo>
                  <a:lnTo>
                    <a:pt x="24" y="2623"/>
                  </a:lnTo>
                  <a:lnTo>
                    <a:pt x="43" y="2594"/>
                  </a:lnTo>
                  <a:lnTo>
                    <a:pt x="65" y="2568"/>
                  </a:lnTo>
                  <a:lnTo>
                    <a:pt x="91" y="2546"/>
                  </a:lnTo>
                  <a:lnTo>
                    <a:pt x="121" y="2527"/>
                  </a:lnTo>
                  <a:lnTo>
                    <a:pt x="152" y="2513"/>
                  </a:lnTo>
                  <a:lnTo>
                    <a:pt x="187" y="2505"/>
                  </a:lnTo>
                  <a:lnTo>
                    <a:pt x="222" y="2503"/>
                  </a:lnTo>
                  <a:lnTo>
                    <a:pt x="457" y="2503"/>
                  </a:lnTo>
                  <a:lnTo>
                    <a:pt x="472" y="2505"/>
                  </a:lnTo>
                  <a:lnTo>
                    <a:pt x="485" y="2511"/>
                  </a:lnTo>
                  <a:lnTo>
                    <a:pt x="495" y="2522"/>
                  </a:lnTo>
                  <a:lnTo>
                    <a:pt x="501" y="2534"/>
                  </a:lnTo>
                  <a:lnTo>
                    <a:pt x="503" y="2549"/>
                  </a:lnTo>
                  <a:lnTo>
                    <a:pt x="501" y="2564"/>
                  </a:lnTo>
                  <a:lnTo>
                    <a:pt x="495" y="2577"/>
                  </a:lnTo>
                  <a:lnTo>
                    <a:pt x="485" y="2587"/>
                  </a:lnTo>
                  <a:lnTo>
                    <a:pt x="472" y="2594"/>
                  </a:lnTo>
                  <a:lnTo>
                    <a:pt x="457" y="2596"/>
                  </a:lnTo>
                  <a:lnTo>
                    <a:pt x="222" y="2596"/>
                  </a:lnTo>
                  <a:lnTo>
                    <a:pt x="196" y="2598"/>
                  </a:lnTo>
                  <a:lnTo>
                    <a:pt x="172" y="2607"/>
                  </a:lnTo>
                  <a:lnTo>
                    <a:pt x="150" y="2618"/>
                  </a:lnTo>
                  <a:lnTo>
                    <a:pt x="131" y="2634"/>
                  </a:lnTo>
                  <a:lnTo>
                    <a:pt x="115" y="2653"/>
                  </a:lnTo>
                  <a:lnTo>
                    <a:pt x="104" y="2675"/>
                  </a:lnTo>
                  <a:lnTo>
                    <a:pt x="95" y="2699"/>
                  </a:lnTo>
                  <a:lnTo>
                    <a:pt x="93" y="2725"/>
                  </a:lnTo>
                  <a:lnTo>
                    <a:pt x="93" y="3233"/>
                  </a:lnTo>
                  <a:lnTo>
                    <a:pt x="95" y="3259"/>
                  </a:lnTo>
                  <a:lnTo>
                    <a:pt x="104" y="3283"/>
                  </a:lnTo>
                  <a:lnTo>
                    <a:pt x="115" y="3305"/>
                  </a:lnTo>
                  <a:lnTo>
                    <a:pt x="131" y="3325"/>
                  </a:lnTo>
                  <a:lnTo>
                    <a:pt x="150" y="3341"/>
                  </a:lnTo>
                  <a:lnTo>
                    <a:pt x="172" y="3352"/>
                  </a:lnTo>
                  <a:lnTo>
                    <a:pt x="196" y="3360"/>
                  </a:lnTo>
                  <a:lnTo>
                    <a:pt x="222" y="3363"/>
                  </a:lnTo>
                  <a:lnTo>
                    <a:pt x="1490" y="3363"/>
                  </a:lnTo>
                  <a:lnTo>
                    <a:pt x="1517" y="3360"/>
                  </a:lnTo>
                  <a:lnTo>
                    <a:pt x="1541" y="3352"/>
                  </a:lnTo>
                  <a:lnTo>
                    <a:pt x="1563" y="3341"/>
                  </a:lnTo>
                  <a:lnTo>
                    <a:pt x="1582" y="3325"/>
                  </a:lnTo>
                  <a:lnTo>
                    <a:pt x="1597" y="3305"/>
                  </a:lnTo>
                  <a:lnTo>
                    <a:pt x="1610" y="3283"/>
                  </a:lnTo>
                  <a:lnTo>
                    <a:pt x="1617" y="3259"/>
                  </a:lnTo>
                  <a:lnTo>
                    <a:pt x="1619" y="3233"/>
                  </a:lnTo>
                  <a:lnTo>
                    <a:pt x="1619" y="2725"/>
                  </a:lnTo>
                  <a:lnTo>
                    <a:pt x="1617" y="2699"/>
                  </a:lnTo>
                  <a:lnTo>
                    <a:pt x="1610" y="2675"/>
                  </a:lnTo>
                  <a:lnTo>
                    <a:pt x="1597" y="2653"/>
                  </a:lnTo>
                  <a:lnTo>
                    <a:pt x="1582" y="2634"/>
                  </a:lnTo>
                  <a:lnTo>
                    <a:pt x="1563" y="2618"/>
                  </a:lnTo>
                  <a:lnTo>
                    <a:pt x="1541" y="2607"/>
                  </a:lnTo>
                  <a:lnTo>
                    <a:pt x="1517" y="2598"/>
                  </a:lnTo>
                  <a:lnTo>
                    <a:pt x="1490" y="2596"/>
                  </a:lnTo>
                  <a:lnTo>
                    <a:pt x="1293" y="2596"/>
                  </a:lnTo>
                  <a:lnTo>
                    <a:pt x="1264" y="2593"/>
                  </a:lnTo>
                  <a:lnTo>
                    <a:pt x="1237" y="2585"/>
                  </a:lnTo>
                  <a:lnTo>
                    <a:pt x="1212" y="2571"/>
                  </a:lnTo>
                  <a:lnTo>
                    <a:pt x="1190" y="2553"/>
                  </a:lnTo>
                  <a:lnTo>
                    <a:pt x="1173" y="2532"/>
                  </a:lnTo>
                  <a:lnTo>
                    <a:pt x="1160" y="2507"/>
                  </a:lnTo>
                  <a:lnTo>
                    <a:pt x="1152" y="2480"/>
                  </a:lnTo>
                  <a:lnTo>
                    <a:pt x="1148" y="2451"/>
                  </a:lnTo>
                  <a:lnTo>
                    <a:pt x="1152" y="2421"/>
                  </a:lnTo>
                  <a:lnTo>
                    <a:pt x="1160" y="2394"/>
                  </a:lnTo>
                  <a:lnTo>
                    <a:pt x="1173" y="2370"/>
                  </a:lnTo>
                  <a:lnTo>
                    <a:pt x="1190" y="2348"/>
                  </a:lnTo>
                  <a:lnTo>
                    <a:pt x="1212" y="2330"/>
                  </a:lnTo>
                  <a:lnTo>
                    <a:pt x="1237" y="2318"/>
                  </a:lnTo>
                  <a:lnTo>
                    <a:pt x="1264" y="2309"/>
                  </a:lnTo>
                  <a:lnTo>
                    <a:pt x="1293" y="2306"/>
                  </a:lnTo>
                  <a:lnTo>
                    <a:pt x="1496" y="2306"/>
                  </a:lnTo>
                  <a:lnTo>
                    <a:pt x="1520" y="2304"/>
                  </a:lnTo>
                  <a:lnTo>
                    <a:pt x="1544" y="2297"/>
                  </a:lnTo>
                  <a:lnTo>
                    <a:pt x="1565" y="2285"/>
                  </a:lnTo>
                  <a:lnTo>
                    <a:pt x="1584" y="2269"/>
                  </a:lnTo>
                  <a:lnTo>
                    <a:pt x="1598" y="2251"/>
                  </a:lnTo>
                  <a:lnTo>
                    <a:pt x="1610" y="2230"/>
                  </a:lnTo>
                  <a:lnTo>
                    <a:pt x="1617" y="2207"/>
                  </a:lnTo>
                  <a:lnTo>
                    <a:pt x="1619" y="2181"/>
                  </a:lnTo>
                  <a:lnTo>
                    <a:pt x="1619" y="218"/>
                  </a:lnTo>
                  <a:lnTo>
                    <a:pt x="1617" y="193"/>
                  </a:lnTo>
                  <a:lnTo>
                    <a:pt x="1610" y="170"/>
                  </a:lnTo>
                  <a:lnTo>
                    <a:pt x="1598" y="149"/>
                  </a:lnTo>
                  <a:lnTo>
                    <a:pt x="1583" y="130"/>
                  </a:lnTo>
                  <a:lnTo>
                    <a:pt x="1565" y="115"/>
                  </a:lnTo>
                  <a:lnTo>
                    <a:pt x="1544" y="104"/>
                  </a:lnTo>
                  <a:lnTo>
                    <a:pt x="1520" y="96"/>
                  </a:lnTo>
                  <a:lnTo>
                    <a:pt x="1495" y="93"/>
                  </a:lnTo>
                  <a:lnTo>
                    <a:pt x="218" y="93"/>
                  </a:lnTo>
                  <a:lnTo>
                    <a:pt x="193" y="96"/>
                  </a:lnTo>
                  <a:lnTo>
                    <a:pt x="169" y="104"/>
                  </a:lnTo>
                  <a:lnTo>
                    <a:pt x="148" y="115"/>
                  </a:lnTo>
                  <a:lnTo>
                    <a:pt x="130" y="130"/>
                  </a:lnTo>
                  <a:lnTo>
                    <a:pt x="114" y="149"/>
                  </a:lnTo>
                  <a:lnTo>
                    <a:pt x="103" y="170"/>
                  </a:lnTo>
                  <a:lnTo>
                    <a:pt x="95" y="193"/>
                  </a:lnTo>
                  <a:lnTo>
                    <a:pt x="93" y="218"/>
                  </a:lnTo>
                  <a:lnTo>
                    <a:pt x="93" y="2181"/>
                  </a:lnTo>
                  <a:lnTo>
                    <a:pt x="95" y="2207"/>
                  </a:lnTo>
                  <a:lnTo>
                    <a:pt x="103" y="2230"/>
                  </a:lnTo>
                  <a:lnTo>
                    <a:pt x="114" y="2251"/>
                  </a:lnTo>
                  <a:lnTo>
                    <a:pt x="130" y="2269"/>
                  </a:lnTo>
                  <a:lnTo>
                    <a:pt x="148" y="2285"/>
                  </a:lnTo>
                  <a:lnTo>
                    <a:pt x="169" y="2297"/>
                  </a:lnTo>
                  <a:lnTo>
                    <a:pt x="193" y="2304"/>
                  </a:lnTo>
                  <a:lnTo>
                    <a:pt x="218" y="2306"/>
                  </a:lnTo>
                  <a:lnTo>
                    <a:pt x="454" y="2306"/>
                  </a:lnTo>
                  <a:lnTo>
                    <a:pt x="470" y="2308"/>
                  </a:lnTo>
                  <a:lnTo>
                    <a:pt x="482" y="2316"/>
                  </a:lnTo>
                  <a:lnTo>
                    <a:pt x="492" y="2325"/>
                  </a:lnTo>
                  <a:lnTo>
                    <a:pt x="499" y="2338"/>
                  </a:lnTo>
                  <a:lnTo>
                    <a:pt x="501" y="2353"/>
                  </a:lnTo>
                  <a:lnTo>
                    <a:pt x="499" y="2368"/>
                  </a:lnTo>
                  <a:lnTo>
                    <a:pt x="492" y="2380"/>
                  </a:lnTo>
                  <a:lnTo>
                    <a:pt x="482" y="2391"/>
                  </a:lnTo>
                  <a:lnTo>
                    <a:pt x="470" y="2397"/>
                  </a:lnTo>
                  <a:lnTo>
                    <a:pt x="454" y="2399"/>
                  </a:lnTo>
                  <a:lnTo>
                    <a:pt x="218" y="2399"/>
                  </a:lnTo>
                  <a:lnTo>
                    <a:pt x="182" y="2396"/>
                  </a:lnTo>
                  <a:lnTo>
                    <a:pt x="149" y="2389"/>
                  </a:lnTo>
                  <a:lnTo>
                    <a:pt x="117" y="2375"/>
                  </a:lnTo>
                  <a:lnTo>
                    <a:pt x="89" y="2357"/>
                  </a:lnTo>
                  <a:lnTo>
                    <a:pt x="64" y="2335"/>
                  </a:lnTo>
                  <a:lnTo>
                    <a:pt x="42" y="2310"/>
                  </a:lnTo>
                  <a:lnTo>
                    <a:pt x="24" y="2282"/>
                  </a:lnTo>
                  <a:lnTo>
                    <a:pt x="10" y="2251"/>
                  </a:lnTo>
                  <a:lnTo>
                    <a:pt x="2" y="2217"/>
                  </a:lnTo>
                  <a:lnTo>
                    <a:pt x="0" y="2181"/>
                  </a:lnTo>
                  <a:lnTo>
                    <a:pt x="0" y="218"/>
                  </a:lnTo>
                  <a:lnTo>
                    <a:pt x="2" y="182"/>
                  </a:lnTo>
                  <a:lnTo>
                    <a:pt x="10" y="149"/>
                  </a:lnTo>
                  <a:lnTo>
                    <a:pt x="24" y="118"/>
                  </a:lnTo>
                  <a:lnTo>
                    <a:pt x="42" y="89"/>
                  </a:lnTo>
                  <a:lnTo>
                    <a:pt x="64" y="64"/>
                  </a:lnTo>
                  <a:lnTo>
                    <a:pt x="89" y="42"/>
                  </a:lnTo>
                  <a:lnTo>
                    <a:pt x="117" y="24"/>
                  </a:lnTo>
                  <a:lnTo>
                    <a:pt x="149" y="12"/>
                  </a:lnTo>
                  <a:lnTo>
                    <a:pt x="182" y="3"/>
                  </a:lnTo>
                  <a:lnTo>
                    <a:pt x="218" y="0"/>
                  </a:lnTo>
                  <a:close/>
                </a:path>
              </a:pathLst>
            </a:custGeom>
            <a:solidFill>
              <a:schemeClr val="accent4">
                <a:lumMod val="20000"/>
                <a:lumOff val="80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Light"/>
                <a:ea typeface="+mn-ea"/>
                <a:cs typeface="+mn-cs"/>
              </a:endParaRPr>
            </a:p>
          </p:txBody>
        </p:sp>
        <p:sp>
          <p:nvSpPr>
            <p:cNvPr id="157" name="TextBox 156">
              <a:extLst>
                <a:ext uri="{FF2B5EF4-FFF2-40B4-BE49-F238E27FC236}">
                  <a16:creationId xmlns:a16="http://schemas.microsoft.com/office/drawing/2014/main" id="{EF53E8B5-A4FF-47A1-86B8-7442D5AC39C8}"/>
                </a:ext>
              </a:extLst>
            </p:cNvPr>
            <p:cNvSpPr txBox="1"/>
            <p:nvPr/>
          </p:nvSpPr>
          <p:spPr>
            <a:xfrm>
              <a:off x="3272538" y="3269230"/>
              <a:ext cx="541972" cy="169277"/>
            </a:xfrm>
            <a:prstGeom prst="rect">
              <a:avLst/>
            </a:prstGeom>
            <a:noFill/>
          </p:spPr>
          <p:txBody>
            <a:bodyPr wrap="square" rtlCol="0">
              <a:spAutoFit/>
            </a:bodyPr>
            <a:lstStyle/>
            <a:p>
              <a:pPr marL="0" marR="0" lvl="0" indent="0" algn="l" defTabSz="34289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CC32"/>
                  </a:solidFill>
                  <a:effectLst/>
                  <a:uLnTx/>
                  <a:uFillTx/>
                  <a:latin typeface="Calibri Light" panose="020F0302020204030204"/>
                  <a:ea typeface="+mn-ea"/>
                  <a:cs typeface="+mn-cs"/>
                </a:rPr>
                <a:t>Controller</a:t>
              </a:r>
            </a:p>
          </p:txBody>
        </p:sp>
        <p:sp>
          <p:nvSpPr>
            <p:cNvPr id="158" name="TextBox 157">
              <a:extLst>
                <a:ext uri="{FF2B5EF4-FFF2-40B4-BE49-F238E27FC236}">
                  <a16:creationId xmlns:a16="http://schemas.microsoft.com/office/drawing/2014/main" id="{64540C76-4722-478A-BAFF-627766D3B0DC}"/>
                </a:ext>
              </a:extLst>
            </p:cNvPr>
            <p:cNvSpPr txBox="1"/>
            <p:nvPr/>
          </p:nvSpPr>
          <p:spPr>
            <a:xfrm>
              <a:off x="3431230" y="3328646"/>
              <a:ext cx="439080" cy="169277"/>
            </a:xfrm>
            <a:prstGeom prst="rect">
              <a:avLst/>
            </a:prstGeom>
            <a:noFill/>
          </p:spPr>
          <p:txBody>
            <a:bodyPr wrap="square" rtlCol="0">
              <a:spAutoFit/>
            </a:bodyPr>
            <a:lstStyle/>
            <a:p>
              <a:pPr marL="0" marR="0" lvl="0" indent="0" algn="l" defTabSz="342892"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lumMod val="85000"/>
                    </a:srgbClr>
                  </a:solidFill>
                  <a:effectLst/>
                  <a:uLnTx/>
                  <a:uFillTx/>
                  <a:latin typeface="Calibri Light" panose="020F0302020204030204"/>
                  <a:ea typeface="+mn-ea"/>
                  <a:cs typeface="+mn-cs"/>
                </a:rPr>
                <a:t>Workers</a:t>
              </a:r>
            </a:p>
          </p:txBody>
        </p:sp>
        <p:sp>
          <p:nvSpPr>
            <p:cNvPr id="159" name="Freeform 6">
              <a:extLst>
                <a:ext uri="{FF2B5EF4-FFF2-40B4-BE49-F238E27FC236}">
                  <a16:creationId xmlns:a16="http://schemas.microsoft.com/office/drawing/2014/main" id="{5B0A9DBA-A0B1-467E-8BF5-4705ECD7D17A}"/>
                </a:ext>
              </a:extLst>
            </p:cNvPr>
            <p:cNvSpPr>
              <a:spLocks noChangeAspect="1" noEditPoints="1"/>
            </p:cNvSpPr>
            <p:nvPr/>
          </p:nvSpPr>
          <p:spPr bwMode="auto">
            <a:xfrm>
              <a:off x="3589992" y="3447815"/>
              <a:ext cx="86967" cy="175560"/>
            </a:xfrm>
            <a:custGeom>
              <a:avLst/>
              <a:gdLst>
                <a:gd name="T0" fmla="*/ 891 w 1714"/>
                <a:gd name="T1" fmla="*/ 3023 h 3456"/>
                <a:gd name="T2" fmla="*/ 894 w 1714"/>
                <a:gd name="T3" fmla="*/ 2711 h 3456"/>
                <a:gd name="T4" fmla="*/ 1018 w 1714"/>
                <a:gd name="T5" fmla="*/ 2849 h 3456"/>
                <a:gd name="T6" fmla="*/ 1018 w 1714"/>
                <a:gd name="T7" fmla="*/ 3065 h 3456"/>
                <a:gd name="T8" fmla="*/ 894 w 1714"/>
                <a:gd name="T9" fmla="*/ 3203 h 3456"/>
                <a:gd name="T10" fmla="*/ 702 w 1714"/>
                <a:gd name="T11" fmla="*/ 3161 h 3456"/>
                <a:gd name="T12" fmla="*/ 601 w 1714"/>
                <a:gd name="T13" fmla="*/ 2922 h 3456"/>
                <a:gd name="T14" fmla="*/ 704 w 1714"/>
                <a:gd name="T15" fmla="*/ 2753 h 3456"/>
                <a:gd name="T16" fmla="*/ 344 w 1714"/>
                <a:gd name="T17" fmla="*/ 1992 h 3456"/>
                <a:gd name="T18" fmla="*/ 381 w 1714"/>
                <a:gd name="T19" fmla="*/ 1862 h 3456"/>
                <a:gd name="T20" fmla="*/ 1374 w 1714"/>
                <a:gd name="T21" fmla="*/ 2112 h 3456"/>
                <a:gd name="T22" fmla="*/ 288 w 1714"/>
                <a:gd name="T23" fmla="*/ 1900 h 3456"/>
                <a:gd name="T24" fmla="*/ 1338 w 1714"/>
                <a:gd name="T25" fmla="*/ 1689 h 3456"/>
                <a:gd name="T26" fmla="*/ 1432 w 1714"/>
                <a:gd name="T27" fmla="*/ 1582 h 3456"/>
                <a:gd name="T28" fmla="*/ 307 w 1714"/>
                <a:gd name="T29" fmla="*/ 1764 h 3456"/>
                <a:gd name="T30" fmla="*/ 366 w 1714"/>
                <a:gd name="T31" fmla="*/ 1284 h 3456"/>
                <a:gd name="T32" fmla="*/ 1338 w 1714"/>
                <a:gd name="T33" fmla="*/ 1284 h 3456"/>
                <a:gd name="T34" fmla="*/ 1432 w 1714"/>
                <a:gd name="T35" fmla="*/ 1391 h 3456"/>
                <a:gd name="T36" fmla="*/ 253 w 1714"/>
                <a:gd name="T37" fmla="*/ 1292 h 3456"/>
                <a:gd name="T38" fmla="*/ 1328 w 1714"/>
                <a:gd name="T39" fmla="*/ 855 h 3456"/>
                <a:gd name="T40" fmla="*/ 991 w 1714"/>
                <a:gd name="T41" fmla="*/ 837 h 3456"/>
                <a:gd name="T42" fmla="*/ 672 w 1714"/>
                <a:gd name="T43" fmla="*/ 812 h 3456"/>
                <a:gd name="T44" fmla="*/ 371 w 1714"/>
                <a:gd name="T45" fmla="*/ 794 h 3456"/>
                <a:gd name="T46" fmla="*/ 384 w 1714"/>
                <a:gd name="T47" fmla="*/ 792 h 3456"/>
                <a:gd name="T48" fmla="*/ 1390 w 1714"/>
                <a:gd name="T49" fmla="*/ 940 h 3456"/>
                <a:gd name="T50" fmla="*/ 1270 w 1714"/>
                <a:gd name="T51" fmla="*/ 719 h 3456"/>
                <a:gd name="T52" fmla="*/ 1126 w 1714"/>
                <a:gd name="T53" fmla="*/ 895 h 3456"/>
                <a:gd name="T54" fmla="*/ 905 w 1714"/>
                <a:gd name="T55" fmla="*/ 775 h 3456"/>
                <a:gd name="T56" fmla="*/ 830 w 1714"/>
                <a:gd name="T57" fmla="*/ 824 h 3456"/>
                <a:gd name="T58" fmla="*/ 579 w 1714"/>
                <a:gd name="T59" fmla="*/ 850 h 3456"/>
                <a:gd name="T60" fmla="*/ 489 w 1714"/>
                <a:gd name="T61" fmla="*/ 754 h 3456"/>
                <a:gd name="T62" fmla="*/ 295 w 1714"/>
                <a:gd name="T63" fmla="*/ 914 h 3456"/>
                <a:gd name="T64" fmla="*/ 1317 w 1714"/>
                <a:gd name="T65" fmla="*/ 516 h 3456"/>
                <a:gd name="T66" fmla="*/ 1022 w 1714"/>
                <a:gd name="T67" fmla="*/ 507 h 3456"/>
                <a:gd name="T68" fmla="*/ 1035 w 1714"/>
                <a:gd name="T69" fmla="*/ 510 h 3456"/>
                <a:gd name="T70" fmla="*/ 733 w 1714"/>
                <a:gd name="T71" fmla="*/ 527 h 3456"/>
                <a:gd name="T72" fmla="*/ 414 w 1714"/>
                <a:gd name="T73" fmla="*/ 553 h 3456"/>
                <a:gd name="T74" fmla="*/ 1465 w 1714"/>
                <a:gd name="T75" fmla="*/ 566 h 3456"/>
                <a:gd name="T76" fmla="*/ 1214 w 1714"/>
                <a:gd name="T77" fmla="*/ 540 h 3456"/>
                <a:gd name="T78" fmla="*/ 1139 w 1714"/>
                <a:gd name="T79" fmla="*/ 491 h 3456"/>
                <a:gd name="T80" fmla="*/ 917 w 1714"/>
                <a:gd name="T81" fmla="*/ 611 h 3456"/>
                <a:gd name="T82" fmla="*/ 774 w 1714"/>
                <a:gd name="T83" fmla="*/ 436 h 3456"/>
                <a:gd name="T84" fmla="*/ 653 w 1714"/>
                <a:gd name="T85" fmla="*/ 657 h 3456"/>
                <a:gd name="T86" fmla="*/ 384 w 1714"/>
                <a:gd name="T87" fmla="*/ 414 h 3456"/>
                <a:gd name="T88" fmla="*/ 409 w 1714"/>
                <a:gd name="T89" fmla="*/ 664 h 3456"/>
                <a:gd name="T90" fmla="*/ 335 w 1714"/>
                <a:gd name="T91" fmla="*/ 424 h 3456"/>
                <a:gd name="T92" fmla="*/ 1714 w 1714"/>
                <a:gd name="T93" fmla="*/ 2181 h 3456"/>
                <a:gd name="T94" fmla="*/ 1245 w 1714"/>
                <a:gd name="T95" fmla="*/ 2435 h 3456"/>
                <a:gd name="T96" fmla="*/ 1702 w 1714"/>
                <a:gd name="T97" fmla="*/ 2655 h 3456"/>
                <a:gd name="T98" fmla="*/ 187 w 1714"/>
                <a:gd name="T99" fmla="*/ 3453 h 3456"/>
                <a:gd name="T100" fmla="*/ 65 w 1714"/>
                <a:gd name="T101" fmla="*/ 2568 h 3456"/>
                <a:gd name="T102" fmla="*/ 472 w 1714"/>
                <a:gd name="T103" fmla="*/ 2594 h 3456"/>
                <a:gd name="T104" fmla="*/ 131 w 1714"/>
                <a:gd name="T105" fmla="*/ 3325 h 3456"/>
                <a:gd name="T106" fmla="*/ 1617 w 1714"/>
                <a:gd name="T107" fmla="*/ 2699 h 3456"/>
                <a:gd name="T108" fmla="*/ 1152 w 1714"/>
                <a:gd name="T109" fmla="*/ 2480 h 3456"/>
                <a:gd name="T110" fmla="*/ 1598 w 1714"/>
                <a:gd name="T111" fmla="*/ 2251 h 3456"/>
                <a:gd name="T112" fmla="*/ 169 w 1714"/>
                <a:gd name="T113" fmla="*/ 104 h 3456"/>
                <a:gd name="T114" fmla="*/ 218 w 1714"/>
                <a:gd name="T115" fmla="*/ 2306 h 3456"/>
                <a:gd name="T116" fmla="*/ 117 w 1714"/>
                <a:gd name="T117" fmla="*/ 2375 h 3456"/>
                <a:gd name="T118" fmla="*/ 117 w 1714"/>
                <a:gd name="T119" fmla="*/ 24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4" h="3456">
                  <a:moveTo>
                    <a:pt x="853" y="2881"/>
                  </a:moveTo>
                  <a:lnTo>
                    <a:pt x="833" y="2883"/>
                  </a:lnTo>
                  <a:lnTo>
                    <a:pt x="814" y="2892"/>
                  </a:lnTo>
                  <a:lnTo>
                    <a:pt x="798" y="2903"/>
                  </a:lnTo>
                  <a:lnTo>
                    <a:pt x="787" y="2919"/>
                  </a:lnTo>
                  <a:lnTo>
                    <a:pt x="779" y="2937"/>
                  </a:lnTo>
                  <a:lnTo>
                    <a:pt x="776" y="2957"/>
                  </a:lnTo>
                  <a:lnTo>
                    <a:pt x="779" y="2977"/>
                  </a:lnTo>
                  <a:lnTo>
                    <a:pt x="787" y="2995"/>
                  </a:lnTo>
                  <a:lnTo>
                    <a:pt x="798" y="3011"/>
                  </a:lnTo>
                  <a:lnTo>
                    <a:pt x="814" y="3023"/>
                  </a:lnTo>
                  <a:lnTo>
                    <a:pt x="833" y="3031"/>
                  </a:lnTo>
                  <a:lnTo>
                    <a:pt x="853" y="3034"/>
                  </a:lnTo>
                  <a:lnTo>
                    <a:pt x="873" y="3031"/>
                  </a:lnTo>
                  <a:lnTo>
                    <a:pt x="891" y="3023"/>
                  </a:lnTo>
                  <a:lnTo>
                    <a:pt x="906" y="3011"/>
                  </a:lnTo>
                  <a:lnTo>
                    <a:pt x="919" y="2995"/>
                  </a:lnTo>
                  <a:lnTo>
                    <a:pt x="926" y="2977"/>
                  </a:lnTo>
                  <a:lnTo>
                    <a:pt x="929" y="2957"/>
                  </a:lnTo>
                  <a:lnTo>
                    <a:pt x="926" y="2937"/>
                  </a:lnTo>
                  <a:lnTo>
                    <a:pt x="919" y="2919"/>
                  </a:lnTo>
                  <a:lnTo>
                    <a:pt x="906" y="2903"/>
                  </a:lnTo>
                  <a:lnTo>
                    <a:pt x="891" y="2892"/>
                  </a:lnTo>
                  <a:lnTo>
                    <a:pt x="873" y="2883"/>
                  </a:lnTo>
                  <a:lnTo>
                    <a:pt x="853" y="2881"/>
                  </a:lnTo>
                  <a:close/>
                  <a:moveTo>
                    <a:pt x="817" y="2706"/>
                  </a:moveTo>
                  <a:lnTo>
                    <a:pt x="887" y="2706"/>
                  </a:lnTo>
                  <a:lnTo>
                    <a:pt x="890" y="2707"/>
                  </a:lnTo>
                  <a:lnTo>
                    <a:pt x="893" y="2709"/>
                  </a:lnTo>
                  <a:lnTo>
                    <a:pt x="894" y="2711"/>
                  </a:lnTo>
                  <a:lnTo>
                    <a:pt x="894" y="2763"/>
                  </a:lnTo>
                  <a:lnTo>
                    <a:pt x="917" y="2770"/>
                  </a:lnTo>
                  <a:lnTo>
                    <a:pt x="940" y="2778"/>
                  </a:lnTo>
                  <a:lnTo>
                    <a:pt x="962" y="2791"/>
                  </a:lnTo>
                  <a:lnTo>
                    <a:pt x="997" y="2754"/>
                  </a:lnTo>
                  <a:lnTo>
                    <a:pt x="999" y="2753"/>
                  </a:lnTo>
                  <a:lnTo>
                    <a:pt x="1002" y="2753"/>
                  </a:lnTo>
                  <a:lnTo>
                    <a:pt x="1004" y="2753"/>
                  </a:lnTo>
                  <a:lnTo>
                    <a:pt x="1006" y="2754"/>
                  </a:lnTo>
                  <a:lnTo>
                    <a:pt x="1055" y="2805"/>
                  </a:lnTo>
                  <a:lnTo>
                    <a:pt x="1056" y="2807"/>
                  </a:lnTo>
                  <a:lnTo>
                    <a:pt x="1057" y="2809"/>
                  </a:lnTo>
                  <a:lnTo>
                    <a:pt x="1056" y="2811"/>
                  </a:lnTo>
                  <a:lnTo>
                    <a:pt x="1055" y="2812"/>
                  </a:lnTo>
                  <a:lnTo>
                    <a:pt x="1018" y="2849"/>
                  </a:lnTo>
                  <a:lnTo>
                    <a:pt x="1031" y="2870"/>
                  </a:lnTo>
                  <a:lnTo>
                    <a:pt x="1040" y="2893"/>
                  </a:lnTo>
                  <a:lnTo>
                    <a:pt x="1047" y="2917"/>
                  </a:lnTo>
                  <a:lnTo>
                    <a:pt x="1098" y="2917"/>
                  </a:lnTo>
                  <a:lnTo>
                    <a:pt x="1101" y="2918"/>
                  </a:lnTo>
                  <a:lnTo>
                    <a:pt x="1103" y="2920"/>
                  </a:lnTo>
                  <a:lnTo>
                    <a:pt x="1104" y="2922"/>
                  </a:lnTo>
                  <a:lnTo>
                    <a:pt x="1104" y="2992"/>
                  </a:lnTo>
                  <a:lnTo>
                    <a:pt x="1103" y="2995"/>
                  </a:lnTo>
                  <a:lnTo>
                    <a:pt x="1101" y="2997"/>
                  </a:lnTo>
                  <a:lnTo>
                    <a:pt x="1098" y="2997"/>
                  </a:lnTo>
                  <a:lnTo>
                    <a:pt x="1047" y="2997"/>
                  </a:lnTo>
                  <a:lnTo>
                    <a:pt x="1040" y="3021"/>
                  </a:lnTo>
                  <a:lnTo>
                    <a:pt x="1031" y="3044"/>
                  </a:lnTo>
                  <a:lnTo>
                    <a:pt x="1018" y="3065"/>
                  </a:lnTo>
                  <a:lnTo>
                    <a:pt x="1055" y="3102"/>
                  </a:lnTo>
                  <a:lnTo>
                    <a:pt x="1056" y="3104"/>
                  </a:lnTo>
                  <a:lnTo>
                    <a:pt x="1057" y="3106"/>
                  </a:lnTo>
                  <a:lnTo>
                    <a:pt x="1056" y="3108"/>
                  </a:lnTo>
                  <a:lnTo>
                    <a:pt x="1055" y="3109"/>
                  </a:lnTo>
                  <a:lnTo>
                    <a:pt x="1006" y="3160"/>
                  </a:lnTo>
                  <a:lnTo>
                    <a:pt x="1004" y="3161"/>
                  </a:lnTo>
                  <a:lnTo>
                    <a:pt x="1002" y="3161"/>
                  </a:lnTo>
                  <a:lnTo>
                    <a:pt x="999" y="3161"/>
                  </a:lnTo>
                  <a:lnTo>
                    <a:pt x="997" y="3160"/>
                  </a:lnTo>
                  <a:lnTo>
                    <a:pt x="962" y="3123"/>
                  </a:lnTo>
                  <a:lnTo>
                    <a:pt x="940" y="3136"/>
                  </a:lnTo>
                  <a:lnTo>
                    <a:pt x="917" y="3145"/>
                  </a:lnTo>
                  <a:lnTo>
                    <a:pt x="894" y="3151"/>
                  </a:lnTo>
                  <a:lnTo>
                    <a:pt x="894" y="3203"/>
                  </a:lnTo>
                  <a:lnTo>
                    <a:pt x="893" y="3206"/>
                  </a:lnTo>
                  <a:lnTo>
                    <a:pt x="890" y="3208"/>
                  </a:lnTo>
                  <a:lnTo>
                    <a:pt x="887" y="3208"/>
                  </a:lnTo>
                  <a:lnTo>
                    <a:pt x="817" y="3208"/>
                  </a:lnTo>
                  <a:lnTo>
                    <a:pt x="815" y="3208"/>
                  </a:lnTo>
                  <a:lnTo>
                    <a:pt x="813" y="3206"/>
                  </a:lnTo>
                  <a:lnTo>
                    <a:pt x="812" y="3203"/>
                  </a:lnTo>
                  <a:lnTo>
                    <a:pt x="812" y="3151"/>
                  </a:lnTo>
                  <a:lnTo>
                    <a:pt x="788" y="3145"/>
                  </a:lnTo>
                  <a:lnTo>
                    <a:pt x="766" y="3136"/>
                  </a:lnTo>
                  <a:lnTo>
                    <a:pt x="744" y="3123"/>
                  </a:lnTo>
                  <a:lnTo>
                    <a:pt x="708" y="3160"/>
                  </a:lnTo>
                  <a:lnTo>
                    <a:pt x="706" y="3161"/>
                  </a:lnTo>
                  <a:lnTo>
                    <a:pt x="704" y="3161"/>
                  </a:lnTo>
                  <a:lnTo>
                    <a:pt x="702" y="3161"/>
                  </a:lnTo>
                  <a:lnTo>
                    <a:pt x="700" y="3160"/>
                  </a:lnTo>
                  <a:lnTo>
                    <a:pt x="650" y="3109"/>
                  </a:lnTo>
                  <a:lnTo>
                    <a:pt x="649" y="3108"/>
                  </a:lnTo>
                  <a:lnTo>
                    <a:pt x="648" y="3106"/>
                  </a:lnTo>
                  <a:lnTo>
                    <a:pt x="649" y="3104"/>
                  </a:lnTo>
                  <a:lnTo>
                    <a:pt x="650" y="3102"/>
                  </a:lnTo>
                  <a:lnTo>
                    <a:pt x="686" y="3065"/>
                  </a:lnTo>
                  <a:lnTo>
                    <a:pt x="674" y="3044"/>
                  </a:lnTo>
                  <a:lnTo>
                    <a:pt x="665" y="3021"/>
                  </a:lnTo>
                  <a:lnTo>
                    <a:pt x="659" y="2997"/>
                  </a:lnTo>
                  <a:lnTo>
                    <a:pt x="606" y="2997"/>
                  </a:lnTo>
                  <a:lnTo>
                    <a:pt x="604" y="2997"/>
                  </a:lnTo>
                  <a:lnTo>
                    <a:pt x="602" y="2995"/>
                  </a:lnTo>
                  <a:lnTo>
                    <a:pt x="601" y="2992"/>
                  </a:lnTo>
                  <a:lnTo>
                    <a:pt x="601" y="2922"/>
                  </a:lnTo>
                  <a:lnTo>
                    <a:pt x="602" y="2920"/>
                  </a:lnTo>
                  <a:lnTo>
                    <a:pt x="604" y="2918"/>
                  </a:lnTo>
                  <a:lnTo>
                    <a:pt x="606" y="2917"/>
                  </a:lnTo>
                  <a:lnTo>
                    <a:pt x="659" y="2917"/>
                  </a:lnTo>
                  <a:lnTo>
                    <a:pt x="665" y="2893"/>
                  </a:lnTo>
                  <a:lnTo>
                    <a:pt x="674" y="2870"/>
                  </a:lnTo>
                  <a:lnTo>
                    <a:pt x="686" y="2849"/>
                  </a:lnTo>
                  <a:lnTo>
                    <a:pt x="650" y="2812"/>
                  </a:lnTo>
                  <a:lnTo>
                    <a:pt x="649" y="2811"/>
                  </a:lnTo>
                  <a:lnTo>
                    <a:pt x="648" y="2809"/>
                  </a:lnTo>
                  <a:lnTo>
                    <a:pt x="649" y="2807"/>
                  </a:lnTo>
                  <a:lnTo>
                    <a:pt x="650" y="2805"/>
                  </a:lnTo>
                  <a:lnTo>
                    <a:pt x="700" y="2754"/>
                  </a:lnTo>
                  <a:lnTo>
                    <a:pt x="702" y="2753"/>
                  </a:lnTo>
                  <a:lnTo>
                    <a:pt x="704" y="2753"/>
                  </a:lnTo>
                  <a:lnTo>
                    <a:pt x="706" y="2753"/>
                  </a:lnTo>
                  <a:lnTo>
                    <a:pt x="708" y="2754"/>
                  </a:lnTo>
                  <a:lnTo>
                    <a:pt x="744" y="2791"/>
                  </a:lnTo>
                  <a:lnTo>
                    <a:pt x="766" y="2778"/>
                  </a:lnTo>
                  <a:lnTo>
                    <a:pt x="788" y="2770"/>
                  </a:lnTo>
                  <a:lnTo>
                    <a:pt x="812" y="2763"/>
                  </a:lnTo>
                  <a:lnTo>
                    <a:pt x="812" y="2711"/>
                  </a:lnTo>
                  <a:lnTo>
                    <a:pt x="813" y="2709"/>
                  </a:lnTo>
                  <a:lnTo>
                    <a:pt x="815" y="2707"/>
                  </a:lnTo>
                  <a:lnTo>
                    <a:pt x="817" y="2706"/>
                  </a:lnTo>
                  <a:close/>
                  <a:moveTo>
                    <a:pt x="381" y="1955"/>
                  </a:moveTo>
                  <a:lnTo>
                    <a:pt x="366" y="1958"/>
                  </a:lnTo>
                  <a:lnTo>
                    <a:pt x="354" y="1967"/>
                  </a:lnTo>
                  <a:lnTo>
                    <a:pt x="347" y="1978"/>
                  </a:lnTo>
                  <a:lnTo>
                    <a:pt x="344" y="1992"/>
                  </a:lnTo>
                  <a:lnTo>
                    <a:pt x="347" y="2007"/>
                  </a:lnTo>
                  <a:lnTo>
                    <a:pt x="354" y="2018"/>
                  </a:lnTo>
                  <a:lnTo>
                    <a:pt x="366" y="2026"/>
                  </a:lnTo>
                  <a:lnTo>
                    <a:pt x="381" y="2029"/>
                  </a:lnTo>
                  <a:lnTo>
                    <a:pt x="1324" y="2029"/>
                  </a:lnTo>
                  <a:lnTo>
                    <a:pt x="1338" y="2026"/>
                  </a:lnTo>
                  <a:lnTo>
                    <a:pt x="1350" y="2018"/>
                  </a:lnTo>
                  <a:lnTo>
                    <a:pt x="1357" y="2007"/>
                  </a:lnTo>
                  <a:lnTo>
                    <a:pt x="1360" y="1992"/>
                  </a:lnTo>
                  <a:lnTo>
                    <a:pt x="1357" y="1978"/>
                  </a:lnTo>
                  <a:lnTo>
                    <a:pt x="1350" y="1967"/>
                  </a:lnTo>
                  <a:lnTo>
                    <a:pt x="1338" y="1958"/>
                  </a:lnTo>
                  <a:lnTo>
                    <a:pt x="1324" y="1955"/>
                  </a:lnTo>
                  <a:lnTo>
                    <a:pt x="381" y="1955"/>
                  </a:lnTo>
                  <a:close/>
                  <a:moveTo>
                    <a:pt x="381" y="1862"/>
                  </a:moveTo>
                  <a:lnTo>
                    <a:pt x="1324" y="1862"/>
                  </a:lnTo>
                  <a:lnTo>
                    <a:pt x="1350" y="1865"/>
                  </a:lnTo>
                  <a:lnTo>
                    <a:pt x="1374" y="1873"/>
                  </a:lnTo>
                  <a:lnTo>
                    <a:pt x="1397" y="1884"/>
                  </a:lnTo>
                  <a:lnTo>
                    <a:pt x="1416" y="1900"/>
                  </a:lnTo>
                  <a:lnTo>
                    <a:pt x="1432" y="1920"/>
                  </a:lnTo>
                  <a:lnTo>
                    <a:pt x="1444" y="1942"/>
                  </a:lnTo>
                  <a:lnTo>
                    <a:pt x="1452" y="1966"/>
                  </a:lnTo>
                  <a:lnTo>
                    <a:pt x="1454" y="1992"/>
                  </a:lnTo>
                  <a:lnTo>
                    <a:pt x="1452" y="2018"/>
                  </a:lnTo>
                  <a:lnTo>
                    <a:pt x="1444" y="2043"/>
                  </a:lnTo>
                  <a:lnTo>
                    <a:pt x="1432" y="2065"/>
                  </a:lnTo>
                  <a:lnTo>
                    <a:pt x="1416" y="2084"/>
                  </a:lnTo>
                  <a:lnTo>
                    <a:pt x="1397" y="2100"/>
                  </a:lnTo>
                  <a:lnTo>
                    <a:pt x="1374" y="2112"/>
                  </a:lnTo>
                  <a:lnTo>
                    <a:pt x="1350" y="2120"/>
                  </a:lnTo>
                  <a:lnTo>
                    <a:pt x="1324" y="2123"/>
                  </a:lnTo>
                  <a:lnTo>
                    <a:pt x="381" y="2123"/>
                  </a:lnTo>
                  <a:lnTo>
                    <a:pt x="354" y="2120"/>
                  </a:lnTo>
                  <a:lnTo>
                    <a:pt x="330" y="2112"/>
                  </a:lnTo>
                  <a:lnTo>
                    <a:pt x="307" y="2100"/>
                  </a:lnTo>
                  <a:lnTo>
                    <a:pt x="288" y="2084"/>
                  </a:lnTo>
                  <a:lnTo>
                    <a:pt x="273" y="2065"/>
                  </a:lnTo>
                  <a:lnTo>
                    <a:pt x="260" y="2043"/>
                  </a:lnTo>
                  <a:lnTo>
                    <a:pt x="253" y="2018"/>
                  </a:lnTo>
                  <a:lnTo>
                    <a:pt x="251" y="1992"/>
                  </a:lnTo>
                  <a:lnTo>
                    <a:pt x="253" y="1966"/>
                  </a:lnTo>
                  <a:lnTo>
                    <a:pt x="260" y="1942"/>
                  </a:lnTo>
                  <a:lnTo>
                    <a:pt x="273" y="1920"/>
                  </a:lnTo>
                  <a:lnTo>
                    <a:pt x="288" y="1900"/>
                  </a:lnTo>
                  <a:lnTo>
                    <a:pt x="307" y="1884"/>
                  </a:lnTo>
                  <a:lnTo>
                    <a:pt x="330" y="1873"/>
                  </a:lnTo>
                  <a:lnTo>
                    <a:pt x="354" y="1865"/>
                  </a:lnTo>
                  <a:lnTo>
                    <a:pt x="381" y="1862"/>
                  </a:lnTo>
                  <a:close/>
                  <a:moveTo>
                    <a:pt x="381" y="1619"/>
                  </a:moveTo>
                  <a:lnTo>
                    <a:pt x="366" y="1621"/>
                  </a:lnTo>
                  <a:lnTo>
                    <a:pt x="354" y="1630"/>
                  </a:lnTo>
                  <a:lnTo>
                    <a:pt x="347" y="1641"/>
                  </a:lnTo>
                  <a:lnTo>
                    <a:pt x="344" y="1656"/>
                  </a:lnTo>
                  <a:lnTo>
                    <a:pt x="347" y="1669"/>
                  </a:lnTo>
                  <a:lnTo>
                    <a:pt x="354" y="1681"/>
                  </a:lnTo>
                  <a:lnTo>
                    <a:pt x="366" y="1689"/>
                  </a:lnTo>
                  <a:lnTo>
                    <a:pt x="381" y="1692"/>
                  </a:lnTo>
                  <a:lnTo>
                    <a:pt x="1324" y="1692"/>
                  </a:lnTo>
                  <a:lnTo>
                    <a:pt x="1338" y="1689"/>
                  </a:lnTo>
                  <a:lnTo>
                    <a:pt x="1350" y="1681"/>
                  </a:lnTo>
                  <a:lnTo>
                    <a:pt x="1357" y="1669"/>
                  </a:lnTo>
                  <a:lnTo>
                    <a:pt x="1360" y="1656"/>
                  </a:lnTo>
                  <a:lnTo>
                    <a:pt x="1357" y="1641"/>
                  </a:lnTo>
                  <a:lnTo>
                    <a:pt x="1350" y="1630"/>
                  </a:lnTo>
                  <a:lnTo>
                    <a:pt x="1338" y="1621"/>
                  </a:lnTo>
                  <a:lnTo>
                    <a:pt x="1324" y="1619"/>
                  </a:lnTo>
                  <a:lnTo>
                    <a:pt x="381" y="1619"/>
                  </a:lnTo>
                  <a:close/>
                  <a:moveTo>
                    <a:pt x="381" y="1525"/>
                  </a:moveTo>
                  <a:lnTo>
                    <a:pt x="1324" y="1525"/>
                  </a:lnTo>
                  <a:lnTo>
                    <a:pt x="1350" y="1528"/>
                  </a:lnTo>
                  <a:lnTo>
                    <a:pt x="1374" y="1535"/>
                  </a:lnTo>
                  <a:lnTo>
                    <a:pt x="1397" y="1548"/>
                  </a:lnTo>
                  <a:lnTo>
                    <a:pt x="1416" y="1564"/>
                  </a:lnTo>
                  <a:lnTo>
                    <a:pt x="1432" y="1582"/>
                  </a:lnTo>
                  <a:lnTo>
                    <a:pt x="1444" y="1604"/>
                  </a:lnTo>
                  <a:lnTo>
                    <a:pt x="1452" y="1630"/>
                  </a:lnTo>
                  <a:lnTo>
                    <a:pt x="1454" y="1656"/>
                  </a:lnTo>
                  <a:lnTo>
                    <a:pt x="1452" y="1682"/>
                  </a:lnTo>
                  <a:lnTo>
                    <a:pt x="1444" y="1706"/>
                  </a:lnTo>
                  <a:lnTo>
                    <a:pt x="1432" y="1727"/>
                  </a:lnTo>
                  <a:lnTo>
                    <a:pt x="1416" y="1747"/>
                  </a:lnTo>
                  <a:lnTo>
                    <a:pt x="1397" y="1764"/>
                  </a:lnTo>
                  <a:lnTo>
                    <a:pt x="1374" y="1775"/>
                  </a:lnTo>
                  <a:lnTo>
                    <a:pt x="1350" y="1782"/>
                  </a:lnTo>
                  <a:lnTo>
                    <a:pt x="1324" y="1786"/>
                  </a:lnTo>
                  <a:lnTo>
                    <a:pt x="381" y="1786"/>
                  </a:lnTo>
                  <a:lnTo>
                    <a:pt x="354" y="1782"/>
                  </a:lnTo>
                  <a:lnTo>
                    <a:pt x="330" y="1775"/>
                  </a:lnTo>
                  <a:lnTo>
                    <a:pt x="307" y="1764"/>
                  </a:lnTo>
                  <a:lnTo>
                    <a:pt x="288" y="1747"/>
                  </a:lnTo>
                  <a:lnTo>
                    <a:pt x="273" y="1727"/>
                  </a:lnTo>
                  <a:lnTo>
                    <a:pt x="260" y="1706"/>
                  </a:lnTo>
                  <a:lnTo>
                    <a:pt x="253" y="1682"/>
                  </a:lnTo>
                  <a:lnTo>
                    <a:pt x="251" y="1656"/>
                  </a:lnTo>
                  <a:lnTo>
                    <a:pt x="253" y="1630"/>
                  </a:lnTo>
                  <a:lnTo>
                    <a:pt x="260" y="1604"/>
                  </a:lnTo>
                  <a:lnTo>
                    <a:pt x="273" y="1582"/>
                  </a:lnTo>
                  <a:lnTo>
                    <a:pt x="288" y="1564"/>
                  </a:lnTo>
                  <a:lnTo>
                    <a:pt x="307" y="1548"/>
                  </a:lnTo>
                  <a:lnTo>
                    <a:pt x="330" y="1535"/>
                  </a:lnTo>
                  <a:lnTo>
                    <a:pt x="354" y="1528"/>
                  </a:lnTo>
                  <a:lnTo>
                    <a:pt x="381" y="1525"/>
                  </a:lnTo>
                  <a:close/>
                  <a:moveTo>
                    <a:pt x="381" y="1282"/>
                  </a:moveTo>
                  <a:lnTo>
                    <a:pt x="366" y="1284"/>
                  </a:lnTo>
                  <a:lnTo>
                    <a:pt x="354" y="1292"/>
                  </a:lnTo>
                  <a:lnTo>
                    <a:pt x="347" y="1304"/>
                  </a:lnTo>
                  <a:lnTo>
                    <a:pt x="344" y="1319"/>
                  </a:lnTo>
                  <a:lnTo>
                    <a:pt x="347" y="1332"/>
                  </a:lnTo>
                  <a:lnTo>
                    <a:pt x="354" y="1345"/>
                  </a:lnTo>
                  <a:lnTo>
                    <a:pt x="366" y="1352"/>
                  </a:lnTo>
                  <a:lnTo>
                    <a:pt x="381" y="1355"/>
                  </a:lnTo>
                  <a:lnTo>
                    <a:pt x="1324" y="1355"/>
                  </a:lnTo>
                  <a:lnTo>
                    <a:pt x="1338" y="1352"/>
                  </a:lnTo>
                  <a:lnTo>
                    <a:pt x="1350" y="1345"/>
                  </a:lnTo>
                  <a:lnTo>
                    <a:pt x="1357" y="1332"/>
                  </a:lnTo>
                  <a:lnTo>
                    <a:pt x="1360" y="1319"/>
                  </a:lnTo>
                  <a:lnTo>
                    <a:pt x="1357" y="1304"/>
                  </a:lnTo>
                  <a:lnTo>
                    <a:pt x="1350" y="1292"/>
                  </a:lnTo>
                  <a:lnTo>
                    <a:pt x="1338" y="1284"/>
                  </a:lnTo>
                  <a:lnTo>
                    <a:pt x="1324" y="1282"/>
                  </a:lnTo>
                  <a:lnTo>
                    <a:pt x="381" y="1282"/>
                  </a:lnTo>
                  <a:close/>
                  <a:moveTo>
                    <a:pt x="381" y="1188"/>
                  </a:moveTo>
                  <a:lnTo>
                    <a:pt x="1324" y="1188"/>
                  </a:lnTo>
                  <a:lnTo>
                    <a:pt x="1350" y="1191"/>
                  </a:lnTo>
                  <a:lnTo>
                    <a:pt x="1374" y="1198"/>
                  </a:lnTo>
                  <a:lnTo>
                    <a:pt x="1397" y="1211"/>
                  </a:lnTo>
                  <a:lnTo>
                    <a:pt x="1416" y="1226"/>
                  </a:lnTo>
                  <a:lnTo>
                    <a:pt x="1432" y="1245"/>
                  </a:lnTo>
                  <a:lnTo>
                    <a:pt x="1444" y="1267"/>
                  </a:lnTo>
                  <a:lnTo>
                    <a:pt x="1452" y="1292"/>
                  </a:lnTo>
                  <a:lnTo>
                    <a:pt x="1454" y="1319"/>
                  </a:lnTo>
                  <a:lnTo>
                    <a:pt x="1452" y="1345"/>
                  </a:lnTo>
                  <a:lnTo>
                    <a:pt x="1444" y="1369"/>
                  </a:lnTo>
                  <a:lnTo>
                    <a:pt x="1432" y="1391"/>
                  </a:lnTo>
                  <a:lnTo>
                    <a:pt x="1416" y="1411"/>
                  </a:lnTo>
                  <a:lnTo>
                    <a:pt x="1397" y="1426"/>
                  </a:lnTo>
                  <a:lnTo>
                    <a:pt x="1374" y="1438"/>
                  </a:lnTo>
                  <a:lnTo>
                    <a:pt x="1350" y="1445"/>
                  </a:lnTo>
                  <a:lnTo>
                    <a:pt x="1324" y="1448"/>
                  </a:lnTo>
                  <a:lnTo>
                    <a:pt x="381" y="1448"/>
                  </a:lnTo>
                  <a:lnTo>
                    <a:pt x="354" y="1445"/>
                  </a:lnTo>
                  <a:lnTo>
                    <a:pt x="330" y="1438"/>
                  </a:lnTo>
                  <a:lnTo>
                    <a:pt x="307" y="1426"/>
                  </a:lnTo>
                  <a:lnTo>
                    <a:pt x="288" y="1411"/>
                  </a:lnTo>
                  <a:lnTo>
                    <a:pt x="273" y="1391"/>
                  </a:lnTo>
                  <a:lnTo>
                    <a:pt x="260" y="1369"/>
                  </a:lnTo>
                  <a:lnTo>
                    <a:pt x="253" y="1345"/>
                  </a:lnTo>
                  <a:lnTo>
                    <a:pt x="251" y="1319"/>
                  </a:lnTo>
                  <a:lnTo>
                    <a:pt x="253" y="1292"/>
                  </a:lnTo>
                  <a:lnTo>
                    <a:pt x="260" y="1267"/>
                  </a:lnTo>
                  <a:lnTo>
                    <a:pt x="273" y="1245"/>
                  </a:lnTo>
                  <a:lnTo>
                    <a:pt x="288" y="1226"/>
                  </a:lnTo>
                  <a:lnTo>
                    <a:pt x="307" y="1211"/>
                  </a:lnTo>
                  <a:lnTo>
                    <a:pt x="330" y="1198"/>
                  </a:lnTo>
                  <a:lnTo>
                    <a:pt x="354" y="1191"/>
                  </a:lnTo>
                  <a:lnTo>
                    <a:pt x="381" y="1188"/>
                  </a:lnTo>
                  <a:close/>
                  <a:moveTo>
                    <a:pt x="1341" y="792"/>
                  </a:moveTo>
                  <a:lnTo>
                    <a:pt x="1328" y="794"/>
                  </a:lnTo>
                  <a:lnTo>
                    <a:pt x="1317" y="801"/>
                  </a:lnTo>
                  <a:lnTo>
                    <a:pt x="1311" y="812"/>
                  </a:lnTo>
                  <a:lnTo>
                    <a:pt x="1308" y="824"/>
                  </a:lnTo>
                  <a:lnTo>
                    <a:pt x="1311" y="837"/>
                  </a:lnTo>
                  <a:lnTo>
                    <a:pt x="1317" y="847"/>
                  </a:lnTo>
                  <a:lnTo>
                    <a:pt x="1328" y="855"/>
                  </a:lnTo>
                  <a:lnTo>
                    <a:pt x="1341" y="858"/>
                  </a:lnTo>
                  <a:lnTo>
                    <a:pt x="1354" y="855"/>
                  </a:lnTo>
                  <a:lnTo>
                    <a:pt x="1364" y="847"/>
                  </a:lnTo>
                  <a:lnTo>
                    <a:pt x="1371" y="837"/>
                  </a:lnTo>
                  <a:lnTo>
                    <a:pt x="1374" y="824"/>
                  </a:lnTo>
                  <a:lnTo>
                    <a:pt x="1371" y="812"/>
                  </a:lnTo>
                  <a:lnTo>
                    <a:pt x="1364" y="801"/>
                  </a:lnTo>
                  <a:lnTo>
                    <a:pt x="1354" y="794"/>
                  </a:lnTo>
                  <a:lnTo>
                    <a:pt x="1341" y="792"/>
                  </a:lnTo>
                  <a:close/>
                  <a:moveTo>
                    <a:pt x="1022" y="792"/>
                  </a:moveTo>
                  <a:lnTo>
                    <a:pt x="1009" y="794"/>
                  </a:lnTo>
                  <a:lnTo>
                    <a:pt x="998" y="801"/>
                  </a:lnTo>
                  <a:lnTo>
                    <a:pt x="991" y="812"/>
                  </a:lnTo>
                  <a:lnTo>
                    <a:pt x="989" y="824"/>
                  </a:lnTo>
                  <a:lnTo>
                    <a:pt x="991" y="837"/>
                  </a:lnTo>
                  <a:lnTo>
                    <a:pt x="998" y="847"/>
                  </a:lnTo>
                  <a:lnTo>
                    <a:pt x="1009" y="855"/>
                  </a:lnTo>
                  <a:lnTo>
                    <a:pt x="1022" y="858"/>
                  </a:lnTo>
                  <a:lnTo>
                    <a:pt x="1035" y="855"/>
                  </a:lnTo>
                  <a:lnTo>
                    <a:pt x="1046" y="847"/>
                  </a:lnTo>
                  <a:lnTo>
                    <a:pt x="1052" y="837"/>
                  </a:lnTo>
                  <a:lnTo>
                    <a:pt x="1055" y="824"/>
                  </a:lnTo>
                  <a:lnTo>
                    <a:pt x="1052" y="812"/>
                  </a:lnTo>
                  <a:lnTo>
                    <a:pt x="1046" y="801"/>
                  </a:lnTo>
                  <a:lnTo>
                    <a:pt x="1035" y="794"/>
                  </a:lnTo>
                  <a:lnTo>
                    <a:pt x="1022" y="792"/>
                  </a:lnTo>
                  <a:close/>
                  <a:moveTo>
                    <a:pt x="703" y="792"/>
                  </a:moveTo>
                  <a:lnTo>
                    <a:pt x="690" y="794"/>
                  </a:lnTo>
                  <a:lnTo>
                    <a:pt x="680" y="801"/>
                  </a:lnTo>
                  <a:lnTo>
                    <a:pt x="672" y="812"/>
                  </a:lnTo>
                  <a:lnTo>
                    <a:pt x="670" y="824"/>
                  </a:lnTo>
                  <a:lnTo>
                    <a:pt x="672" y="837"/>
                  </a:lnTo>
                  <a:lnTo>
                    <a:pt x="680" y="847"/>
                  </a:lnTo>
                  <a:lnTo>
                    <a:pt x="690" y="855"/>
                  </a:lnTo>
                  <a:lnTo>
                    <a:pt x="703" y="858"/>
                  </a:lnTo>
                  <a:lnTo>
                    <a:pt x="715" y="855"/>
                  </a:lnTo>
                  <a:lnTo>
                    <a:pt x="726" y="847"/>
                  </a:lnTo>
                  <a:lnTo>
                    <a:pt x="733" y="837"/>
                  </a:lnTo>
                  <a:lnTo>
                    <a:pt x="736" y="824"/>
                  </a:lnTo>
                  <a:lnTo>
                    <a:pt x="733" y="812"/>
                  </a:lnTo>
                  <a:lnTo>
                    <a:pt x="726" y="801"/>
                  </a:lnTo>
                  <a:lnTo>
                    <a:pt x="715" y="794"/>
                  </a:lnTo>
                  <a:lnTo>
                    <a:pt x="703" y="792"/>
                  </a:lnTo>
                  <a:close/>
                  <a:moveTo>
                    <a:pt x="384" y="792"/>
                  </a:moveTo>
                  <a:lnTo>
                    <a:pt x="371" y="794"/>
                  </a:lnTo>
                  <a:lnTo>
                    <a:pt x="361" y="801"/>
                  </a:lnTo>
                  <a:lnTo>
                    <a:pt x="353" y="812"/>
                  </a:lnTo>
                  <a:lnTo>
                    <a:pt x="351" y="824"/>
                  </a:lnTo>
                  <a:lnTo>
                    <a:pt x="353" y="837"/>
                  </a:lnTo>
                  <a:lnTo>
                    <a:pt x="361" y="847"/>
                  </a:lnTo>
                  <a:lnTo>
                    <a:pt x="371" y="855"/>
                  </a:lnTo>
                  <a:lnTo>
                    <a:pt x="384" y="858"/>
                  </a:lnTo>
                  <a:lnTo>
                    <a:pt x="396" y="855"/>
                  </a:lnTo>
                  <a:lnTo>
                    <a:pt x="407" y="847"/>
                  </a:lnTo>
                  <a:lnTo>
                    <a:pt x="414" y="837"/>
                  </a:lnTo>
                  <a:lnTo>
                    <a:pt x="416" y="824"/>
                  </a:lnTo>
                  <a:lnTo>
                    <a:pt x="414" y="812"/>
                  </a:lnTo>
                  <a:lnTo>
                    <a:pt x="407" y="801"/>
                  </a:lnTo>
                  <a:lnTo>
                    <a:pt x="396" y="794"/>
                  </a:lnTo>
                  <a:lnTo>
                    <a:pt x="384" y="792"/>
                  </a:lnTo>
                  <a:close/>
                  <a:moveTo>
                    <a:pt x="1341" y="699"/>
                  </a:moveTo>
                  <a:lnTo>
                    <a:pt x="1367" y="701"/>
                  </a:lnTo>
                  <a:lnTo>
                    <a:pt x="1390" y="708"/>
                  </a:lnTo>
                  <a:lnTo>
                    <a:pt x="1412" y="719"/>
                  </a:lnTo>
                  <a:lnTo>
                    <a:pt x="1431" y="735"/>
                  </a:lnTo>
                  <a:lnTo>
                    <a:pt x="1446" y="754"/>
                  </a:lnTo>
                  <a:lnTo>
                    <a:pt x="1458" y="775"/>
                  </a:lnTo>
                  <a:lnTo>
                    <a:pt x="1465" y="799"/>
                  </a:lnTo>
                  <a:lnTo>
                    <a:pt x="1467" y="824"/>
                  </a:lnTo>
                  <a:lnTo>
                    <a:pt x="1465" y="850"/>
                  </a:lnTo>
                  <a:lnTo>
                    <a:pt x="1458" y="873"/>
                  </a:lnTo>
                  <a:lnTo>
                    <a:pt x="1446" y="895"/>
                  </a:lnTo>
                  <a:lnTo>
                    <a:pt x="1431" y="914"/>
                  </a:lnTo>
                  <a:lnTo>
                    <a:pt x="1412" y="929"/>
                  </a:lnTo>
                  <a:lnTo>
                    <a:pt x="1390" y="940"/>
                  </a:lnTo>
                  <a:lnTo>
                    <a:pt x="1367" y="948"/>
                  </a:lnTo>
                  <a:lnTo>
                    <a:pt x="1341" y="951"/>
                  </a:lnTo>
                  <a:lnTo>
                    <a:pt x="1315" y="948"/>
                  </a:lnTo>
                  <a:lnTo>
                    <a:pt x="1292" y="940"/>
                  </a:lnTo>
                  <a:lnTo>
                    <a:pt x="1270" y="929"/>
                  </a:lnTo>
                  <a:lnTo>
                    <a:pt x="1251" y="914"/>
                  </a:lnTo>
                  <a:lnTo>
                    <a:pt x="1237" y="895"/>
                  </a:lnTo>
                  <a:lnTo>
                    <a:pt x="1224" y="873"/>
                  </a:lnTo>
                  <a:lnTo>
                    <a:pt x="1217" y="850"/>
                  </a:lnTo>
                  <a:lnTo>
                    <a:pt x="1214" y="824"/>
                  </a:lnTo>
                  <a:lnTo>
                    <a:pt x="1217" y="799"/>
                  </a:lnTo>
                  <a:lnTo>
                    <a:pt x="1224" y="775"/>
                  </a:lnTo>
                  <a:lnTo>
                    <a:pt x="1237" y="754"/>
                  </a:lnTo>
                  <a:lnTo>
                    <a:pt x="1251" y="735"/>
                  </a:lnTo>
                  <a:lnTo>
                    <a:pt x="1270" y="719"/>
                  </a:lnTo>
                  <a:lnTo>
                    <a:pt x="1292" y="708"/>
                  </a:lnTo>
                  <a:lnTo>
                    <a:pt x="1315" y="701"/>
                  </a:lnTo>
                  <a:lnTo>
                    <a:pt x="1341" y="699"/>
                  </a:lnTo>
                  <a:close/>
                  <a:moveTo>
                    <a:pt x="1022" y="699"/>
                  </a:moveTo>
                  <a:lnTo>
                    <a:pt x="1048" y="701"/>
                  </a:lnTo>
                  <a:lnTo>
                    <a:pt x="1071" y="708"/>
                  </a:lnTo>
                  <a:lnTo>
                    <a:pt x="1093" y="719"/>
                  </a:lnTo>
                  <a:lnTo>
                    <a:pt x="1112" y="735"/>
                  </a:lnTo>
                  <a:lnTo>
                    <a:pt x="1126" y="754"/>
                  </a:lnTo>
                  <a:lnTo>
                    <a:pt x="1139" y="775"/>
                  </a:lnTo>
                  <a:lnTo>
                    <a:pt x="1146" y="799"/>
                  </a:lnTo>
                  <a:lnTo>
                    <a:pt x="1148" y="824"/>
                  </a:lnTo>
                  <a:lnTo>
                    <a:pt x="1146" y="850"/>
                  </a:lnTo>
                  <a:lnTo>
                    <a:pt x="1139" y="873"/>
                  </a:lnTo>
                  <a:lnTo>
                    <a:pt x="1126" y="895"/>
                  </a:lnTo>
                  <a:lnTo>
                    <a:pt x="1112" y="914"/>
                  </a:lnTo>
                  <a:lnTo>
                    <a:pt x="1093" y="929"/>
                  </a:lnTo>
                  <a:lnTo>
                    <a:pt x="1071" y="940"/>
                  </a:lnTo>
                  <a:lnTo>
                    <a:pt x="1048" y="948"/>
                  </a:lnTo>
                  <a:lnTo>
                    <a:pt x="1022" y="951"/>
                  </a:lnTo>
                  <a:lnTo>
                    <a:pt x="996" y="948"/>
                  </a:lnTo>
                  <a:lnTo>
                    <a:pt x="972" y="940"/>
                  </a:lnTo>
                  <a:lnTo>
                    <a:pt x="951" y="929"/>
                  </a:lnTo>
                  <a:lnTo>
                    <a:pt x="932" y="914"/>
                  </a:lnTo>
                  <a:lnTo>
                    <a:pt x="917" y="895"/>
                  </a:lnTo>
                  <a:lnTo>
                    <a:pt x="905" y="873"/>
                  </a:lnTo>
                  <a:lnTo>
                    <a:pt x="898" y="850"/>
                  </a:lnTo>
                  <a:lnTo>
                    <a:pt x="896" y="824"/>
                  </a:lnTo>
                  <a:lnTo>
                    <a:pt x="898" y="799"/>
                  </a:lnTo>
                  <a:lnTo>
                    <a:pt x="905" y="775"/>
                  </a:lnTo>
                  <a:lnTo>
                    <a:pt x="917" y="754"/>
                  </a:lnTo>
                  <a:lnTo>
                    <a:pt x="932" y="735"/>
                  </a:lnTo>
                  <a:lnTo>
                    <a:pt x="951" y="719"/>
                  </a:lnTo>
                  <a:lnTo>
                    <a:pt x="972" y="708"/>
                  </a:lnTo>
                  <a:lnTo>
                    <a:pt x="996" y="701"/>
                  </a:lnTo>
                  <a:lnTo>
                    <a:pt x="1022" y="699"/>
                  </a:lnTo>
                  <a:close/>
                  <a:moveTo>
                    <a:pt x="703" y="699"/>
                  </a:moveTo>
                  <a:lnTo>
                    <a:pt x="728" y="701"/>
                  </a:lnTo>
                  <a:lnTo>
                    <a:pt x="752" y="708"/>
                  </a:lnTo>
                  <a:lnTo>
                    <a:pt x="774" y="719"/>
                  </a:lnTo>
                  <a:lnTo>
                    <a:pt x="792" y="735"/>
                  </a:lnTo>
                  <a:lnTo>
                    <a:pt x="808" y="754"/>
                  </a:lnTo>
                  <a:lnTo>
                    <a:pt x="819" y="775"/>
                  </a:lnTo>
                  <a:lnTo>
                    <a:pt x="826" y="799"/>
                  </a:lnTo>
                  <a:lnTo>
                    <a:pt x="830" y="824"/>
                  </a:lnTo>
                  <a:lnTo>
                    <a:pt x="826" y="850"/>
                  </a:lnTo>
                  <a:lnTo>
                    <a:pt x="819" y="873"/>
                  </a:lnTo>
                  <a:lnTo>
                    <a:pt x="808" y="895"/>
                  </a:lnTo>
                  <a:lnTo>
                    <a:pt x="792" y="914"/>
                  </a:lnTo>
                  <a:lnTo>
                    <a:pt x="774" y="929"/>
                  </a:lnTo>
                  <a:lnTo>
                    <a:pt x="752" y="940"/>
                  </a:lnTo>
                  <a:lnTo>
                    <a:pt x="728" y="948"/>
                  </a:lnTo>
                  <a:lnTo>
                    <a:pt x="703" y="951"/>
                  </a:lnTo>
                  <a:lnTo>
                    <a:pt x="678" y="948"/>
                  </a:lnTo>
                  <a:lnTo>
                    <a:pt x="653" y="940"/>
                  </a:lnTo>
                  <a:lnTo>
                    <a:pt x="632" y="929"/>
                  </a:lnTo>
                  <a:lnTo>
                    <a:pt x="614" y="914"/>
                  </a:lnTo>
                  <a:lnTo>
                    <a:pt x="598" y="895"/>
                  </a:lnTo>
                  <a:lnTo>
                    <a:pt x="586" y="873"/>
                  </a:lnTo>
                  <a:lnTo>
                    <a:pt x="579" y="850"/>
                  </a:lnTo>
                  <a:lnTo>
                    <a:pt x="577" y="824"/>
                  </a:lnTo>
                  <a:lnTo>
                    <a:pt x="579" y="799"/>
                  </a:lnTo>
                  <a:lnTo>
                    <a:pt x="586" y="775"/>
                  </a:lnTo>
                  <a:lnTo>
                    <a:pt x="598" y="754"/>
                  </a:lnTo>
                  <a:lnTo>
                    <a:pt x="614" y="735"/>
                  </a:lnTo>
                  <a:lnTo>
                    <a:pt x="632" y="719"/>
                  </a:lnTo>
                  <a:lnTo>
                    <a:pt x="653" y="708"/>
                  </a:lnTo>
                  <a:lnTo>
                    <a:pt x="678" y="701"/>
                  </a:lnTo>
                  <a:lnTo>
                    <a:pt x="703" y="699"/>
                  </a:lnTo>
                  <a:close/>
                  <a:moveTo>
                    <a:pt x="384" y="699"/>
                  </a:moveTo>
                  <a:lnTo>
                    <a:pt x="409" y="701"/>
                  </a:lnTo>
                  <a:lnTo>
                    <a:pt x="433" y="708"/>
                  </a:lnTo>
                  <a:lnTo>
                    <a:pt x="454" y="719"/>
                  </a:lnTo>
                  <a:lnTo>
                    <a:pt x="473" y="735"/>
                  </a:lnTo>
                  <a:lnTo>
                    <a:pt x="489" y="754"/>
                  </a:lnTo>
                  <a:lnTo>
                    <a:pt x="500" y="775"/>
                  </a:lnTo>
                  <a:lnTo>
                    <a:pt x="508" y="799"/>
                  </a:lnTo>
                  <a:lnTo>
                    <a:pt x="511" y="824"/>
                  </a:lnTo>
                  <a:lnTo>
                    <a:pt x="508" y="850"/>
                  </a:lnTo>
                  <a:lnTo>
                    <a:pt x="500" y="873"/>
                  </a:lnTo>
                  <a:lnTo>
                    <a:pt x="489" y="895"/>
                  </a:lnTo>
                  <a:lnTo>
                    <a:pt x="473" y="914"/>
                  </a:lnTo>
                  <a:lnTo>
                    <a:pt x="454" y="929"/>
                  </a:lnTo>
                  <a:lnTo>
                    <a:pt x="433" y="940"/>
                  </a:lnTo>
                  <a:lnTo>
                    <a:pt x="409" y="948"/>
                  </a:lnTo>
                  <a:lnTo>
                    <a:pt x="384" y="951"/>
                  </a:lnTo>
                  <a:lnTo>
                    <a:pt x="359" y="948"/>
                  </a:lnTo>
                  <a:lnTo>
                    <a:pt x="335" y="940"/>
                  </a:lnTo>
                  <a:lnTo>
                    <a:pt x="314" y="929"/>
                  </a:lnTo>
                  <a:lnTo>
                    <a:pt x="295" y="914"/>
                  </a:lnTo>
                  <a:lnTo>
                    <a:pt x="279" y="895"/>
                  </a:lnTo>
                  <a:lnTo>
                    <a:pt x="267" y="873"/>
                  </a:lnTo>
                  <a:lnTo>
                    <a:pt x="260" y="850"/>
                  </a:lnTo>
                  <a:lnTo>
                    <a:pt x="257" y="824"/>
                  </a:lnTo>
                  <a:lnTo>
                    <a:pt x="260" y="799"/>
                  </a:lnTo>
                  <a:lnTo>
                    <a:pt x="267" y="775"/>
                  </a:lnTo>
                  <a:lnTo>
                    <a:pt x="279" y="754"/>
                  </a:lnTo>
                  <a:lnTo>
                    <a:pt x="295" y="735"/>
                  </a:lnTo>
                  <a:lnTo>
                    <a:pt x="314" y="719"/>
                  </a:lnTo>
                  <a:lnTo>
                    <a:pt x="335" y="708"/>
                  </a:lnTo>
                  <a:lnTo>
                    <a:pt x="359" y="701"/>
                  </a:lnTo>
                  <a:lnTo>
                    <a:pt x="384" y="699"/>
                  </a:lnTo>
                  <a:close/>
                  <a:moveTo>
                    <a:pt x="1341" y="507"/>
                  </a:moveTo>
                  <a:lnTo>
                    <a:pt x="1328" y="510"/>
                  </a:lnTo>
                  <a:lnTo>
                    <a:pt x="1317" y="516"/>
                  </a:lnTo>
                  <a:lnTo>
                    <a:pt x="1311" y="527"/>
                  </a:lnTo>
                  <a:lnTo>
                    <a:pt x="1308" y="540"/>
                  </a:lnTo>
                  <a:lnTo>
                    <a:pt x="1311" y="553"/>
                  </a:lnTo>
                  <a:lnTo>
                    <a:pt x="1317" y="563"/>
                  </a:lnTo>
                  <a:lnTo>
                    <a:pt x="1328" y="571"/>
                  </a:lnTo>
                  <a:lnTo>
                    <a:pt x="1341" y="573"/>
                  </a:lnTo>
                  <a:lnTo>
                    <a:pt x="1354" y="571"/>
                  </a:lnTo>
                  <a:lnTo>
                    <a:pt x="1364" y="563"/>
                  </a:lnTo>
                  <a:lnTo>
                    <a:pt x="1371" y="553"/>
                  </a:lnTo>
                  <a:lnTo>
                    <a:pt x="1374" y="540"/>
                  </a:lnTo>
                  <a:lnTo>
                    <a:pt x="1371" y="527"/>
                  </a:lnTo>
                  <a:lnTo>
                    <a:pt x="1364" y="516"/>
                  </a:lnTo>
                  <a:lnTo>
                    <a:pt x="1354" y="510"/>
                  </a:lnTo>
                  <a:lnTo>
                    <a:pt x="1341" y="507"/>
                  </a:lnTo>
                  <a:close/>
                  <a:moveTo>
                    <a:pt x="1022" y="507"/>
                  </a:moveTo>
                  <a:lnTo>
                    <a:pt x="1009" y="510"/>
                  </a:lnTo>
                  <a:lnTo>
                    <a:pt x="998" y="516"/>
                  </a:lnTo>
                  <a:lnTo>
                    <a:pt x="991" y="527"/>
                  </a:lnTo>
                  <a:lnTo>
                    <a:pt x="989" y="540"/>
                  </a:lnTo>
                  <a:lnTo>
                    <a:pt x="991" y="553"/>
                  </a:lnTo>
                  <a:lnTo>
                    <a:pt x="998" y="563"/>
                  </a:lnTo>
                  <a:lnTo>
                    <a:pt x="1009" y="571"/>
                  </a:lnTo>
                  <a:lnTo>
                    <a:pt x="1022" y="573"/>
                  </a:lnTo>
                  <a:lnTo>
                    <a:pt x="1035" y="571"/>
                  </a:lnTo>
                  <a:lnTo>
                    <a:pt x="1046" y="563"/>
                  </a:lnTo>
                  <a:lnTo>
                    <a:pt x="1052" y="553"/>
                  </a:lnTo>
                  <a:lnTo>
                    <a:pt x="1055" y="540"/>
                  </a:lnTo>
                  <a:lnTo>
                    <a:pt x="1052" y="527"/>
                  </a:lnTo>
                  <a:lnTo>
                    <a:pt x="1046" y="516"/>
                  </a:lnTo>
                  <a:lnTo>
                    <a:pt x="1035" y="510"/>
                  </a:lnTo>
                  <a:lnTo>
                    <a:pt x="1022" y="507"/>
                  </a:lnTo>
                  <a:close/>
                  <a:moveTo>
                    <a:pt x="703" y="507"/>
                  </a:moveTo>
                  <a:lnTo>
                    <a:pt x="690" y="510"/>
                  </a:lnTo>
                  <a:lnTo>
                    <a:pt x="680" y="516"/>
                  </a:lnTo>
                  <a:lnTo>
                    <a:pt x="672" y="527"/>
                  </a:lnTo>
                  <a:lnTo>
                    <a:pt x="670" y="540"/>
                  </a:lnTo>
                  <a:lnTo>
                    <a:pt x="672" y="553"/>
                  </a:lnTo>
                  <a:lnTo>
                    <a:pt x="680" y="563"/>
                  </a:lnTo>
                  <a:lnTo>
                    <a:pt x="690" y="571"/>
                  </a:lnTo>
                  <a:lnTo>
                    <a:pt x="703" y="573"/>
                  </a:lnTo>
                  <a:lnTo>
                    <a:pt x="715" y="571"/>
                  </a:lnTo>
                  <a:lnTo>
                    <a:pt x="726" y="563"/>
                  </a:lnTo>
                  <a:lnTo>
                    <a:pt x="733" y="553"/>
                  </a:lnTo>
                  <a:lnTo>
                    <a:pt x="736" y="540"/>
                  </a:lnTo>
                  <a:lnTo>
                    <a:pt x="733" y="527"/>
                  </a:lnTo>
                  <a:lnTo>
                    <a:pt x="726" y="516"/>
                  </a:lnTo>
                  <a:lnTo>
                    <a:pt x="715" y="510"/>
                  </a:lnTo>
                  <a:lnTo>
                    <a:pt x="703" y="507"/>
                  </a:lnTo>
                  <a:close/>
                  <a:moveTo>
                    <a:pt x="384" y="507"/>
                  </a:moveTo>
                  <a:lnTo>
                    <a:pt x="371" y="510"/>
                  </a:lnTo>
                  <a:lnTo>
                    <a:pt x="361" y="516"/>
                  </a:lnTo>
                  <a:lnTo>
                    <a:pt x="353" y="527"/>
                  </a:lnTo>
                  <a:lnTo>
                    <a:pt x="351" y="540"/>
                  </a:lnTo>
                  <a:lnTo>
                    <a:pt x="353" y="553"/>
                  </a:lnTo>
                  <a:lnTo>
                    <a:pt x="361" y="563"/>
                  </a:lnTo>
                  <a:lnTo>
                    <a:pt x="371" y="571"/>
                  </a:lnTo>
                  <a:lnTo>
                    <a:pt x="384" y="573"/>
                  </a:lnTo>
                  <a:lnTo>
                    <a:pt x="396" y="571"/>
                  </a:lnTo>
                  <a:lnTo>
                    <a:pt x="407" y="563"/>
                  </a:lnTo>
                  <a:lnTo>
                    <a:pt x="414" y="553"/>
                  </a:lnTo>
                  <a:lnTo>
                    <a:pt x="416" y="540"/>
                  </a:lnTo>
                  <a:lnTo>
                    <a:pt x="414" y="527"/>
                  </a:lnTo>
                  <a:lnTo>
                    <a:pt x="407" y="516"/>
                  </a:lnTo>
                  <a:lnTo>
                    <a:pt x="396" y="510"/>
                  </a:lnTo>
                  <a:lnTo>
                    <a:pt x="384" y="507"/>
                  </a:lnTo>
                  <a:close/>
                  <a:moveTo>
                    <a:pt x="1341" y="414"/>
                  </a:moveTo>
                  <a:lnTo>
                    <a:pt x="1367" y="417"/>
                  </a:lnTo>
                  <a:lnTo>
                    <a:pt x="1390" y="424"/>
                  </a:lnTo>
                  <a:lnTo>
                    <a:pt x="1412" y="436"/>
                  </a:lnTo>
                  <a:lnTo>
                    <a:pt x="1431" y="450"/>
                  </a:lnTo>
                  <a:lnTo>
                    <a:pt x="1446" y="469"/>
                  </a:lnTo>
                  <a:lnTo>
                    <a:pt x="1458" y="491"/>
                  </a:lnTo>
                  <a:lnTo>
                    <a:pt x="1465" y="514"/>
                  </a:lnTo>
                  <a:lnTo>
                    <a:pt x="1467" y="540"/>
                  </a:lnTo>
                  <a:lnTo>
                    <a:pt x="1465" y="566"/>
                  </a:lnTo>
                  <a:lnTo>
                    <a:pt x="1458" y="590"/>
                  </a:lnTo>
                  <a:lnTo>
                    <a:pt x="1446" y="611"/>
                  </a:lnTo>
                  <a:lnTo>
                    <a:pt x="1431" y="629"/>
                  </a:lnTo>
                  <a:lnTo>
                    <a:pt x="1412" y="645"/>
                  </a:lnTo>
                  <a:lnTo>
                    <a:pt x="1390" y="657"/>
                  </a:lnTo>
                  <a:lnTo>
                    <a:pt x="1367" y="664"/>
                  </a:lnTo>
                  <a:lnTo>
                    <a:pt x="1341" y="666"/>
                  </a:lnTo>
                  <a:lnTo>
                    <a:pt x="1315" y="664"/>
                  </a:lnTo>
                  <a:lnTo>
                    <a:pt x="1292" y="657"/>
                  </a:lnTo>
                  <a:lnTo>
                    <a:pt x="1270" y="645"/>
                  </a:lnTo>
                  <a:lnTo>
                    <a:pt x="1251" y="629"/>
                  </a:lnTo>
                  <a:lnTo>
                    <a:pt x="1237" y="611"/>
                  </a:lnTo>
                  <a:lnTo>
                    <a:pt x="1224" y="590"/>
                  </a:lnTo>
                  <a:lnTo>
                    <a:pt x="1217" y="566"/>
                  </a:lnTo>
                  <a:lnTo>
                    <a:pt x="1214" y="540"/>
                  </a:lnTo>
                  <a:lnTo>
                    <a:pt x="1217" y="514"/>
                  </a:lnTo>
                  <a:lnTo>
                    <a:pt x="1224" y="491"/>
                  </a:lnTo>
                  <a:lnTo>
                    <a:pt x="1237" y="469"/>
                  </a:lnTo>
                  <a:lnTo>
                    <a:pt x="1251" y="450"/>
                  </a:lnTo>
                  <a:lnTo>
                    <a:pt x="1270" y="436"/>
                  </a:lnTo>
                  <a:lnTo>
                    <a:pt x="1292" y="424"/>
                  </a:lnTo>
                  <a:lnTo>
                    <a:pt x="1315" y="417"/>
                  </a:lnTo>
                  <a:lnTo>
                    <a:pt x="1341" y="414"/>
                  </a:lnTo>
                  <a:close/>
                  <a:moveTo>
                    <a:pt x="1022" y="414"/>
                  </a:moveTo>
                  <a:lnTo>
                    <a:pt x="1048" y="417"/>
                  </a:lnTo>
                  <a:lnTo>
                    <a:pt x="1071" y="424"/>
                  </a:lnTo>
                  <a:lnTo>
                    <a:pt x="1093" y="436"/>
                  </a:lnTo>
                  <a:lnTo>
                    <a:pt x="1112" y="450"/>
                  </a:lnTo>
                  <a:lnTo>
                    <a:pt x="1126" y="469"/>
                  </a:lnTo>
                  <a:lnTo>
                    <a:pt x="1139" y="491"/>
                  </a:lnTo>
                  <a:lnTo>
                    <a:pt x="1146" y="514"/>
                  </a:lnTo>
                  <a:lnTo>
                    <a:pt x="1148" y="540"/>
                  </a:lnTo>
                  <a:lnTo>
                    <a:pt x="1146" y="566"/>
                  </a:lnTo>
                  <a:lnTo>
                    <a:pt x="1139" y="590"/>
                  </a:lnTo>
                  <a:lnTo>
                    <a:pt x="1126" y="611"/>
                  </a:lnTo>
                  <a:lnTo>
                    <a:pt x="1112" y="629"/>
                  </a:lnTo>
                  <a:lnTo>
                    <a:pt x="1093" y="645"/>
                  </a:lnTo>
                  <a:lnTo>
                    <a:pt x="1071" y="657"/>
                  </a:lnTo>
                  <a:lnTo>
                    <a:pt x="1048" y="664"/>
                  </a:lnTo>
                  <a:lnTo>
                    <a:pt x="1022" y="666"/>
                  </a:lnTo>
                  <a:lnTo>
                    <a:pt x="996" y="664"/>
                  </a:lnTo>
                  <a:lnTo>
                    <a:pt x="972" y="657"/>
                  </a:lnTo>
                  <a:lnTo>
                    <a:pt x="951" y="645"/>
                  </a:lnTo>
                  <a:lnTo>
                    <a:pt x="932" y="629"/>
                  </a:lnTo>
                  <a:lnTo>
                    <a:pt x="917" y="611"/>
                  </a:lnTo>
                  <a:lnTo>
                    <a:pt x="905" y="590"/>
                  </a:lnTo>
                  <a:lnTo>
                    <a:pt x="898" y="566"/>
                  </a:lnTo>
                  <a:lnTo>
                    <a:pt x="896" y="540"/>
                  </a:lnTo>
                  <a:lnTo>
                    <a:pt x="898" y="514"/>
                  </a:lnTo>
                  <a:lnTo>
                    <a:pt x="905" y="491"/>
                  </a:lnTo>
                  <a:lnTo>
                    <a:pt x="917" y="469"/>
                  </a:lnTo>
                  <a:lnTo>
                    <a:pt x="932" y="450"/>
                  </a:lnTo>
                  <a:lnTo>
                    <a:pt x="951" y="436"/>
                  </a:lnTo>
                  <a:lnTo>
                    <a:pt x="972" y="424"/>
                  </a:lnTo>
                  <a:lnTo>
                    <a:pt x="996" y="417"/>
                  </a:lnTo>
                  <a:lnTo>
                    <a:pt x="1022" y="414"/>
                  </a:lnTo>
                  <a:close/>
                  <a:moveTo>
                    <a:pt x="703" y="414"/>
                  </a:moveTo>
                  <a:lnTo>
                    <a:pt x="728" y="417"/>
                  </a:lnTo>
                  <a:lnTo>
                    <a:pt x="752" y="424"/>
                  </a:lnTo>
                  <a:lnTo>
                    <a:pt x="774" y="436"/>
                  </a:lnTo>
                  <a:lnTo>
                    <a:pt x="792" y="450"/>
                  </a:lnTo>
                  <a:lnTo>
                    <a:pt x="808" y="469"/>
                  </a:lnTo>
                  <a:lnTo>
                    <a:pt x="819" y="491"/>
                  </a:lnTo>
                  <a:lnTo>
                    <a:pt x="826" y="514"/>
                  </a:lnTo>
                  <a:lnTo>
                    <a:pt x="830" y="540"/>
                  </a:lnTo>
                  <a:lnTo>
                    <a:pt x="826" y="566"/>
                  </a:lnTo>
                  <a:lnTo>
                    <a:pt x="819" y="590"/>
                  </a:lnTo>
                  <a:lnTo>
                    <a:pt x="808" y="611"/>
                  </a:lnTo>
                  <a:lnTo>
                    <a:pt x="792" y="629"/>
                  </a:lnTo>
                  <a:lnTo>
                    <a:pt x="774" y="645"/>
                  </a:lnTo>
                  <a:lnTo>
                    <a:pt x="752" y="657"/>
                  </a:lnTo>
                  <a:lnTo>
                    <a:pt x="728" y="664"/>
                  </a:lnTo>
                  <a:lnTo>
                    <a:pt x="703" y="666"/>
                  </a:lnTo>
                  <a:lnTo>
                    <a:pt x="678" y="664"/>
                  </a:lnTo>
                  <a:lnTo>
                    <a:pt x="653" y="657"/>
                  </a:lnTo>
                  <a:lnTo>
                    <a:pt x="632" y="645"/>
                  </a:lnTo>
                  <a:lnTo>
                    <a:pt x="614" y="629"/>
                  </a:lnTo>
                  <a:lnTo>
                    <a:pt x="598" y="611"/>
                  </a:lnTo>
                  <a:lnTo>
                    <a:pt x="586" y="590"/>
                  </a:lnTo>
                  <a:lnTo>
                    <a:pt x="579" y="566"/>
                  </a:lnTo>
                  <a:lnTo>
                    <a:pt x="577" y="540"/>
                  </a:lnTo>
                  <a:lnTo>
                    <a:pt x="579" y="514"/>
                  </a:lnTo>
                  <a:lnTo>
                    <a:pt x="586" y="491"/>
                  </a:lnTo>
                  <a:lnTo>
                    <a:pt x="598" y="469"/>
                  </a:lnTo>
                  <a:lnTo>
                    <a:pt x="614" y="450"/>
                  </a:lnTo>
                  <a:lnTo>
                    <a:pt x="632" y="436"/>
                  </a:lnTo>
                  <a:lnTo>
                    <a:pt x="653" y="424"/>
                  </a:lnTo>
                  <a:lnTo>
                    <a:pt x="678" y="417"/>
                  </a:lnTo>
                  <a:lnTo>
                    <a:pt x="703" y="414"/>
                  </a:lnTo>
                  <a:close/>
                  <a:moveTo>
                    <a:pt x="384" y="414"/>
                  </a:moveTo>
                  <a:lnTo>
                    <a:pt x="409" y="417"/>
                  </a:lnTo>
                  <a:lnTo>
                    <a:pt x="433" y="424"/>
                  </a:lnTo>
                  <a:lnTo>
                    <a:pt x="454" y="436"/>
                  </a:lnTo>
                  <a:lnTo>
                    <a:pt x="473" y="450"/>
                  </a:lnTo>
                  <a:lnTo>
                    <a:pt x="489" y="469"/>
                  </a:lnTo>
                  <a:lnTo>
                    <a:pt x="500" y="491"/>
                  </a:lnTo>
                  <a:lnTo>
                    <a:pt x="508" y="514"/>
                  </a:lnTo>
                  <a:lnTo>
                    <a:pt x="511" y="540"/>
                  </a:lnTo>
                  <a:lnTo>
                    <a:pt x="508" y="566"/>
                  </a:lnTo>
                  <a:lnTo>
                    <a:pt x="500" y="590"/>
                  </a:lnTo>
                  <a:lnTo>
                    <a:pt x="489" y="611"/>
                  </a:lnTo>
                  <a:lnTo>
                    <a:pt x="473" y="629"/>
                  </a:lnTo>
                  <a:lnTo>
                    <a:pt x="454" y="645"/>
                  </a:lnTo>
                  <a:lnTo>
                    <a:pt x="433" y="657"/>
                  </a:lnTo>
                  <a:lnTo>
                    <a:pt x="409" y="664"/>
                  </a:lnTo>
                  <a:lnTo>
                    <a:pt x="384" y="666"/>
                  </a:lnTo>
                  <a:lnTo>
                    <a:pt x="359" y="664"/>
                  </a:lnTo>
                  <a:lnTo>
                    <a:pt x="335" y="657"/>
                  </a:lnTo>
                  <a:lnTo>
                    <a:pt x="314" y="645"/>
                  </a:lnTo>
                  <a:lnTo>
                    <a:pt x="295" y="629"/>
                  </a:lnTo>
                  <a:lnTo>
                    <a:pt x="279" y="611"/>
                  </a:lnTo>
                  <a:lnTo>
                    <a:pt x="267" y="590"/>
                  </a:lnTo>
                  <a:lnTo>
                    <a:pt x="260" y="566"/>
                  </a:lnTo>
                  <a:lnTo>
                    <a:pt x="257" y="540"/>
                  </a:lnTo>
                  <a:lnTo>
                    <a:pt x="260" y="514"/>
                  </a:lnTo>
                  <a:lnTo>
                    <a:pt x="267" y="491"/>
                  </a:lnTo>
                  <a:lnTo>
                    <a:pt x="279" y="469"/>
                  </a:lnTo>
                  <a:lnTo>
                    <a:pt x="295" y="450"/>
                  </a:lnTo>
                  <a:lnTo>
                    <a:pt x="314" y="436"/>
                  </a:lnTo>
                  <a:lnTo>
                    <a:pt x="335" y="424"/>
                  </a:lnTo>
                  <a:lnTo>
                    <a:pt x="359" y="417"/>
                  </a:lnTo>
                  <a:lnTo>
                    <a:pt x="384" y="414"/>
                  </a:lnTo>
                  <a:close/>
                  <a:moveTo>
                    <a:pt x="218" y="0"/>
                  </a:moveTo>
                  <a:lnTo>
                    <a:pt x="1495" y="0"/>
                  </a:lnTo>
                  <a:lnTo>
                    <a:pt x="1530" y="3"/>
                  </a:lnTo>
                  <a:lnTo>
                    <a:pt x="1564" y="12"/>
                  </a:lnTo>
                  <a:lnTo>
                    <a:pt x="1595" y="24"/>
                  </a:lnTo>
                  <a:lnTo>
                    <a:pt x="1624" y="42"/>
                  </a:lnTo>
                  <a:lnTo>
                    <a:pt x="1650" y="64"/>
                  </a:lnTo>
                  <a:lnTo>
                    <a:pt x="1671" y="89"/>
                  </a:lnTo>
                  <a:lnTo>
                    <a:pt x="1689" y="118"/>
                  </a:lnTo>
                  <a:lnTo>
                    <a:pt x="1702" y="149"/>
                  </a:lnTo>
                  <a:lnTo>
                    <a:pt x="1711" y="182"/>
                  </a:lnTo>
                  <a:lnTo>
                    <a:pt x="1714" y="218"/>
                  </a:lnTo>
                  <a:lnTo>
                    <a:pt x="1714" y="2181"/>
                  </a:lnTo>
                  <a:lnTo>
                    <a:pt x="1711" y="2217"/>
                  </a:lnTo>
                  <a:lnTo>
                    <a:pt x="1702" y="2251"/>
                  </a:lnTo>
                  <a:lnTo>
                    <a:pt x="1689" y="2282"/>
                  </a:lnTo>
                  <a:lnTo>
                    <a:pt x="1671" y="2310"/>
                  </a:lnTo>
                  <a:lnTo>
                    <a:pt x="1650" y="2335"/>
                  </a:lnTo>
                  <a:lnTo>
                    <a:pt x="1624" y="2357"/>
                  </a:lnTo>
                  <a:lnTo>
                    <a:pt x="1595" y="2375"/>
                  </a:lnTo>
                  <a:lnTo>
                    <a:pt x="1564" y="2389"/>
                  </a:lnTo>
                  <a:lnTo>
                    <a:pt x="1530" y="2396"/>
                  </a:lnTo>
                  <a:lnTo>
                    <a:pt x="1495" y="2399"/>
                  </a:lnTo>
                  <a:lnTo>
                    <a:pt x="1293" y="2399"/>
                  </a:lnTo>
                  <a:lnTo>
                    <a:pt x="1277" y="2402"/>
                  </a:lnTo>
                  <a:lnTo>
                    <a:pt x="1263" y="2410"/>
                  </a:lnTo>
                  <a:lnTo>
                    <a:pt x="1252" y="2420"/>
                  </a:lnTo>
                  <a:lnTo>
                    <a:pt x="1245" y="2435"/>
                  </a:lnTo>
                  <a:lnTo>
                    <a:pt x="1242" y="2451"/>
                  </a:lnTo>
                  <a:lnTo>
                    <a:pt x="1245" y="2467"/>
                  </a:lnTo>
                  <a:lnTo>
                    <a:pt x="1252" y="2481"/>
                  </a:lnTo>
                  <a:lnTo>
                    <a:pt x="1263" y="2493"/>
                  </a:lnTo>
                  <a:lnTo>
                    <a:pt x="1277" y="2500"/>
                  </a:lnTo>
                  <a:lnTo>
                    <a:pt x="1293" y="2502"/>
                  </a:lnTo>
                  <a:lnTo>
                    <a:pt x="1490" y="2503"/>
                  </a:lnTo>
                  <a:lnTo>
                    <a:pt x="1526" y="2505"/>
                  </a:lnTo>
                  <a:lnTo>
                    <a:pt x="1561" y="2513"/>
                  </a:lnTo>
                  <a:lnTo>
                    <a:pt x="1593" y="2527"/>
                  </a:lnTo>
                  <a:lnTo>
                    <a:pt x="1621" y="2546"/>
                  </a:lnTo>
                  <a:lnTo>
                    <a:pt x="1648" y="2568"/>
                  </a:lnTo>
                  <a:lnTo>
                    <a:pt x="1670" y="2594"/>
                  </a:lnTo>
                  <a:lnTo>
                    <a:pt x="1689" y="2623"/>
                  </a:lnTo>
                  <a:lnTo>
                    <a:pt x="1702" y="2655"/>
                  </a:lnTo>
                  <a:lnTo>
                    <a:pt x="1711" y="2689"/>
                  </a:lnTo>
                  <a:lnTo>
                    <a:pt x="1714" y="2725"/>
                  </a:lnTo>
                  <a:lnTo>
                    <a:pt x="1714" y="3233"/>
                  </a:lnTo>
                  <a:lnTo>
                    <a:pt x="1711" y="3270"/>
                  </a:lnTo>
                  <a:lnTo>
                    <a:pt x="1702" y="3303"/>
                  </a:lnTo>
                  <a:lnTo>
                    <a:pt x="1689" y="3336"/>
                  </a:lnTo>
                  <a:lnTo>
                    <a:pt x="1670" y="3365"/>
                  </a:lnTo>
                  <a:lnTo>
                    <a:pt x="1648" y="3391"/>
                  </a:lnTo>
                  <a:lnTo>
                    <a:pt x="1621" y="3413"/>
                  </a:lnTo>
                  <a:lnTo>
                    <a:pt x="1593" y="3431"/>
                  </a:lnTo>
                  <a:lnTo>
                    <a:pt x="1561" y="3444"/>
                  </a:lnTo>
                  <a:lnTo>
                    <a:pt x="1526" y="3453"/>
                  </a:lnTo>
                  <a:lnTo>
                    <a:pt x="1490" y="3456"/>
                  </a:lnTo>
                  <a:lnTo>
                    <a:pt x="222" y="3456"/>
                  </a:lnTo>
                  <a:lnTo>
                    <a:pt x="187" y="3453"/>
                  </a:lnTo>
                  <a:lnTo>
                    <a:pt x="152" y="3444"/>
                  </a:lnTo>
                  <a:lnTo>
                    <a:pt x="121" y="3431"/>
                  </a:lnTo>
                  <a:lnTo>
                    <a:pt x="91" y="3413"/>
                  </a:lnTo>
                  <a:lnTo>
                    <a:pt x="65" y="3391"/>
                  </a:lnTo>
                  <a:lnTo>
                    <a:pt x="43" y="3365"/>
                  </a:lnTo>
                  <a:lnTo>
                    <a:pt x="24" y="3336"/>
                  </a:lnTo>
                  <a:lnTo>
                    <a:pt x="10" y="3303"/>
                  </a:lnTo>
                  <a:lnTo>
                    <a:pt x="2" y="3270"/>
                  </a:lnTo>
                  <a:lnTo>
                    <a:pt x="0" y="3233"/>
                  </a:lnTo>
                  <a:lnTo>
                    <a:pt x="0" y="2725"/>
                  </a:lnTo>
                  <a:lnTo>
                    <a:pt x="2" y="2689"/>
                  </a:lnTo>
                  <a:lnTo>
                    <a:pt x="10" y="2655"/>
                  </a:lnTo>
                  <a:lnTo>
                    <a:pt x="24" y="2623"/>
                  </a:lnTo>
                  <a:lnTo>
                    <a:pt x="43" y="2594"/>
                  </a:lnTo>
                  <a:lnTo>
                    <a:pt x="65" y="2568"/>
                  </a:lnTo>
                  <a:lnTo>
                    <a:pt x="91" y="2546"/>
                  </a:lnTo>
                  <a:lnTo>
                    <a:pt x="121" y="2527"/>
                  </a:lnTo>
                  <a:lnTo>
                    <a:pt x="152" y="2513"/>
                  </a:lnTo>
                  <a:lnTo>
                    <a:pt x="187" y="2505"/>
                  </a:lnTo>
                  <a:lnTo>
                    <a:pt x="222" y="2503"/>
                  </a:lnTo>
                  <a:lnTo>
                    <a:pt x="457" y="2503"/>
                  </a:lnTo>
                  <a:lnTo>
                    <a:pt x="472" y="2505"/>
                  </a:lnTo>
                  <a:lnTo>
                    <a:pt x="485" y="2511"/>
                  </a:lnTo>
                  <a:lnTo>
                    <a:pt x="495" y="2522"/>
                  </a:lnTo>
                  <a:lnTo>
                    <a:pt x="501" y="2534"/>
                  </a:lnTo>
                  <a:lnTo>
                    <a:pt x="503" y="2549"/>
                  </a:lnTo>
                  <a:lnTo>
                    <a:pt x="501" y="2564"/>
                  </a:lnTo>
                  <a:lnTo>
                    <a:pt x="495" y="2577"/>
                  </a:lnTo>
                  <a:lnTo>
                    <a:pt x="485" y="2587"/>
                  </a:lnTo>
                  <a:lnTo>
                    <a:pt x="472" y="2594"/>
                  </a:lnTo>
                  <a:lnTo>
                    <a:pt x="457" y="2596"/>
                  </a:lnTo>
                  <a:lnTo>
                    <a:pt x="222" y="2596"/>
                  </a:lnTo>
                  <a:lnTo>
                    <a:pt x="196" y="2598"/>
                  </a:lnTo>
                  <a:lnTo>
                    <a:pt x="172" y="2607"/>
                  </a:lnTo>
                  <a:lnTo>
                    <a:pt x="150" y="2618"/>
                  </a:lnTo>
                  <a:lnTo>
                    <a:pt x="131" y="2634"/>
                  </a:lnTo>
                  <a:lnTo>
                    <a:pt x="115" y="2653"/>
                  </a:lnTo>
                  <a:lnTo>
                    <a:pt x="104" y="2675"/>
                  </a:lnTo>
                  <a:lnTo>
                    <a:pt x="95" y="2699"/>
                  </a:lnTo>
                  <a:lnTo>
                    <a:pt x="93" y="2725"/>
                  </a:lnTo>
                  <a:lnTo>
                    <a:pt x="93" y="3233"/>
                  </a:lnTo>
                  <a:lnTo>
                    <a:pt x="95" y="3259"/>
                  </a:lnTo>
                  <a:lnTo>
                    <a:pt x="104" y="3283"/>
                  </a:lnTo>
                  <a:lnTo>
                    <a:pt x="115" y="3305"/>
                  </a:lnTo>
                  <a:lnTo>
                    <a:pt x="131" y="3325"/>
                  </a:lnTo>
                  <a:lnTo>
                    <a:pt x="150" y="3341"/>
                  </a:lnTo>
                  <a:lnTo>
                    <a:pt x="172" y="3352"/>
                  </a:lnTo>
                  <a:lnTo>
                    <a:pt x="196" y="3360"/>
                  </a:lnTo>
                  <a:lnTo>
                    <a:pt x="222" y="3363"/>
                  </a:lnTo>
                  <a:lnTo>
                    <a:pt x="1490" y="3363"/>
                  </a:lnTo>
                  <a:lnTo>
                    <a:pt x="1517" y="3360"/>
                  </a:lnTo>
                  <a:lnTo>
                    <a:pt x="1541" y="3352"/>
                  </a:lnTo>
                  <a:lnTo>
                    <a:pt x="1563" y="3341"/>
                  </a:lnTo>
                  <a:lnTo>
                    <a:pt x="1582" y="3325"/>
                  </a:lnTo>
                  <a:lnTo>
                    <a:pt x="1597" y="3305"/>
                  </a:lnTo>
                  <a:lnTo>
                    <a:pt x="1610" y="3283"/>
                  </a:lnTo>
                  <a:lnTo>
                    <a:pt x="1617" y="3259"/>
                  </a:lnTo>
                  <a:lnTo>
                    <a:pt x="1619" y="3233"/>
                  </a:lnTo>
                  <a:lnTo>
                    <a:pt x="1619" y="2725"/>
                  </a:lnTo>
                  <a:lnTo>
                    <a:pt x="1617" y="2699"/>
                  </a:lnTo>
                  <a:lnTo>
                    <a:pt x="1610" y="2675"/>
                  </a:lnTo>
                  <a:lnTo>
                    <a:pt x="1597" y="2653"/>
                  </a:lnTo>
                  <a:lnTo>
                    <a:pt x="1582" y="2634"/>
                  </a:lnTo>
                  <a:lnTo>
                    <a:pt x="1563" y="2618"/>
                  </a:lnTo>
                  <a:lnTo>
                    <a:pt x="1541" y="2607"/>
                  </a:lnTo>
                  <a:lnTo>
                    <a:pt x="1517" y="2598"/>
                  </a:lnTo>
                  <a:lnTo>
                    <a:pt x="1490" y="2596"/>
                  </a:lnTo>
                  <a:lnTo>
                    <a:pt x="1293" y="2596"/>
                  </a:lnTo>
                  <a:lnTo>
                    <a:pt x="1264" y="2593"/>
                  </a:lnTo>
                  <a:lnTo>
                    <a:pt x="1237" y="2585"/>
                  </a:lnTo>
                  <a:lnTo>
                    <a:pt x="1212" y="2571"/>
                  </a:lnTo>
                  <a:lnTo>
                    <a:pt x="1190" y="2553"/>
                  </a:lnTo>
                  <a:lnTo>
                    <a:pt x="1173" y="2532"/>
                  </a:lnTo>
                  <a:lnTo>
                    <a:pt x="1160" y="2507"/>
                  </a:lnTo>
                  <a:lnTo>
                    <a:pt x="1152" y="2480"/>
                  </a:lnTo>
                  <a:lnTo>
                    <a:pt x="1148" y="2451"/>
                  </a:lnTo>
                  <a:lnTo>
                    <a:pt x="1152" y="2421"/>
                  </a:lnTo>
                  <a:lnTo>
                    <a:pt x="1160" y="2394"/>
                  </a:lnTo>
                  <a:lnTo>
                    <a:pt x="1173" y="2370"/>
                  </a:lnTo>
                  <a:lnTo>
                    <a:pt x="1190" y="2348"/>
                  </a:lnTo>
                  <a:lnTo>
                    <a:pt x="1212" y="2330"/>
                  </a:lnTo>
                  <a:lnTo>
                    <a:pt x="1237" y="2318"/>
                  </a:lnTo>
                  <a:lnTo>
                    <a:pt x="1264" y="2309"/>
                  </a:lnTo>
                  <a:lnTo>
                    <a:pt x="1293" y="2306"/>
                  </a:lnTo>
                  <a:lnTo>
                    <a:pt x="1496" y="2306"/>
                  </a:lnTo>
                  <a:lnTo>
                    <a:pt x="1520" y="2304"/>
                  </a:lnTo>
                  <a:lnTo>
                    <a:pt x="1544" y="2297"/>
                  </a:lnTo>
                  <a:lnTo>
                    <a:pt x="1565" y="2285"/>
                  </a:lnTo>
                  <a:lnTo>
                    <a:pt x="1584" y="2269"/>
                  </a:lnTo>
                  <a:lnTo>
                    <a:pt x="1598" y="2251"/>
                  </a:lnTo>
                  <a:lnTo>
                    <a:pt x="1610" y="2230"/>
                  </a:lnTo>
                  <a:lnTo>
                    <a:pt x="1617" y="2207"/>
                  </a:lnTo>
                  <a:lnTo>
                    <a:pt x="1619" y="2181"/>
                  </a:lnTo>
                  <a:lnTo>
                    <a:pt x="1619" y="218"/>
                  </a:lnTo>
                  <a:lnTo>
                    <a:pt x="1617" y="193"/>
                  </a:lnTo>
                  <a:lnTo>
                    <a:pt x="1610" y="170"/>
                  </a:lnTo>
                  <a:lnTo>
                    <a:pt x="1598" y="149"/>
                  </a:lnTo>
                  <a:lnTo>
                    <a:pt x="1583" y="130"/>
                  </a:lnTo>
                  <a:lnTo>
                    <a:pt x="1565" y="115"/>
                  </a:lnTo>
                  <a:lnTo>
                    <a:pt x="1544" y="104"/>
                  </a:lnTo>
                  <a:lnTo>
                    <a:pt x="1520" y="96"/>
                  </a:lnTo>
                  <a:lnTo>
                    <a:pt x="1495" y="93"/>
                  </a:lnTo>
                  <a:lnTo>
                    <a:pt x="218" y="93"/>
                  </a:lnTo>
                  <a:lnTo>
                    <a:pt x="193" y="96"/>
                  </a:lnTo>
                  <a:lnTo>
                    <a:pt x="169" y="104"/>
                  </a:lnTo>
                  <a:lnTo>
                    <a:pt x="148" y="115"/>
                  </a:lnTo>
                  <a:lnTo>
                    <a:pt x="130" y="130"/>
                  </a:lnTo>
                  <a:lnTo>
                    <a:pt x="114" y="149"/>
                  </a:lnTo>
                  <a:lnTo>
                    <a:pt x="103" y="170"/>
                  </a:lnTo>
                  <a:lnTo>
                    <a:pt x="95" y="193"/>
                  </a:lnTo>
                  <a:lnTo>
                    <a:pt x="93" y="218"/>
                  </a:lnTo>
                  <a:lnTo>
                    <a:pt x="93" y="2181"/>
                  </a:lnTo>
                  <a:lnTo>
                    <a:pt x="95" y="2207"/>
                  </a:lnTo>
                  <a:lnTo>
                    <a:pt x="103" y="2230"/>
                  </a:lnTo>
                  <a:lnTo>
                    <a:pt x="114" y="2251"/>
                  </a:lnTo>
                  <a:lnTo>
                    <a:pt x="130" y="2269"/>
                  </a:lnTo>
                  <a:lnTo>
                    <a:pt x="148" y="2285"/>
                  </a:lnTo>
                  <a:lnTo>
                    <a:pt x="169" y="2297"/>
                  </a:lnTo>
                  <a:lnTo>
                    <a:pt x="193" y="2304"/>
                  </a:lnTo>
                  <a:lnTo>
                    <a:pt x="218" y="2306"/>
                  </a:lnTo>
                  <a:lnTo>
                    <a:pt x="454" y="2306"/>
                  </a:lnTo>
                  <a:lnTo>
                    <a:pt x="470" y="2308"/>
                  </a:lnTo>
                  <a:lnTo>
                    <a:pt x="482" y="2316"/>
                  </a:lnTo>
                  <a:lnTo>
                    <a:pt x="492" y="2325"/>
                  </a:lnTo>
                  <a:lnTo>
                    <a:pt x="499" y="2338"/>
                  </a:lnTo>
                  <a:lnTo>
                    <a:pt x="501" y="2353"/>
                  </a:lnTo>
                  <a:lnTo>
                    <a:pt x="499" y="2368"/>
                  </a:lnTo>
                  <a:lnTo>
                    <a:pt x="492" y="2380"/>
                  </a:lnTo>
                  <a:lnTo>
                    <a:pt x="482" y="2391"/>
                  </a:lnTo>
                  <a:lnTo>
                    <a:pt x="470" y="2397"/>
                  </a:lnTo>
                  <a:lnTo>
                    <a:pt x="454" y="2399"/>
                  </a:lnTo>
                  <a:lnTo>
                    <a:pt x="218" y="2399"/>
                  </a:lnTo>
                  <a:lnTo>
                    <a:pt x="182" y="2396"/>
                  </a:lnTo>
                  <a:lnTo>
                    <a:pt x="149" y="2389"/>
                  </a:lnTo>
                  <a:lnTo>
                    <a:pt x="117" y="2375"/>
                  </a:lnTo>
                  <a:lnTo>
                    <a:pt x="89" y="2357"/>
                  </a:lnTo>
                  <a:lnTo>
                    <a:pt x="64" y="2335"/>
                  </a:lnTo>
                  <a:lnTo>
                    <a:pt x="42" y="2310"/>
                  </a:lnTo>
                  <a:lnTo>
                    <a:pt x="24" y="2282"/>
                  </a:lnTo>
                  <a:lnTo>
                    <a:pt x="10" y="2251"/>
                  </a:lnTo>
                  <a:lnTo>
                    <a:pt x="2" y="2217"/>
                  </a:lnTo>
                  <a:lnTo>
                    <a:pt x="0" y="2181"/>
                  </a:lnTo>
                  <a:lnTo>
                    <a:pt x="0" y="218"/>
                  </a:lnTo>
                  <a:lnTo>
                    <a:pt x="2" y="182"/>
                  </a:lnTo>
                  <a:lnTo>
                    <a:pt x="10" y="149"/>
                  </a:lnTo>
                  <a:lnTo>
                    <a:pt x="24" y="118"/>
                  </a:lnTo>
                  <a:lnTo>
                    <a:pt x="42" y="89"/>
                  </a:lnTo>
                  <a:lnTo>
                    <a:pt x="64" y="64"/>
                  </a:lnTo>
                  <a:lnTo>
                    <a:pt x="89" y="42"/>
                  </a:lnTo>
                  <a:lnTo>
                    <a:pt x="117" y="24"/>
                  </a:lnTo>
                  <a:lnTo>
                    <a:pt x="149" y="12"/>
                  </a:lnTo>
                  <a:lnTo>
                    <a:pt x="182" y="3"/>
                  </a:lnTo>
                  <a:lnTo>
                    <a:pt x="218" y="0"/>
                  </a:lnTo>
                  <a:close/>
                </a:path>
              </a:pathLst>
            </a:custGeom>
            <a:solidFill>
              <a:schemeClr val="accent4">
                <a:lumMod val="20000"/>
                <a:lumOff val="80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Light"/>
                <a:ea typeface="+mn-ea"/>
                <a:cs typeface="+mn-cs"/>
              </a:endParaRPr>
            </a:p>
          </p:txBody>
        </p:sp>
        <p:sp>
          <p:nvSpPr>
            <p:cNvPr id="160" name="Freeform 6">
              <a:extLst>
                <a:ext uri="{FF2B5EF4-FFF2-40B4-BE49-F238E27FC236}">
                  <a16:creationId xmlns:a16="http://schemas.microsoft.com/office/drawing/2014/main" id="{22E70A2B-E3C9-4AB1-A8D2-67D1227B7E18}"/>
                </a:ext>
              </a:extLst>
            </p:cNvPr>
            <p:cNvSpPr>
              <a:spLocks noChangeAspect="1" noEditPoints="1"/>
            </p:cNvSpPr>
            <p:nvPr/>
          </p:nvSpPr>
          <p:spPr bwMode="auto">
            <a:xfrm>
              <a:off x="3499337" y="3447815"/>
              <a:ext cx="86967" cy="175560"/>
            </a:xfrm>
            <a:custGeom>
              <a:avLst/>
              <a:gdLst>
                <a:gd name="T0" fmla="*/ 891 w 1714"/>
                <a:gd name="T1" fmla="*/ 3023 h 3456"/>
                <a:gd name="T2" fmla="*/ 894 w 1714"/>
                <a:gd name="T3" fmla="*/ 2711 h 3456"/>
                <a:gd name="T4" fmla="*/ 1018 w 1714"/>
                <a:gd name="T5" fmla="*/ 2849 h 3456"/>
                <a:gd name="T6" fmla="*/ 1018 w 1714"/>
                <a:gd name="T7" fmla="*/ 3065 h 3456"/>
                <a:gd name="T8" fmla="*/ 894 w 1714"/>
                <a:gd name="T9" fmla="*/ 3203 h 3456"/>
                <a:gd name="T10" fmla="*/ 702 w 1714"/>
                <a:gd name="T11" fmla="*/ 3161 h 3456"/>
                <a:gd name="T12" fmla="*/ 601 w 1714"/>
                <a:gd name="T13" fmla="*/ 2922 h 3456"/>
                <a:gd name="T14" fmla="*/ 704 w 1714"/>
                <a:gd name="T15" fmla="*/ 2753 h 3456"/>
                <a:gd name="T16" fmla="*/ 344 w 1714"/>
                <a:gd name="T17" fmla="*/ 1992 h 3456"/>
                <a:gd name="T18" fmla="*/ 381 w 1714"/>
                <a:gd name="T19" fmla="*/ 1862 h 3456"/>
                <a:gd name="T20" fmla="*/ 1374 w 1714"/>
                <a:gd name="T21" fmla="*/ 2112 h 3456"/>
                <a:gd name="T22" fmla="*/ 288 w 1714"/>
                <a:gd name="T23" fmla="*/ 1900 h 3456"/>
                <a:gd name="T24" fmla="*/ 1338 w 1714"/>
                <a:gd name="T25" fmla="*/ 1689 h 3456"/>
                <a:gd name="T26" fmla="*/ 1432 w 1714"/>
                <a:gd name="T27" fmla="*/ 1582 h 3456"/>
                <a:gd name="T28" fmla="*/ 307 w 1714"/>
                <a:gd name="T29" fmla="*/ 1764 h 3456"/>
                <a:gd name="T30" fmla="*/ 366 w 1714"/>
                <a:gd name="T31" fmla="*/ 1284 h 3456"/>
                <a:gd name="T32" fmla="*/ 1338 w 1714"/>
                <a:gd name="T33" fmla="*/ 1284 h 3456"/>
                <a:gd name="T34" fmla="*/ 1432 w 1714"/>
                <a:gd name="T35" fmla="*/ 1391 h 3456"/>
                <a:gd name="T36" fmla="*/ 253 w 1714"/>
                <a:gd name="T37" fmla="*/ 1292 h 3456"/>
                <a:gd name="T38" fmla="*/ 1328 w 1714"/>
                <a:gd name="T39" fmla="*/ 855 h 3456"/>
                <a:gd name="T40" fmla="*/ 991 w 1714"/>
                <a:gd name="T41" fmla="*/ 837 h 3456"/>
                <a:gd name="T42" fmla="*/ 672 w 1714"/>
                <a:gd name="T43" fmla="*/ 812 h 3456"/>
                <a:gd name="T44" fmla="*/ 371 w 1714"/>
                <a:gd name="T45" fmla="*/ 794 h 3456"/>
                <a:gd name="T46" fmla="*/ 384 w 1714"/>
                <a:gd name="T47" fmla="*/ 792 h 3456"/>
                <a:gd name="T48" fmla="*/ 1390 w 1714"/>
                <a:gd name="T49" fmla="*/ 940 h 3456"/>
                <a:gd name="T50" fmla="*/ 1270 w 1714"/>
                <a:gd name="T51" fmla="*/ 719 h 3456"/>
                <a:gd name="T52" fmla="*/ 1126 w 1714"/>
                <a:gd name="T53" fmla="*/ 895 h 3456"/>
                <a:gd name="T54" fmla="*/ 905 w 1714"/>
                <a:gd name="T55" fmla="*/ 775 h 3456"/>
                <a:gd name="T56" fmla="*/ 830 w 1714"/>
                <a:gd name="T57" fmla="*/ 824 h 3456"/>
                <a:gd name="T58" fmla="*/ 579 w 1714"/>
                <a:gd name="T59" fmla="*/ 850 h 3456"/>
                <a:gd name="T60" fmla="*/ 489 w 1714"/>
                <a:gd name="T61" fmla="*/ 754 h 3456"/>
                <a:gd name="T62" fmla="*/ 295 w 1714"/>
                <a:gd name="T63" fmla="*/ 914 h 3456"/>
                <a:gd name="T64" fmla="*/ 1317 w 1714"/>
                <a:gd name="T65" fmla="*/ 516 h 3456"/>
                <a:gd name="T66" fmla="*/ 1022 w 1714"/>
                <a:gd name="T67" fmla="*/ 507 h 3456"/>
                <a:gd name="T68" fmla="*/ 1035 w 1714"/>
                <a:gd name="T69" fmla="*/ 510 h 3456"/>
                <a:gd name="T70" fmla="*/ 733 w 1714"/>
                <a:gd name="T71" fmla="*/ 527 h 3456"/>
                <a:gd name="T72" fmla="*/ 414 w 1714"/>
                <a:gd name="T73" fmla="*/ 553 h 3456"/>
                <a:gd name="T74" fmla="*/ 1465 w 1714"/>
                <a:gd name="T75" fmla="*/ 566 h 3456"/>
                <a:gd name="T76" fmla="*/ 1214 w 1714"/>
                <a:gd name="T77" fmla="*/ 540 h 3456"/>
                <a:gd name="T78" fmla="*/ 1139 w 1714"/>
                <a:gd name="T79" fmla="*/ 491 h 3456"/>
                <a:gd name="T80" fmla="*/ 917 w 1714"/>
                <a:gd name="T81" fmla="*/ 611 h 3456"/>
                <a:gd name="T82" fmla="*/ 774 w 1714"/>
                <a:gd name="T83" fmla="*/ 436 h 3456"/>
                <a:gd name="T84" fmla="*/ 653 w 1714"/>
                <a:gd name="T85" fmla="*/ 657 h 3456"/>
                <a:gd name="T86" fmla="*/ 384 w 1714"/>
                <a:gd name="T87" fmla="*/ 414 h 3456"/>
                <a:gd name="T88" fmla="*/ 409 w 1714"/>
                <a:gd name="T89" fmla="*/ 664 h 3456"/>
                <a:gd name="T90" fmla="*/ 335 w 1714"/>
                <a:gd name="T91" fmla="*/ 424 h 3456"/>
                <a:gd name="T92" fmla="*/ 1714 w 1714"/>
                <a:gd name="T93" fmla="*/ 2181 h 3456"/>
                <a:gd name="T94" fmla="*/ 1245 w 1714"/>
                <a:gd name="T95" fmla="*/ 2435 h 3456"/>
                <a:gd name="T96" fmla="*/ 1702 w 1714"/>
                <a:gd name="T97" fmla="*/ 2655 h 3456"/>
                <a:gd name="T98" fmla="*/ 187 w 1714"/>
                <a:gd name="T99" fmla="*/ 3453 h 3456"/>
                <a:gd name="T100" fmla="*/ 65 w 1714"/>
                <a:gd name="T101" fmla="*/ 2568 h 3456"/>
                <a:gd name="T102" fmla="*/ 472 w 1714"/>
                <a:gd name="T103" fmla="*/ 2594 h 3456"/>
                <a:gd name="T104" fmla="*/ 131 w 1714"/>
                <a:gd name="T105" fmla="*/ 3325 h 3456"/>
                <a:gd name="T106" fmla="*/ 1617 w 1714"/>
                <a:gd name="T107" fmla="*/ 2699 h 3456"/>
                <a:gd name="T108" fmla="*/ 1152 w 1714"/>
                <a:gd name="T109" fmla="*/ 2480 h 3456"/>
                <a:gd name="T110" fmla="*/ 1598 w 1714"/>
                <a:gd name="T111" fmla="*/ 2251 h 3456"/>
                <a:gd name="T112" fmla="*/ 169 w 1714"/>
                <a:gd name="T113" fmla="*/ 104 h 3456"/>
                <a:gd name="T114" fmla="*/ 218 w 1714"/>
                <a:gd name="T115" fmla="*/ 2306 h 3456"/>
                <a:gd name="T116" fmla="*/ 117 w 1714"/>
                <a:gd name="T117" fmla="*/ 2375 h 3456"/>
                <a:gd name="T118" fmla="*/ 117 w 1714"/>
                <a:gd name="T119" fmla="*/ 24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4" h="3456">
                  <a:moveTo>
                    <a:pt x="853" y="2881"/>
                  </a:moveTo>
                  <a:lnTo>
                    <a:pt x="833" y="2883"/>
                  </a:lnTo>
                  <a:lnTo>
                    <a:pt x="814" y="2892"/>
                  </a:lnTo>
                  <a:lnTo>
                    <a:pt x="798" y="2903"/>
                  </a:lnTo>
                  <a:lnTo>
                    <a:pt x="787" y="2919"/>
                  </a:lnTo>
                  <a:lnTo>
                    <a:pt x="779" y="2937"/>
                  </a:lnTo>
                  <a:lnTo>
                    <a:pt x="776" y="2957"/>
                  </a:lnTo>
                  <a:lnTo>
                    <a:pt x="779" y="2977"/>
                  </a:lnTo>
                  <a:lnTo>
                    <a:pt x="787" y="2995"/>
                  </a:lnTo>
                  <a:lnTo>
                    <a:pt x="798" y="3011"/>
                  </a:lnTo>
                  <a:lnTo>
                    <a:pt x="814" y="3023"/>
                  </a:lnTo>
                  <a:lnTo>
                    <a:pt x="833" y="3031"/>
                  </a:lnTo>
                  <a:lnTo>
                    <a:pt x="853" y="3034"/>
                  </a:lnTo>
                  <a:lnTo>
                    <a:pt x="873" y="3031"/>
                  </a:lnTo>
                  <a:lnTo>
                    <a:pt x="891" y="3023"/>
                  </a:lnTo>
                  <a:lnTo>
                    <a:pt x="906" y="3011"/>
                  </a:lnTo>
                  <a:lnTo>
                    <a:pt x="919" y="2995"/>
                  </a:lnTo>
                  <a:lnTo>
                    <a:pt x="926" y="2977"/>
                  </a:lnTo>
                  <a:lnTo>
                    <a:pt x="929" y="2957"/>
                  </a:lnTo>
                  <a:lnTo>
                    <a:pt x="926" y="2937"/>
                  </a:lnTo>
                  <a:lnTo>
                    <a:pt x="919" y="2919"/>
                  </a:lnTo>
                  <a:lnTo>
                    <a:pt x="906" y="2903"/>
                  </a:lnTo>
                  <a:lnTo>
                    <a:pt x="891" y="2892"/>
                  </a:lnTo>
                  <a:lnTo>
                    <a:pt x="873" y="2883"/>
                  </a:lnTo>
                  <a:lnTo>
                    <a:pt x="853" y="2881"/>
                  </a:lnTo>
                  <a:close/>
                  <a:moveTo>
                    <a:pt x="817" y="2706"/>
                  </a:moveTo>
                  <a:lnTo>
                    <a:pt x="887" y="2706"/>
                  </a:lnTo>
                  <a:lnTo>
                    <a:pt x="890" y="2707"/>
                  </a:lnTo>
                  <a:lnTo>
                    <a:pt x="893" y="2709"/>
                  </a:lnTo>
                  <a:lnTo>
                    <a:pt x="894" y="2711"/>
                  </a:lnTo>
                  <a:lnTo>
                    <a:pt x="894" y="2763"/>
                  </a:lnTo>
                  <a:lnTo>
                    <a:pt x="917" y="2770"/>
                  </a:lnTo>
                  <a:lnTo>
                    <a:pt x="940" y="2778"/>
                  </a:lnTo>
                  <a:lnTo>
                    <a:pt x="962" y="2791"/>
                  </a:lnTo>
                  <a:lnTo>
                    <a:pt x="997" y="2754"/>
                  </a:lnTo>
                  <a:lnTo>
                    <a:pt x="999" y="2753"/>
                  </a:lnTo>
                  <a:lnTo>
                    <a:pt x="1002" y="2753"/>
                  </a:lnTo>
                  <a:lnTo>
                    <a:pt x="1004" y="2753"/>
                  </a:lnTo>
                  <a:lnTo>
                    <a:pt x="1006" y="2754"/>
                  </a:lnTo>
                  <a:lnTo>
                    <a:pt x="1055" y="2805"/>
                  </a:lnTo>
                  <a:lnTo>
                    <a:pt x="1056" y="2807"/>
                  </a:lnTo>
                  <a:lnTo>
                    <a:pt x="1057" y="2809"/>
                  </a:lnTo>
                  <a:lnTo>
                    <a:pt x="1056" y="2811"/>
                  </a:lnTo>
                  <a:lnTo>
                    <a:pt x="1055" y="2812"/>
                  </a:lnTo>
                  <a:lnTo>
                    <a:pt x="1018" y="2849"/>
                  </a:lnTo>
                  <a:lnTo>
                    <a:pt x="1031" y="2870"/>
                  </a:lnTo>
                  <a:lnTo>
                    <a:pt x="1040" y="2893"/>
                  </a:lnTo>
                  <a:lnTo>
                    <a:pt x="1047" y="2917"/>
                  </a:lnTo>
                  <a:lnTo>
                    <a:pt x="1098" y="2917"/>
                  </a:lnTo>
                  <a:lnTo>
                    <a:pt x="1101" y="2918"/>
                  </a:lnTo>
                  <a:lnTo>
                    <a:pt x="1103" y="2920"/>
                  </a:lnTo>
                  <a:lnTo>
                    <a:pt x="1104" y="2922"/>
                  </a:lnTo>
                  <a:lnTo>
                    <a:pt x="1104" y="2992"/>
                  </a:lnTo>
                  <a:lnTo>
                    <a:pt x="1103" y="2995"/>
                  </a:lnTo>
                  <a:lnTo>
                    <a:pt x="1101" y="2997"/>
                  </a:lnTo>
                  <a:lnTo>
                    <a:pt x="1098" y="2997"/>
                  </a:lnTo>
                  <a:lnTo>
                    <a:pt x="1047" y="2997"/>
                  </a:lnTo>
                  <a:lnTo>
                    <a:pt x="1040" y="3021"/>
                  </a:lnTo>
                  <a:lnTo>
                    <a:pt x="1031" y="3044"/>
                  </a:lnTo>
                  <a:lnTo>
                    <a:pt x="1018" y="3065"/>
                  </a:lnTo>
                  <a:lnTo>
                    <a:pt x="1055" y="3102"/>
                  </a:lnTo>
                  <a:lnTo>
                    <a:pt x="1056" y="3104"/>
                  </a:lnTo>
                  <a:lnTo>
                    <a:pt x="1057" y="3106"/>
                  </a:lnTo>
                  <a:lnTo>
                    <a:pt x="1056" y="3108"/>
                  </a:lnTo>
                  <a:lnTo>
                    <a:pt x="1055" y="3109"/>
                  </a:lnTo>
                  <a:lnTo>
                    <a:pt x="1006" y="3160"/>
                  </a:lnTo>
                  <a:lnTo>
                    <a:pt x="1004" y="3161"/>
                  </a:lnTo>
                  <a:lnTo>
                    <a:pt x="1002" y="3161"/>
                  </a:lnTo>
                  <a:lnTo>
                    <a:pt x="999" y="3161"/>
                  </a:lnTo>
                  <a:lnTo>
                    <a:pt x="997" y="3160"/>
                  </a:lnTo>
                  <a:lnTo>
                    <a:pt x="962" y="3123"/>
                  </a:lnTo>
                  <a:lnTo>
                    <a:pt x="940" y="3136"/>
                  </a:lnTo>
                  <a:lnTo>
                    <a:pt x="917" y="3145"/>
                  </a:lnTo>
                  <a:lnTo>
                    <a:pt x="894" y="3151"/>
                  </a:lnTo>
                  <a:lnTo>
                    <a:pt x="894" y="3203"/>
                  </a:lnTo>
                  <a:lnTo>
                    <a:pt x="893" y="3206"/>
                  </a:lnTo>
                  <a:lnTo>
                    <a:pt x="890" y="3208"/>
                  </a:lnTo>
                  <a:lnTo>
                    <a:pt x="887" y="3208"/>
                  </a:lnTo>
                  <a:lnTo>
                    <a:pt x="817" y="3208"/>
                  </a:lnTo>
                  <a:lnTo>
                    <a:pt x="815" y="3208"/>
                  </a:lnTo>
                  <a:lnTo>
                    <a:pt x="813" y="3206"/>
                  </a:lnTo>
                  <a:lnTo>
                    <a:pt x="812" y="3203"/>
                  </a:lnTo>
                  <a:lnTo>
                    <a:pt x="812" y="3151"/>
                  </a:lnTo>
                  <a:lnTo>
                    <a:pt x="788" y="3145"/>
                  </a:lnTo>
                  <a:lnTo>
                    <a:pt x="766" y="3136"/>
                  </a:lnTo>
                  <a:lnTo>
                    <a:pt x="744" y="3123"/>
                  </a:lnTo>
                  <a:lnTo>
                    <a:pt x="708" y="3160"/>
                  </a:lnTo>
                  <a:lnTo>
                    <a:pt x="706" y="3161"/>
                  </a:lnTo>
                  <a:lnTo>
                    <a:pt x="704" y="3161"/>
                  </a:lnTo>
                  <a:lnTo>
                    <a:pt x="702" y="3161"/>
                  </a:lnTo>
                  <a:lnTo>
                    <a:pt x="700" y="3160"/>
                  </a:lnTo>
                  <a:lnTo>
                    <a:pt x="650" y="3109"/>
                  </a:lnTo>
                  <a:lnTo>
                    <a:pt x="649" y="3108"/>
                  </a:lnTo>
                  <a:lnTo>
                    <a:pt x="648" y="3106"/>
                  </a:lnTo>
                  <a:lnTo>
                    <a:pt x="649" y="3104"/>
                  </a:lnTo>
                  <a:lnTo>
                    <a:pt x="650" y="3102"/>
                  </a:lnTo>
                  <a:lnTo>
                    <a:pt x="686" y="3065"/>
                  </a:lnTo>
                  <a:lnTo>
                    <a:pt x="674" y="3044"/>
                  </a:lnTo>
                  <a:lnTo>
                    <a:pt x="665" y="3021"/>
                  </a:lnTo>
                  <a:lnTo>
                    <a:pt x="659" y="2997"/>
                  </a:lnTo>
                  <a:lnTo>
                    <a:pt x="606" y="2997"/>
                  </a:lnTo>
                  <a:lnTo>
                    <a:pt x="604" y="2997"/>
                  </a:lnTo>
                  <a:lnTo>
                    <a:pt x="602" y="2995"/>
                  </a:lnTo>
                  <a:lnTo>
                    <a:pt x="601" y="2992"/>
                  </a:lnTo>
                  <a:lnTo>
                    <a:pt x="601" y="2922"/>
                  </a:lnTo>
                  <a:lnTo>
                    <a:pt x="602" y="2920"/>
                  </a:lnTo>
                  <a:lnTo>
                    <a:pt x="604" y="2918"/>
                  </a:lnTo>
                  <a:lnTo>
                    <a:pt x="606" y="2917"/>
                  </a:lnTo>
                  <a:lnTo>
                    <a:pt x="659" y="2917"/>
                  </a:lnTo>
                  <a:lnTo>
                    <a:pt x="665" y="2893"/>
                  </a:lnTo>
                  <a:lnTo>
                    <a:pt x="674" y="2870"/>
                  </a:lnTo>
                  <a:lnTo>
                    <a:pt x="686" y="2849"/>
                  </a:lnTo>
                  <a:lnTo>
                    <a:pt x="650" y="2812"/>
                  </a:lnTo>
                  <a:lnTo>
                    <a:pt x="649" y="2811"/>
                  </a:lnTo>
                  <a:lnTo>
                    <a:pt x="648" y="2809"/>
                  </a:lnTo>
                  <a:lnTo>
                    <a:pt x="649" y="2807"/>
                  </a:lnTo>
                  <a:lnTo>
                    <a:pt x="650" y="2805"/>
                  </a:lnTo>
                  <a:lnTo>
                    <a:pt x="700" y="2754"/>
                  </a:lnTo>
                  <a:lnTo>
                    <a:pt x="702" y="2753"/>
                  </a:lnTo>
                  <a:lnTo>
                    <a:pt x="704" y="2753"/>
                  </a:lnTo>
                  <a:lnTo>
                    <a:pt x="706" y="2753"/>
                  </a:lnTo>
                  <a:lnTo>
                    <a:pt x="708" y="2754"/>
                  </a:lnTo>
                  <a:lnTo>
                    <a:pt x="744" y="2791"/>
                  </a:lnTo>
                  <a:lnTo>
                    <a:pt x="766" y="2778"/>
                  </a:lnTo>
                  <a:lnTo>
                    <a:pt x="788" y="2770"/>
                  </a:lnTo>
                  <a:lnTo>
                    <a:pt x="812" y="2763"/>
                  </a:lnTo>
                  <a:lnTo>
                    <a:pt x="812" y="2711"/>
                  </a:lnTo>
                  <a:lnTo>
                    <a:pt x="813" y="2709"/>
                  </a:lnTo>
                  <a:lnTo>
                    <a:pt x="815" y="2707"/>
                  </a:lnTo>
                  <a:lnTo>
                    <a:pt x="817" y="2706"/>
                  </a:lnTo>
                  <a:close/>
                  <a:moveTo>
                    <a:pt x="381" y="1955"/>
                  </a:moveTo>
                  <a:lnTo>
                    <a:pt x="366" y="1958"/>
                  </a:lnTo>
                  <a:lnTo>
                    <a:pt x="354" y="1967"/>
                  </a:lnTo>
                  <a:lnTo>
                    <a:pt x="347" y="1978"/>
                  </a:lnTo>
                  <a:lnTo>
                    <a:pt x="344" y="1992"/>
                  </a:lnTo>
                  <a:lnTo>
                    <a:pt x="347" y="2007"/>
                  </a:lnTo>
                  <a:lnTo>
                    <a:pt x="354" y="2018"/>
                  </a:lnTo>
                  <a:lnTo>
                    <a:pt x="366" y="2026"/>
                  </a:lnTo>
                  <a:lnTo>
                    <a:pt x="381" y="2029"/>
                  </a:lnTo>
                  <a:lnTo>
                    <a:pt x="1324" y="2029"/>
                  </a:lnTo>
                  <a:lnTo>
                    <a:pt x="1338" y="2026"/>
                  </a:lnTo>
                  <a:lnTo>
                    <a:pt x="1350" y="2018"/>
                  </a:lnTo>
                  <a:lnTo>
                    <a:pt x="1357" y="2007"/>
                  </a:lnTo>
                  <a:lnTo>
                    <a:pt x="1360" y="1992"/>
                  </a:lnTo>
                  <a:lnTo>
                    <a:pt x="1357" y="1978"/>
                  </a:lnTo>
                  <a:lnTo>
                    <a:pt x="1350" y="1967"/>
                  </a:lnTo>
                  <a:lnTo>
                    <a:pt x="1338" y="1958"/>
                  </a:lnTo>
                  <a:lnTo>
                    <a:pt x="1324" y="1955"/>
                  </a:lnTo>
                  <a:lnTo>
                    <a:pt x="381" y="1955"/>
                  </a:lnTo>
                  <a:close/>
                  <a:moveTo>
                    <a:pt x="381" y="1862"/>
                  </a:moveTo>
                  <a:lnTo>
                    <a:pt x="1324" y="1862"/>
                  </a:lnTo>
                  <a:lnTo>
                    <a:pt x="1350" y="1865"/>
                  </a:lnTo>
                  <a:lnTo>
                    <a:pt x="1374" y="1873"/>
                  </a:lnTo>
                  <a:lnTo>
                    <a:pt x="1397" y="1884"/>
                  </a:lnTo>
                  <a:lnTo>
                    <a:pt x="1416" y="1900"/>
                  </a:lnTo>
                  <a:lnTo>
                    <a:pt x="1432" y="1920"/>
                  </a:lnTo>
                  <a:lnTo>
                    <a:pt x="1444" y="1942"/>
                  </a:lnTo>
                  <a:lnTo>
                    <a:pt x="1452" y="1966"/>
                  </a:lnTo>
                  <a:lnTo>
                    <a:pt x="1454" y="1992"/>
                  </a:lnTo>
                  <a:lnTo>
                    <a:pt x="1452" y="2018"/>
                  </a:lnTo>
                  <a:lnTo>
                    <a:pt x="1444" y="2043"/>
                  </a:lnTo>
                  <a:lnTo>
                    <a:pt x="1432" y="2065"/>
                  </a:lnTo>
                  <a:lnTo>
                    <a:pt x="1416" y="2084"/>
                  </a:lnTo>
                  <a:lnTo>
                    <a:pt x="1397" y="2100"/>
                  </a:lnTo>
                  <a:lnTo>
                    <a:pt x="1374" y="2112"/>
                  </a:lnTo>
                  <a:lnTo>
                    <a:pt x="1350" y="2120"/>
                  </a:lnTo>
                  <a:lnTo>
                    <a:pt x="1324" y="2123"/>
                  </a:lnTo>
                  <a:lnTo>
                    <a:pt x="381" y="2123"/>
                  </a:lnTo>
                  <a:lnTo>
                    <a:pt x="354" y="2120"/>
                  </a:lnTo>
                  <a:lnTo>
                    <a:pt x="330" y="2112"/>
                  </a:lnTo>
                  <a:lnTo>
                    <a:pt x="307" y="2100"/>
                  </a:lnTo>
                  <a:lnTo>
                    <a:pt x="288" y="2084"/>
                  </a:lnTo>
                  <a:lnTo>
                    <a:pt x="273" y="2065"/>
                  </a:lnTo>
                  <a:lnTo>
                    <a:pt x="260" y="2043"/>
                  </a:lnTo>
                  <a:lnTo>
                    <a:pt x="253" y="2018"/>
                  </a:lnTo>
                  <a:lnTo>
                    <a:pt x="251" y="1992"/>
                  </a:lnTo>
                  <a:lnTo>
                    <a:pt x="253" y="1966"/>
                  </a:lnTo>
                  <a:lnTo>
                    <a:pt x="260" y="1942"/>
                  </a:lnTo>
                  <a:lnTo>
                    <a:pt x="273" y="1920"/>
                  </a:lnTo>
                  <a:lnTo>
                    <a:pt x="288" y="1900"/>
                  </a:lnTo>
                  <a:lnTo>
                    <a:pt x="307" y="1884"/>
                  </a:lnTo>
                  <a:lnTo>
                    <a:pt x="330" y="1873"/>
                  </a:lnTo>
                  <a:lnTo>
                    <a:pt x="354" y="1865"/>
                  </a:lnTo>
                  <a:lnTo>
                    <a:pt x="381" y="1862"/>
                  </a:lnTo>
                  <a:close/>
                  <a:moveTo>
                    <a:pt x="381" y="1619"/>
                  </a:moveTo>
                  <a:lnTo>
                    <a:pt x="366" y="1621"/>
                  </a:lnTo>
                  <a:lnTo>
                    <a:pt x="354" y="1630"/>
                  </a:lnTo>
                  <a:lnTo>
                    <a:pt x="347" y="1641"/>
                  </a:lnTo>
                  <a:lnTo>
                    <a:pt x="344" y="1656"/>
                  </a:lnTo>
                  <a:lnTo>
                    <a:pt x="347" y="1669"/>
                  </a:lnTo>
                  <a:lnTo>
                    <a:pt x="354" y="1681"/>
                  </a:lnTo>
                  <a:lnTo>
                    <a:pt x="366" y="1689"/>
                  </a:lnTo>
                  <a:lnTo>
                    <a:pt x="381" y="1692"/>
                  </a:lnTo>
                  <a:lnTo>
                    <a:pt x="1324" y="1692"/>
                  </a:lnTo>
                  <a:lnTo>
                    <a:pt x="1338" y="1689"/>
                  </a:lnTo>
                  <a:lnTo>
                    <a:pt x="1350" y="1681"/>
                  </a:lnTo>
                  <a:lnTo>
                    <a:pt x="1357" y="1669"/>
                  </a:lnTo>
                  <a:lnTo>
                    <a:pt x="1360" y="1656"/>
                  </a:lnTo>
                  <a:lnTo>
                    <a:pt x="1357" y="1641"/>
                  </a:lnTo>
                  <a:lnTo>
                    <a:pt x="1350" y="1630"/>
                  </a:lnTo>
                  <a:lnTo>
                    <a:pt x="1338" y="1621"/>
                  </a:lnTo>
                  <a:lnTo>
                    <a:pt x="1324" y="1619"/>
                  </a:lnTo>
                  <a:lnTo>
                    <a:pt x="381" y="1619"/>
                  </a:lnTo>
                  <a:close/>
                  <a:moveTo>
                    <a:pt x="381" y="1525"/>
                  </a:moveTo>
                  <a:lnTo>
                    <a:pt x="1324" y="1525"/>
                  </a:lnTo>
                  <a:lnTo>
                    <a:pt x="1350" y="1528"/>
                  </a:lnTo>
                  <a:lnTo>
                    <a:pt x="1374" y="1535"/>
                  </a:lnTo>
                  <a:lnTo>
                    <a:pt x="1397" y="1548"/>
                  </a:lnTo>
                  <a:lnTo>
                    <a:pt x="1416" y="1564"/>
                  </a:lnTo>
                  <a:lnTo>
                    <a:pt x="1432" y="1582"/>
                  </a:lnTo>
                  <a:lnTo>
                    <a:pt x="1444" y="1604"/>
                  </a:lnTo>
                  <a:lnTo>
                    <a:pt x="1452" y="1630"/>
                  </a:lnTo>
                  <a:lnTo>
                    <a:pt x="1454" y="1656"/>
                  </a:lnTo>
                  <a:lnTo>
                    <a:pt x="1452" y="1682"/>
                  </a:lnTo>
                  <a:lnTo>
                    <a:pt x="1444" y="1706"/>
                  </a:lnTo>
                  <a:lnTo>
                    <a:pt x="1432" y="1727"/>
                  </a:lnTo>
                  <a:lnTo>
                    <a:pt x="1416" y="1747"/>
                  </a:lnTo>
                  <a:lnTo>
                    <a:pt x="1397" y="1764"/>
                  </a:lnTo>
                  <a:lnTo>
                    <a:pt x="1374" y="1775"/>
                  </a:lnTo>
                  <a:lnTo>
                    <a:pt x="1350" y="1782"/>
                  </a:lnTo>
                  <a:lnTo>
                    <a:pt x="1324" y="1786"/>
                  </a:lnTo>
                  <a:lnTo>
                    <a:pt x="381" y="1786"/>
                  </a:lnTo>
                  <a:lnTo>
                    <a:pt x="354" y="1782"/>
                  </a:lnTo>
                  <a:lnTo>
                    <a:pt x="330" y="1775"/>
                  </a:lnTo>
                  <a:lnTo>
                    <a:pt x="307" y="1764"/>
                  </a:lnTo>
                  <a:lnTo>
                    <a:pt x="288" y="1747"/>
                  </a:lnTo>
                  <a:lnTo>
                    <a:pt x="273" y="1727"/>
                  </a:lnTo>
                  <a:lnTo>
                    <a:pt x="260" y="1706"/>
                  </a:lnTo>
                  <a:lnTo>
                    <a:pt x="253" y="1682"/>
                  </a:lnTo>
                  <a:lnTo>
                    <a:pt x="251" y="1656"/>
                  </a:lnTo>
                  <a:lnTo>
                    <a:pt x="253" y="1630"/>
                  </a:lnTo>
                  <a:lnTo>
                    <a:pt x="260" y="1604"/>
                  </a:lnTo>
                  <a:lnTo>
                    <a:pt x="273" y="1582"/>
                  </a:lnTo>
                  <a:lnTo>
                    <a:pt x="288" y="1564"/>
                  </a:lnTo>
                  <a:lnTo>
                    <a:pt x="307" y="1548"/>
                  </a:lnTo>
                  <a:lnTo>
                    <a:pt x="330" y="1535"/>
                  </a:lnTo>
                  <a:lnTo>
                    <a:pt x="354" y="1528"/>
                  </a:lnTo>
                  <a:lnTo>
                    <a:pt x="381" y="1525"/>
                  </a:lnTo>
                  <a:close/>
                  <a:moveTo>
                    <a:pt x="381" y="1282"/>
                  </a:moveTo>
                  <a:lnTo>
                    <a:pt x="366" y="1284"/>
                  </a:lnTo>
                  <a:lnTo>
                    <a:pt x="354" y="1292"/>
                  </a:lnTo>
                  <a:lnTo>
                    <a:pt x="347" y="1304"/>
                  </a:lnTo>
                  <a:lnTo>
                    <a:pt x="344" y="1319"/>
                  </a:lnTo>
                  <a:lnTo>
                    <a:pt x="347" y="1332"/>
                  </a:lnTo>
                  <a:lnTo>
                    <a:pt x="354" y="1345"/>
                  </a:lnTo>
                  <a:lnTo>
                    <a:pt x="366" y="1352"/>
                  </a:lnTo>
                  <a:lnTo>
                    <a:pt x="381" y="1355"/>
                  </a:lnTo>
                  <a:lnTo>
                    <a:pt x="1324" y="1355"/>
                  </a:lnTo>
                  <a:lnTo>
                    <a:pt x="1338" y="1352"/>
                  </a:lnTo>
                  <a:lnTo>
                    <a:pt x="1350" y="1345"/>
                  </a:lnTo>
                  <a:lnTo>
                    <a:pt x="1357" y="1332"/>
                  </a:lnTo>
                  <a:lnTo>
                    <a:pt x="1360" y="1319"/>
                  </a:lnTo>
                  <a:lnTo>
                    <a:pt x="1357" y="1304"/>
                  </a:lnTo>
                  <a:lnTo>
                    <a:pt x="1350" y="1292"/>
                  </a:lnTo>
                  <a:lnTo>
                    <a:pt x="1338" y="1284"/>
                  </a:lnTo>
                  <a:lnTo>
                    <a:pt x="1324" y="1282"/>
                  </a:lnTo>
                  <a:lnTo>
                    <a:pt x="381" y="1282"/>
                  </a:lnTo>
                  <a:close/>
                  <a:moveTo>
                    <a:pt x="381" y="1188"/>
                  </a:moveTo>
                  <a:lnTo>
                    <a:pt x="1324" y="1188"/>
                  </a:lnTo>
                  <a:lnTo>
                    <a:pt x="1350" y="1191"/>
                  </a:lnTo>
                  <a:lnTo>
                    <a:pt x="1374" y="1198"/>
                  </a:lnTo>
                  <a:lnTo>
                    <a:pt x="1397" y="1211"/>
                  </a:lnTo>
                  <a:lnTo>
                    <a:pt x="1416" y="1226"/>
                  </a:lnTo>
                  <a:lnTo>
                    <a:pt x="1432" y="1245"/>
                  </a:lnTo>
                  <a:lnTo>
                    <a:pt x="1444" y="1267"/>
                  </a:lnTo>
                  <a:lnTo>
                    <a:pt x="1452" y="1292"/>
                  </a:lnTo>
                  <a:lnTo>
                    <a:pt x="1454" y="1319"/>
                  </a:lnTo>
                  <a:lnTo>
                    <a:pt x="1452" y="1345"/>
                  </a:lnTo>
                  <a:lnTo>
                    <a:pt x="1444" y="1369"/>
                  </a:lnTo>
                  <a:lnTo>
                    <a:pt x="1432" y="1391"/>
                  </a:lnTo>
                  <a:lnTo>
                    <a:pt x="1416" y="1411"/>
                  </a:lnTo>
                  <a:lnTo>
                    <a:pt x="1397" y="1426"/>
                  </a:lnTo>
                  <a:lnTo>
                    <a:pt x="1374" y="1438"/>
                  </a:lnTo>
                  <a:lnTo>
                    <a:pt x="1350" y="1445"/>
                  </a:lnTo>
                  <a:lnTo>
                    <a:pt x="1324" y="1448"/>
                  </a:lnTo>
                  <a:lnTo>
                    <a:pt x="381" y="1448"/>
                  </a:lnTo>
                  <a:lnTo>
                    <a:pt x="354" y="1445"/>
                  </a:lnTo>
                  <a:lnTo>
                    <a:pt x="330" y="1438"/>
                  </a:lnTo>
                  <a:lnTo>
                    <a:pt x="307" y="1426"/>
                  </a:lnTo>
                  <a:lnTo>
                    <a:pt x="288" y="1411"/>
                  </a:lnTo>
                  <a:lnTo>
                    <a:pt x="273" y="1391"/>
                  </a:lnTo>
                  <a:lnTo>
                    <a:pt x="260" y="1369"/>
                  </a:lnTo>
                  <a:lnTo>
                    <a:pt x="253" y="1345"/>
                  </a:lnTo>
                  <a:lnTo>
                    <a:pt x="251" y="1319"/>
                  </a:lnTo>
                  <a:lnTo>
                    <a:pt x="253" y="1292"/>
                  </a:lnTo>
                  <a:lnTo>
                    <a:pt x="260" y="1267"/>
                  </a:lnTo>
                  <a:lnTo>
                    <a:pt x="273" y="1245"/>
                  </a:lnTo>
                  <a:lnTo>
                    <a:pt x="288" y="1226"/>
                  </a:lnTo>
                  <a:lnTo>
                    <a:pt x="307" y="1211"/>
                  </a:lnTo>
                  <a:lnTo>
                    <a:pt x="330" y="1198"/>
                  </a:lnTo>
                  <a:lnTo>
                    <a:pt x="354" y="1191"/>
                  </a:lnTo>
                  <a:lnTo>
                    <a:pt x="381" y="1188"/>
                  </a:lnTo>
                  <a:close/>
                  <a:moveTo>
                    <a:pt x="1341" y="792"/>
                  </a:moveTo>
                  <a:lnTo>
                    <a:pt x="1328" y="794"/>
                  </a:lnTo>
                  <a:lnTo>
                    <a:pt x="1317" y="801"/>
                  </a:lnTo>
                  <a:lnTo>
                    <a:pt x="1311" y="812"/>
                  </a:lnTo>
                  <a:lnTo>
                    <a:pt x="1308" y="824"/>
                  </a:lnTo>
                  <a:lnTo>
                    <a:pt x="1311" y="837"/>
                  </a:lnTo>
                  <a:lnTo>
                    <a:pt x="1317" y="847"/>
                  </a:lnTo>
                  <a:lnTo>
                    <a:pt x="1328" y="855"/>
                  </a:lnTo>
                  <a:lnTo>
                    <a:pt x="1341" y="858"/>
                  </a:lnTo>
                  <a:lnTo>
                    <a:pt x="1354" y="855"/>
                  </a:lnTo>
                  <a:lnTo>
                    <a:pt x="1364" y="847"/>
                  </a:lnTo>
                  <a:lnTo>
                    <a:pt x="1371" y="837"/>
                  </a:lnTo>
                  <a:lnTo>
                    <a:pt x="1374" y="824"/>
                  </a:lnTo>
                  <a:lnTo>
                    <a:pt x="1371" y="812"/>
                  </a:lnTo>
                  <a:lnTo>
                    <a:pt x="1364" y="801"/>
                  </a:lnTo>
                  <a:lnTo>
                    <a:pt x="1354" y="794"/>
                  </a:lnTo>
                  <a:lnTo>
                    <a:pt x="1341" y="792"/>
                  </a:lnTo>
                  <a:close/>
                  <a:moveTo>
                    <a:pt x="1022" y="792"/>
                  </a:moveTo>
                  <a:lnTo>
                    <a:pt x="1009" y="794"/>
                  </a:lnTo>
                  <a:lnTo>
                    <a:pt x="998" y="801"/>
                  </a:lnTo>
                  <a:lnTo>
                    <a:pt x="991" y="812"/>
                  </a:lnTo>
                  <a:lnTo>
                    <a:pt x="989" y="824"/>
                  </a:lnTo>
                  <a:lnTo>
                    <a:pt x="991" y="837"/>
                  </a:lnTo>
                  <a:lnTo>
                    <a:pt x="998" y="847"/>
                  </a:lnTo>
                  <a:lnTo>
                    <a:pt x="1009" y="855"/>
                  </a:lnTo>
                  <a:lnTo>
                    <a:pt x="1022" y="858"/>
                  </a:lnTo>
                  <a:lnTo>
                    <a:pt x="1035" y="855"/>
                  </a:lnTo>
                  <a:lnTo>
                    <a:pt x="1046" y="847"/>
                  </a:lnTo>
                  <a:lnTo>
                    <a:pt x="1052" y="837"/>
                  </a:lnTo>
                  <a:lnTo>
                    <a:pt x="1055" y="824"/>
                  </a:lnTo>
                  <a:lnTo>
                    <a:pt x="1052" y="812"/>
                  </a:lnTo>
                  <a:lnTo>
                    <a:pt x="1046" y="801"/>
                  </a:lnTo>
                  <a:lnTo>
                    <a:pt x="1035" y="794"/>
                  </a:lnTo>
                  <a:lnTo>
                    <a:pt x="1022" y="792"/>
                  </a:lnTo>
                  <a:close/>
                  <a:moveTo>
                    <a:pt x="703" y="792"/>
                  </a:moveTo>
                  <a:lnTo>
                    <a:pt x="690" y="794"/>
                  </a:lnTo>
                  <a:lnTo>
                    <a:pt x="680" y="801"/>
                  </a:lnTo>
                  <a:lnTo>
                    <a:pt x="672" y="812"/>
                  </a:lnTo>
                  <a:lnTo>
                    <a:pt x="670" y="824"/>
                  </a:lnTo>
                  <a:lnTo>
                    <a:pt x="672" y="837"/>
                  </a:lnTo>
                  <a:lnTo>
                    <a:pt x="680" y="847"/>
                  </a:lnTo>
                  <a:lnTo>
                    <a:pt x="690" y="855"/>
                  </a:lnTo>
                  <a:lnTo>
                    <a:pt x="703" y="858"/>
                  </a:lnTo>
                  <a:lnTo>
                    <a:pt x="715" y="855"/>
                  </a:lnTo>
                  <a:lnTo>
                    <a:pt x="726" y="847"/>
                  </a:lnTo>
                  <a:lnTo>
                    <a:pt x="733" y="837"/>
                  </a:lnTo>
                  <a:lnTo>
                    <a:pt x="736" y="824"/>
                  </a:lnTo>
                  <a:lnTo>
                    <a:pt x="733" y="812"/>
                  </a:lnTo>
                  <a:lnTo>
                    <a:pt x="726" y="801"/>
                  </a:lnTo>
                  <a:lnTo>
                    <a:pt x="715" y="794"/>
                  </a:lnTo>
                  <a:lnTo>
                    <a:pt x="703" y="792"/>
                  </a:lnTo>
                  <a:close/>
                  <a:moveTo>
                    <a:pt x="384" y="792"/>
                  </a:moveTo>
                  <a:lnTo>
                    <a:pt x="371" y="794"/>
                  </a:lnTo>
                  <a:lnTo>
                    <a:pt x="361" y="801"/>
                  </a:lnTo>
                  <a:lnTo>
                    <a:pt x="353" y="812"/>
                  </a:lnTo>
                  <a:lnTo>
                    <a:pt x="351" y="824"/>
                  </a:lnTo>
                  <a:lnTo>
                    <a:pt x="353" y="837"/>
                  </a:lnTo>
                  <a:lnTo>
                    <a:pt x="361" y="847"/>
                  </a:lnTo>
                  <a:lnTo>
                    <a:pt x="371" y="855"/>
                  </a:lnTo>
                  <a:lnTo>
                    <a:pt x="384" y="858"/>
                  </a:lnTo>
                  <a:lnTo>
                    <a:pt x="396" y="855"/>
                  </a:lnTo>
                  <a:lnTo>
                    <a:pt x="407" y="847"/>
                  </a:lnTo>
                  <a:lnTo>
                    <a:pt x="414" y="837"/>
                  </a:lnTo>
                  <a:lnTo>
                    <a:pt x="416" y="824"/>
                  </a:lnTo>
                  <a:lnTo>
                    <a:pt x="414" y="812"/>
                  </a:lnTo>
                  <a:lnTo>
                    <a:pt x="407" y="801"/>
                  </a:lnTo>
                  <a:lnTo>
                    <a:pt x="396" y="794"/>
                  </a:lnTo>
                  <a:lnTo>
                    <a:pt x="384" y="792"/>
                  </a:lnTo>
                  <a:close/>
                  <a:moveTo>
                    <a:pt x="1341" y="699"/>
                  </a:moveTo>
                  <a:lnTo>
                    <a:pt x="1367" y="701"/>
                  </a:lnTo>
                  <a:lnTo>
                    <a:pt x="1390" y="708"/>
                  </a:lnTo>
                  <a:lnTo>
                    <a:pt x="1412" y="719"/>
                  </a:lnTo>
                  <a:lnTo>
                    <a:pt x="1431" y="735"/>
                  </a:lnTo>
                  <a:lnTo>
                    <a:pt x="1446" y="754"/>
                  </a:lnTo>
                  <a:lnTo>
                    <a:pt x="1458" y="775"/>
                  </a:lnTo>
                  <a:lnTo>
                    <a:pt x="1465" y="799"/>
                  </a:lnTo>
                  <a:lnTo>
                    <a:pt x="1467" y="824"/>
                  </a:lnTo>
                  <a:lnTo>
                    <a:pt x="1465" y="850"/>
                  </a:lnTo>
                  <a:lnTo>
                    <a:pt x="1458" y="873"/>
                  </a:lnTo>
                  <a:lnTo>
                    <a:pt x="1446" y="895"/>
                  </a:lnTo>
                  <a:lnTo>
                    <a:pt x="1431" y="914"/>
                  </a:lnTo>
                  <a:lnTo>
                    <a:pt x="1412" y="929"/>
                  </a:lnTo>
                  <a:lnTo>
                    <a:pt x="1390" y="940"/>
                  </a:lnTo>
                  <a:lnTo>
                    <a:pt x="1367" y="948"/>
                  </a:lnTo>
                  <a:lnTo>
                    <a:pt x="1341" y="951"/>
                  </a:lnTo>
                  <a:lnTo>
                    <a:pt x="1315" y="948"/>
                  </a:lnTo>
                  <a:lnTo>
                    <a:pt x="1292" y="940"/>
                  </a:lnTo>
                  <a:lnTo>
                    <a:pt x="1270" y="929"/>
                  </a:lnTo>
                  <a:lnTo>
                    <a:pt x="1251" y="914"/>
                  </a:lnTo>
                  <a:lnTo>
                    <a:pt x="1237" y="895"/>
                  </a:lnTo>
                  <a:lnTo>
                    <a:pt x="1224" y="873"/>
                  </a:lnTo>
                  <a:lnTo>
                    <a:pt x="1217" y="850"/>
                  </a:lnTo>
                  <a:lnTo>
                    <a:pt x="1214" y="824"/>
                  </a:lnTo>
                  <a:lnTo>
                    <a:pt x="1217" y="799"/>
                  </a:lnTo>
                  <a:lnTo>
                    <a:pt x="1224" y="775"/>
                  </a:lnTo>
                  <a:lnTo>
                    <a:pt x="1237" y="754"/>
                  </a:lnTo>
                  <a:lnTo>
                    <a:pt x="1251" y="735"/>
                  </a:lnTo>
                  <a:lnTo>
                    <a:pt x="1270" y="719"/>
                  </a:lnTo>
                  <a:lnTo>
                    <a:pt x="1292" y="708"/>
                  </a:lnTo>
                  <a:lnTo>
                    <a:pt x="1315" y="701"/>
                  </a:lnTo>
                  <a:lnTo>
                    <a:pt x="1341" y="699"/>
                  </a:lnTo>
                  <a:close/>
                  <a:moveTo>
                    <a:pt x="1022" y="699"/>
                  </a:moveTo>
                  <a:lnTo>
                    <a:pt x="1048" y="701"/>
                  </a:lnTo>
                  <a:lnTo>
                    <a:pt x="1071" y="708"/>
                  </a:lnTo>
                  <a:lnTo>
                    <a:pt x="1093" y="719"/>
                  </a:lnTo>
                  <a:lnTo>
                    <a:pt x="1112" y="735"/>
                  </a:lnTo>
                  <a:lnTo>
                    <a:pt x="1126" y="754"/>
                  </a:lnTo>
                  <a:lnTo>
                    <a:pt x="1139" y="775"/>
                  </a:lnTo>
                  <a:lnTo>
                    <a:pt x="1146" y="799"/>
                  </a:lnTo>
                  <a:lnTo>
                    <a:pt x="1148" y="824"/>
                  </a:lnTo>
                  <a:lnTo>
                    <a:pt x="1146" y="850"/>
                  </a:lnTo>
                  <a:lnTo>
                    <a:pt x="1139" y="873"/>
                  </a:lnTo>
                  <a:lnTo>
                    <a:pt x="1126" y="895"/>
                  </a:lnTo>
                  <a:lnTo>
                    <a:pt x="1112" y="914"/>
                  </a:lnTo>
                  <a:lnTo>
                    <a:pt x="1093" y="929"/>
                  </a:lnTo>
                  <a:lnTo>
                    <a:pt x="1071" y="940"/>
                  </a:lnTo>
                  <a:lnTo>
                    <a:pt x="1048" y="948"/>
                  </a:lnTo>
                  <a:lnTo>
                    <a:pt x="1022" y="951"/>
                  </a:lnTo>
                  <a:lnTo>
                    <a:pt x="996" y="948"/>
                  </a:lnTo>
                  <a:lnTo>
                    <a:pt x="972" y="940"/>
                  </a:lnTo>
                  <a:lnTo>
                    <a:pt x="951" y="929"/>
                  </a:lnTo>
                  <a:lnTo>
                    <a:pt x="932" y="914"/>
                  </a:lnTo>
                  <a:lnTo>
                    <a:pt x="917" y="895"/>
                  </a:lnTo>
                  <a:lnTo>
                    <a:pt x="905" y="873"/>
                  </a:lnTo>
                  <a:lnTo>
                    <a:pt x="898" y="850"/>
                  </a:lnTo>
                  <a:lnTo>
                    <a:pt x="896" y="824"/>
                  </a:lnTo>
                  <a:lnTo>
                    <a:pt x="898" y="799"/>
                  </a:lnTo>
                  <a:lnTo>
                    <a:pt x="905" y="775"/>
                  </a:lnTo>
                  <a:lnTo>
                    <a:pt x="917" y="754"/>
                  </a:lnTo>
                  <a:lnTo>
                    <a:pt x="932" y="735"/>
                  </a:lnTo>
                  <a:lnTo>
                    <a:pt x="951" y="719"/>
                  </a:lnTo>
                  <a:lnTo>
                    <a:pt x="972" y="708"/>
                  </a:lnTo>
                  <a:lnTo>
                    <a:pt x="996" y="701"/>
                  </a:lnTo>
                  <a:lnTo>
                    <a:pt x="1022" y="699"/>
                  </a:lnTo>
                  <a:close/>
                  <a:moveTo>
                    <a:pt x="703" y="699"/>
                  </a:moveTo>
                  <a:lnTo>
                    <a:pt x="728" y="701"/>
                  </a:lnTo>
                  <a:lnTo>
                    <a:pt x="752" y="708"/>
                  </a:lnTo>
                  <a:lnTo>
                    <a:pt x="774" y="719"/>
                  </a:lnTo>
                  <a:lnTo>
                    <a:pt x="792" y="735"/>
                  </a:lnTo>
                  <a:lnTo>
                    <a:pt x="808" y="754"/>
                  </a:lnTo>
                  <a:lnTo>
                    <a:pt x="819" y="775"/>
                  </a:lnTo>
                  <a:lnTo>
                    <a:pt x="826" y="799"/>
                  </a:lnTo>
                  <a:lnTo>
                    <a:pt x="830" y="824"/>
                  </a:lnTo>
                  <a:lnTo>
                    <a:pt x="826" y="850"/>
                  </a:lnTo>
                  <a:lnTo>
                    <a:pt x="819" y="873"/>
                  </a:lnTo>
                  <a:lnTo>
                    <a:pt x="808" y="895"/>
                  </a:lnTo>
                  <a:lnTo>
                    <a:pt x="792" y="914"/>
                  </a:lnTo>
                  <a:lnTo>
                    <a:pt x="774" y="929"/>
                  </a:lnTo>
                  <a:lnTo>
                    <a:pt x="752" y="940"/>
                  </a:lnTo>
                  <a:lnTo>
                    <a:pt x="728" y="948"/>
                  </a:lnTo>
                  <a:lnTo>
                    <a:pt x="703" y="951"/>
                  </a:lnTo>
                  <a:lnTo>
                    <a:pt x="678" y="948"/>
                  </a:lnTo>
                  <a:lnTo>
                    <a:pt x="653" y="940"/>
                  </a:lnTo>
                  <a:lnTo>
                    <a:pt x="632" y="929"/>
                  </a:lnTo>
                  <a:lnTo>
                    <a:pt x="614" y="914"/>
                  </a:lnTo>
                  <a:lnTo>
                    <a:pt x="598" y="895"/>
                  </a:lnTo>
                  <a:lnTo>
                    <a:pt x="586" y="873"/>
                  </a:lnTo>
                  <a:lnTo>
                    <a:pt x="579" y="850"/>
                  </a:lnTo>
                  <a:lnTo>
                    <a:pt x="577" y="824"/>
                  </a:lnTo>
                  <a:lnTo>
                    <a:pt x="579" y="799"/>
                  </a:lnTo>
                  <a:lnTo>
                    <a:pt x="586" y="775"/>
                  </a:lnTo>
                  <a:lnTo>
                    <a:pt x="598" y="754"/>
                  </a:lnTo>
                  <a:lnTo>
                    <a:pt x="614" y="735"/>
                  </a:lnTo>
                  <a:lnTo>
                    <a:pt x="632" y="719"/>
                  </a:lnTo>
                  <a:lnTo>
                    <a:pt x="653" y="708"/>
                  </a:lnTo>
                  <a:lnTo>
                    <a:pt x="678" y="701"/>
                  </a:lnTo>
                  <a:lnTo>
                    <a:pt x="703" y="699"/>
                  </a:lnTo>
                  <a:close/>
                  <a:moveTo>
                    <a:pt x="384" y="699"/>
                  </a:moveTo>
                  <a:lnTo>
                    <a:pt x="409" y="701"/>
                  </a:lnTo>
                  <a:lnTo>
                    <a:pt x="433" y="708"/>
                  </a:lnTo>
                  <a:lnTo>
                    <a:pt x="454" y="719"/>
                  </a:lnTo>
                  <a:lnTo>
                    <a:pt x="473" y="735"/>
                  </a:lnTo>
                  <a:lnTo>
                    <a:pt x="489" y="754"/>
                  </a:lnTo>
                  <a:lnTo>
                    <a:pt x="500" y="775"/>
                  </a:lnTo>
                  <a:lnTo>
                    <a:pt x="508" y="799"/>
                  </a:lnTo>
                  <a:lnTo>
                    <a:pt x="511" y="824"/>
                  </a:lnTo>
                  <a:lnTo>
                    <a:pt x="508" y="850"/>
                  </a:lnTo>
                  <a:lnTo>
                    <a:pt x="500" y="873"/>
                  </a:lnTo>
                  <a:lnTo>
                    <a:pt x="489" y="895"/>
                  </a:lnTo>
                  <a:lnTo>
                    <a:pt x="473" y="914"/>
                  </a:lnTo>
                  <a:lnTo>
                    <a:pt x="454" y="929"/>
                  </a:lnTo>
                  <a:lnTo>
                    <a:pt x="433" y="940"/>
                  </a:lnTo>
                  <a:lnTo>
                    <a:pt x="409" y="948"/>
                  </a:lnTo>
                  <a:lnTo>
                    <a:pt x="384" y="951"/>
                  </a:lnTo>
                  <a:lnTo>
                    <a:pt x="359" y="948"/>
                  </a:lnTo>
                  <a:lnTo>
                    <a:pt x="335" y="940"/>
                  </a:lnTo>
                  <a:lnTo>
                    <a:pt x="314" y="929"/>
                  </a:lnTo>
                  <a:lnTo>
                    <a:pt x="295" y="914"/>
                  </a:lnTo>
                  <a:lnTo>
                    <a:pt x="279" y="895"/>
                  </a:lnTo>
                  <a:lnTo>
                    <a:pt x="267" y="873"/>
                  </a:lnTo>
                  <a:lnTo>
                    <a:pt x="260" y="850"/>
                  </a:lnTo>
                  <a:lnTo>
                    <a:pt x="257" y="824"/>
                  </a:lnTo>
                  <a:lnTo>
                    <a:pt x="260" y="799"/>
                  </a:lnTo>
                  <a:lnTo>
                    <a:pt x="267" y="775"/>
                  </a:lnTo>
                  <a:lnTo>
                    <a:pt x="279" y="754"/>
                  </a:lnTo>
                  <a:lnTo>
                    <a:pt x="295" y="735"/>
                  </a:lnTo>
                  <a:lnTo>
                    <a:pt x="314" y="719"/>
                  </a:lnTo>
                  <a:lnTo>
                    <a:pt x="335" y="708"/>
                  </a:lnTo>
                  <a:lnTo>
                    <a:pt x="359" y="701"/>
                  </a:lnTo>
                  <a:lnTo>
                    <a:pt x="384" y="699"/>
                  </a:lnTo>
                  <a:close/>
                  <a:moveTo>
                    <a:pt x="1341" y="507"/>
                  </a:moveTo>
                  <a:lnTo>
                    <a:pt x="1328" y="510"/>
                  </a:lnTo>
                  <a:lnTo>
                    <a:pt x="1317" y="516"/>
                  </a:lnTo>
                  <a:lnTo>
                    <a:pt x="1311" y="527"/>
                  </a:lnTo>
                  <a:lnTo>
                    <a:pt x="1308" y="540"/>
                  </a:lnTo>
                  <a:lnTo>
                    <a:pt x="1311" y="553"/>
                  </a:lnTo>
                  <a:lnTo>
                    <a:pt x="1317" y="563"/>
                  </a:lnTo>
                  <a:lnTo>
                    <a:pt x="1328" y="571"/>
                  </a:lnTo>
                  <a:lnTo>
                    <a:pt x="1341" y="573"/>
                  </a:lnTo>
                  <a:lnTo>
                    <a:pt x="1354" y="571"/>
                  </a:lnTo>
                  <a:lnTo>
                    <a:pt x="1364" y="563"/>
                  </a:lnTo>
                  <a:lnTo>
                    <a:pt x="1371" y="553"/>
                  </a:lnTo>
                  <a:lnTo>
                    <a:pt x="1374" y="540"/>
                  </a:lnTo>
                  <a:lnTo>
                    <a:pt x="1371" y="527"/>
                  </a:lnTo>
                  <a:lnTo>
                    <a:pt x="1364" y="516"/>
                  </a:lnTo>
                  <a:lnTo>
                    <a:pt x="1354" y="510"/>
                  </a:lnTo>
                  <a:lnTo>
                    <a:pt x="1341" y="507"/>
                  </a:lnTo>
                  <a:close/>
                  <a:moveTo>
                    <a:pt x="1022" y="507"/>
                  </a:moveTo>
                  <a:lnTo>
                    <a:pt x="1009" y="510"/>
                  </a:lnTo>
                  <a:lnTo>
                    <a:pt x="998" y="516"/>
                  </a:lnTo>
                  <a:lnTo>
                    <a:pt x="991" y="527"/>
                  </a:lnTo>
                  <a:lnTo>
                    <a:pt x="989" y="540"/>
                  </a:lnTo>
                  <a:lnTo>
                    <a:pt x="991" y="553"/>
                  </a:lnTo>
                  <a:lnTo>
                    <a:pt x="998" y="563"/>
                  </a:lnTo>
                  <a:lnTo>
                    <a:pt x="1009" y="571"/>
                  </a:lnTo>
                  <a:lnTo>
                    <a:pt x="1022" y="573"/>
                  </a:lnTo>
                  <a:lnTo>
                    <a:pt x="1035" y="571"/>
                  </a:lnTo>
                  <a:lnTo>
                    <a:pt x="1046" y="563"/>
                  </a:lnTo>
                  <a:lnTo>
                    <a:pt x="1052" y="553"/>
                  </a:lnTo>
                  <a:lnTo>
                    <a:pt x="1055" y="540"/>
                  </a:lnTo>
                  <a:lnTo>
                    <a:pt x="1052" y="527"/>
                  </a:lnTo>
                  <a:lnTo>
                    <a:pt x="1046" y="516"/>
                  </a:lnTo>
                  <a:lnTo>
                    <a:pt x="1035" y="510"/>
                  </a:lnTo>
                  <a:lnTo>
                    <a:pt x="1022" y="507"/>
                  </a:lnTo>
                  <a:close/>
                  <a:moveTo>
                    <a:pt x="703" y="507"/>
                  </a:moveTo>
                  <a:lnTo>
                    <a:pt x="690" y="510"/>
                  </a:lnTo>
                  <a:lnTo>
                    <a:pt x="680" y="516"/>
                  </a:lnTo>
                  <a:lnTo>
                    <a:pt x="672" y="527"/>
                  </a:lnTo>
                  <a:lnTo>
                    <a:pt x="670" y="540"/>
                  </a:lnTo>
                  <a:lnTo>
                    <a:pt x="672" y="553"/>
                  </a:lnTo>
                  <a:lnTo>
                    <a:pt x="680" y="563"/>
                  </a:lnTo>
                  <a:lnTo>
                    <a:pt x="690" y="571"/>
                  </a:lnTo>
                  <a:lnTo>
                    <a:pt x="703" y="573"/>
                  </a:lnTo>
                  <a:lnTo>
                    <a:pt x="715" y="571"/>
                  </a:lnTo>
                  <a:lnTo>
                    <a:pt x="726" y="563"/>
                  </a:lnTo>
                  <a:lnTo>
                    <a:pt x="733" y="553"/>
                  </a:lnTo>
                  <a:lnTo>
                    <a:pt x="736" y="540"/>
                  </a:lnTo>
                  <a:lnTo>
                    <a:pt x="733" y="527"/>
                  </a:lnTo>
                  <a:lnTo>
                    <a:pt x="726" y="516"/>
                  </a:lnTo>
                  <a:lnTo>
                    <a:pt x="715" y="510"/>
                  </a:lnTo>
                  <a:lnTo>
                    <a:pt x="703" y="507"/>
                  </a:lnTo>
                  <a:close/>
                  <a:moveTo>
                    <a:pt x="384" y="507"/>
                  </a:moveTo>
                  <a:lnTo>
                    <a:pt x="371" y="510"/>
                  </a:lnTo>
                  <a:lnTo>
                    <a:pt x="361" y="516"/>
                  </a:lnTo>
                  <a:lnTo>
                    <a:pt x="353" y="527"/>
                  </a:lnTo>
                  <a:lnTo>
                    <a:pt x="351" y="540"/>
                  </a:lnTo>
                  <a:lnTo>
                    <a:pt x="353" y="553"/>
                  </a:lnTo>
                  <a:lnTo>
                    <a:pt x="361" y="563"/>
                  </a:lnTo>
                  <a:lnTo>
                    <a:pt x="371" y="571"/>
                  </a:lnTo>
                  <a:lnTo>
                    <a:pt x="384" y="573"/>
                  </a:lnTo>
                  <a:lnTo>
                    <a:pt x="396" y="571"/>
                  </a:lnTo>
                  <a:lnTo>
                    <a:pt x="407" y="563"/>
                  </a:lnTo>
                  <a:lnTo>
                    <a:pt x="414" y="553"/>
                  </a:lnTo>
                  <a:lnTo>
                    <a:pt x="416" y="540"/>
                  </a:lnTo>
                  <a:lnTo>
                    <a:pt x="414" y="527"/>
                  </a:lnTo>
                  <a:lnTo>
                    <a:pt x="407" y="516"/>
                  </a:lnTo>
                  <a:lnTo>
                    <a:pt x="396" y="510"/>
                  </a:lnTo>
                  <a:lnTo>
                    <a:pt x="384" y="507"/>
                  </a:lnTo>
                  <a:close/>
                  <a:moveTo>
                    <a:pt x="1341" y="414"/>
                  </a:moveTo>
                  <a:lnTo>
                    <a:pt x="1367" y="417"/>
                  </a:lnTo>
                  <a:lnTo>
                    <a:pt x="1390" y="424"/>
                  </a:lnTo>
                  <a:lnTo>
                    <a:pt x="1412" y="436"/>
                  </a:lnTo>
                  <a:lnTo>
                    <a:pt x="1431" y="450"/>
                  </a:lnTo>
                  <a:lnTo>
                    <a:pt x="1446" y="469"/>
                  </a:lnTo>
                  <a:lnTo>
                    <a:pt x="1458" y="491"/>
                  </a:lnTo>
                  <a:lnTo>
                    <a:pt x="1465" y="514"/>
                  </a:lnTo>
                  <a:lnTo>
                    <a:pt x="1467" y="540"/>
                  </a:lnTo>
                  <a:lnTo>
                    <a:pt x="1465" y="566"/>
                  </a:lnTo>
                  <a:lnTo>
                    <a:pt x="1458" y="590"/>
                  </a:lnTo>
                  <a:lnTo>
                    <a:pt x="1446" y="611"/>
                  </a:lnTo>
                  <a:lnTo>
                    <a:pt x="1431" y="629"/>
                  </a:lnTo>
                  <a:lnTo>
                    <a:pt x="1412" y="645"/>
                  </a:lnTo>
                  <a:lnTo>
                    <a:pt x="1390" y="657"/>
                  </a:lnTo>
                  <a:lnTo>
                    <a:pt x="1367" y="664"/>
                  </a:lnTo>
                  <a:lnTo>
                    <a:pt x="1341" y="666"/>
                  </a:lnTo>
                  <a:lnTo>
                    <a:pt x="1315" y="664"/>
                  </a:lnTo>
                  <a:lnTo>
                    <a:pt x="1292" y="657"/>
                  </a:lnTo>
                  <a:lnTo>
                    <a:pt x="1270" y="645"/>
                  </a:lnTo>
                  <a:lnTo>
                    <a:pt x="1251" y="629"/>
                  </a:lnTo>
                  <a:lnTo>
                    <a:pt x="1237" y="611"/>
                  </a:lnTo>
                  <a:lnTo>
                    <a:pt x="1224" y="590"/>
                  </a:lnTo>
                  <a:lnTo>
                    <a:pt x="1217" y="566"/>
                  </a:lnTo>
                  <a:lnTo>
                    <a:pt x="1214" y="540"/>
                  </a:lnTo>
                  <a:lnTo>
                    <a:pt x="1217" y="514"/>
                  </a:lnTo>
                  <a:lnTo>
                    <a:pt x="1224" y="491"/>
                  </a:lnTo>
                  <a:lnTo>
                    <a:pt x="1237" y="469"/>
                  </a:lnTo>
                  <a:lnTo>
                    <a:pt x="1251" y="450"/>
                  </a:lnTo>
                  <a:lnTo>
                    <a:pt x="1270" y="436"/>
                  </a:lnTo>
                  <a:lnTo>
                    <a:pt x="1292" y="424"/>
                  </a:lnTo>
                  <a:lnTo>
                    <a:pt x="1315" y="417"/>
                  </a:lnTo>
                  <a:lnTo>
                    <a:pt x="1341" y="414"/>
                  </a:lnTo>
                  <a:close/>
                  <a:moveTo>
                    <a:pt x="1022" y="414"/>
                  </a:moveTo>
                  <a:lnTo>
                    <a:pt x="1048" y="417"/>
                  </a:lnTo>
                  <a:lnTo>
                    <a:pt x="1071" y="424"/>
                  </a:lnTo>
                  <a:lnTo>
                    <a:pt x="1093" y="436"/>
                  </a:lnTo>
                  <a:lnTo>
                    <a:pt x="1112" y="450"/>
                  </a:lnTo>
                  <a:lnTo>
                    <a:pt x="1126" y="469"/>
                  </a:lnTo>
                  <a:lnTo>
                    <a:pt x="1139" y="491"/>
                  </a:lnTo>
                  <a:lnTo>
                    <a:pt x="1146" y="514"/>
                  </a:lnTo>
                  <a:lnTo>
                    <a:pt x="1148" y="540"/>
                  </a:lnTo>
                  <a:lnTo>
                    <a:pt x="1146" y="566"/>
                  </a:lnTo>
                  <a:lnTo>
                    <a:pt x="1139" y="590"/>
                  </a:lnTo>
                  <a:lnTo>
                    <a:pt x="1126" y="611"/>
                  </a:lnTo>
                  <a:lnTo>
                    <a:pt x="1112" y="629"/>
                  </a:lnTo>
                  <a:lnTo>
                    <a:pt x="1093" y="645"/>
                  </a:lnTo>
                  <a:lnTo>
                    <a:pt x="1071" y="657"/>
                  </a:lnTo>
                  <a:lnTo>
                    <a:pt x="1048" y="664"/>
                  </a:lnTo>
                  <a:lnTo>
                    <a:pt x="1022" y="666"/>
                  </a:lnTo>
                  <a:lnTo>
                    <a:pt x="996" y="664"/>
                  </a:lnTo>
                  <a:lnTo>
                    <a:pt x="972" y="657"/>
                  </a:lnTo>
                  <a:lnTo>
                    <a:pt x="951" y="645"/>
                  </a:lnTo>
                  <a:lnTo>
                    <a:pt x="932" y="629"/>
                  </a:lnTo>
                  <a:lnTo>
                    <a:pt x="917" y="611"/>
                  </a:lnTo>
                  <a:lnTo>
                    <a:pt x="905" y="590"/>
                  </a:lnTo>
                  <a:lnTo>
                    <a:pt x="898" y="566"/>
                  </a:lnTo>
                  <a:lnTo>
                    <a:pt x="896" y="540"/>
                  </a:lnTo>
                  <a:lnTo>
                    <a:pt x="898" y="514"/>
                  </a:lnTo>
                  <a:lnTo>
                    <a:pt x="905" y="491"/>
                  </a:lnTo>
                  <a:lnTo>
                    <a:pt x="917" y="469"/>
                  </a:lnTo>
                  <a:lnTo>
                    <a:pt x="932" y="450"/>
                  </a:lnTo>
                  <a:lnTo>
                    <a:pt x="951" y="436"/>
                  </a:lnTo>
                  <a:lnTo>
                    <a:pt x="972" y="424"/>
                  </a:lnTo>
                  <a:lnTo>
                    <a:pt x="996" y="417"/>
                  </a:lnTo>
                  <a:lnTo>
                    <a:pt x="1022" y="414"/>
                  </a:lnTo>
                  <a:close/>
                  <a:moveTo>
                    <a:pt x="703" y="414"/>
                  </a:moveTo>
                  <a:lnTo>
                    <a:pt x="728" y="417"/>
                  </a:lnTo>
                  <a:lnTo>
                    <a:pt x="752" y="424"/>
                  </a:lnTo>
                  <a:lnTo>
                    <a:pt x="774" y="436"/>
                  </a:lnTo>
                  <a:lnTo>
                    <a:pt x="792" y="450"/>
                  </a:lnTo>
                  <a:lnTo>
                    <a:pt x="808" y="469"/>
                  </a:lnTo>
                  <a:lnTo>
                    <a:pt x="819" y="491"/>
                  </a:lnTo>
                  <a:lnTo>
                    <a:pt x="826" y="514"/>
                  </a:lnTo>
                  <a:lnTo>
                    <a:pt x="830" y="540"/>
                  </a:lnTo>
                  <a:lnTo>
                    <a:pt x="826" y="566"/>
                  </a:lnTo>
                  <a:lnTo>
                    <a:pt x="819" y="590"/>
                  </a:lnTo>
                  <a:lnTo>
                    <a:pt x="808" y="611"/>
                  </a:lnTo>
                  <a:lnTo>
                    <a:pt x="792" y="629"/>
                  </a:lnTo>
                  <a:lnTo>
                    <a:pt x="774" y="645"/>
                  </a:lnTo>
                  <a:lnTo>
                    <a:pt x="752" y="657"/>
                  </a:lnTo>
                  <a:lnTo>
                    <a:pt x="728" y="664"/>
                  </a:lnTo>
                  <a:lnTo>
                    <a:pt x="703" y="666"/>
                  </a:lnTo>
                  <a:lnTo>
                    <a:pt x="678" y="664"/>
                  </a:lnTo>
                  <a:lnTo>
                    <a:pt x="653" y="657"/>
                  </a:lnTo>
                  <a:lnTo>
                    <a:pt x="632" y="645"/>
                  </a:lnTo>
                  <a:lnTo>
                    <a:pt x="614" y="629"/>
                  </a:lnTo>
                  <a:lnTo>
                    <a:pt x="598" y="611"/>
                  </a:lnTo>
                  <a:lnTo>
                    <a:pt x="586" y="590"/>
                  </a:lnTo>
                  <a:lnTo>
                    <a:pt x="579" y="566"/>
                  </a:lnTo>
                  <a:lnTo>
                    <a:pt x="577" y="540"/>
                  </a:lnTo>
                  <a:lnTo>
                    <a:pt x="579" y="514"/>
                  </a:lnTo>
                  <a:lnTo>
                    <a:pt x="586" y="491"/>
                  </a:lnTo>
                  <a:lnTo>
                    <a:pt x="598" y="469"/>
                  </a:lnTo>
                  <a:lnTo>
                    <a:pt x="614" y="450"/>
                  </a:lnTo>
                  <a:lnTo>
                    <a:pt x="632" y="436"/>
                  </a:lnTo>
                  <a:lnTo>
                    <a:pt x="653" y="424"/>
                  </a:lnTo>
                  <a:lnTo>
                    <a:pt x="678" y="417"/>
                  </a:lnTo>
                  <a:lnTo>
                    <a:pt x="703" y="414"/>
                  </a:lnTo>
                  <a:close/>
                  <a:moveTo>
                    <a:pt x="384" y="414"/>
                  </a:moveTo>
                  <a:lnTo>
                    <a:pt x="409" y="417"/>
                  </a:lnTo>
                  <a:lnTo>
                    <a:pt x="433" y="424"/>
                  </a:lnTo>
                  <a:lnTo>
                    <a:pt x="454" y="436"/>
                  </a:lnTo>
                  <a:lnTo>
                    <a:pt x="473" y="450"/>
                  </a:lnTo>
                  <a:lnTo>
                    <a:pt x="489" y="469"/>
                  </a:lnTo>
                  <a:lnTo>
                    <a:pt x="500" y="491"/>
                  </a:lnTo>
                  <a:lnTo>
                    <a:pt x="508" y="514"/>
                  </a:lnTo>
                  <a:lnTo>
                    <a:pt x="511" y="540"/>
                  </a:lnTo>
                  <a:lnTo>
                    <a:pt x="508" y="566"/>
                  </a:lnTo>
                  <a:lnTo>
                    <a:pt x="500" y="590"/>
                  </a:lnTo>
                  <a:lnTo>
                    <a:pt x="489" y="611"/>
                  </a:lnTo>
                  <a:lnTo>
                    <a:pt x="473" y="629"/>
                  </a:lnTo>
                  <a:lnTo>
                    <a:pt x="454" y="645"/>
                  </a:lnTo>
                  <a:lnTo>
                    <a:pt x="433" y="657"/>
                  </a:lnTo>
                  <a:lnTo>
                    <a:pt x="409" y="664"/>
                  </a:lnTo>
                  <a:lnTo>
                    <a:pt x="384" y="666"/>
                  </a:lnTo>
                  <a:lnTo>
                    <a:pt x="359" y="664"/>
                  </a:lnTo>
                  <a:lnTo>
                    <a:pt x="335" y="657"/>
                  </a:lnTo>
                  <a:lnTo>
                    <a:pt x="314" y="645"/>
                  </a:lnTo>
                  <a:lnTo>
                    <a:pt x="295" y="629"/>
                  </a:lnTo>
                  <a:lnTo>
                    <a:pt x="279" y="611"/>
                  </a:lnTo>
                  <a:lnTo>
                    <a:pt x="267" y="590"/>
                  </a:lnTo>
                  <a:lnTo>
                    <a:pt x="260" y="566"/>
                  </a:lnTo>
                  <a:lnTo>
                    <a:pt x="257" y="540"/>
                  </a:lnTo>
                  <a:lnTo>
                    <a:pt x="260" y="514"/>
                  </a:lnTo>
                  <a:lnTo>
                    <a:pt x="267" y="491"/>
                  </a:lnTo>
                  <a:lnTo>
                    <a:pt x="279" y="469"/>
                  </a:lnTo>
                  <a:lnTo>
                    <a:pt x="295" y="450"/>
                  </a:lnTo>
                  <a:lnTo>
                    <a:pt x="314" y="436"/>
                  </a:lnTo>
                  <a:lnTo>
                    <a:pt x="335" y="424"/>
                  </a:lnTo>
                  <a:lnTo>
                    <a:pt x="359" y="417"/>
                  </a:lnTo>
                  <a:lnTo>
                    <a:pt x="384" y="414"/>
                  </a:lnTo>
                  <a:close/>
                  <a:moveTo>
                    <a:pt x="218" y="0"/>
                  </a:moveTo>
                  <a:lnTo>
                    <a:pt x="1495" y="0"/>
                  </a:lnTo>
                  <a:lnTo>
                    <a:pt x="1530" y="3"/>
                  </a:lnTo>
                  <a:lnTo>
                    <a:pt x="1564" y="12"/>
                  </a:lnTo>
                  <a:lnTo>
                    <a:pt x="1595" y="24"/>
                  </a:lnTo>
                  <a:lnTo>
                    <a:pt x="1624" y="42"/>
                  </a:lnTo>
                  <a:lnTo>
                    <a:pt x="1650" y="64"/>
                  </a:lnTo>
                  <a:lnTo>
                    <a:pt x="1671" y="89"/>
                  </a:lnTo>
                  <a:lnTo>
                    <a:pt x="1689" y="118"/>
                  </a:lnTo>
                  <a:lnTo>
                    <a:pt x="1702" y="149"/>
                  </a:lnTo>
                  <a:lnTo>
                    <a:pt x="1711" y="182"/>
                  </a:lnTo>
                  <a:lnTo>
                    <a:pt x="1714" y="218"/>
                  </a:lnTo>
                  <a:lnTo>
                    <a:pt x="1714" y="2181"/>
                  </a:lnTo>
                  <a:lnTo>
                    <a:pt x="1711" y="2217"/>
                  </a:lnTo>
                  <a:lnTo>
                    <a:pt x="1702" y="2251"/>
                  </a:lnTo>
                  <a:lnTo>
                    <a:pt x="1689" y="2282"/>
                  </a:lnTo>
                  <a:lnTo>
                    <a:pt x="1671" y="2310"/>
                  </a:lnTo>
                  <a:lnTo>
                    <a:pt x="1650" y="2335"/>
                  </a:lnTo>
                  <a:lnTo>
                    <a:pt x="1624" y="2357"/>
                  </a:lnTo>
                  <a:lnTo>
                    <a:pt x="1595" y="2375"/>
                  </a:lnTo>
                  <a:lnTo>
                    <a:pt x="1564" y="2389"/>
                  </a:lnTo>
                  <a:lnTo>
                    <a:pt x="1530" y="2396"/>
                  </a:lnTo>
                  <a:lnTo>
                    <a:pt x="1495" y="2399"/>
                  </a:lnTo>
                  <a:lnTo>
                    <a:pt x="1293" y="2399"/>
                  </a:lnTo>
                  <a:lnTo>
                    <a:pt x="1277" y="2402"/>
                  </a:lnTo>
                  <a:lnTo>
                    <a:pt x="1263" y="2410"/>
                  </a:lnTo>
                  <a:lnTo>
                    <a:pt x="1252" y="2420"/>
                  </a:lnTo>
                  <a:lnTo>
                    <a:pt x="1245" y="2435"/>
                  </a:lnTo>
                  <a:lnTo>
                    <a:pt x="1242" y="2451"/>
                  </a:lnTo>
                  <a:lnTo>
                    <a:pt x="1245" y="2467"/>
                  </a:lnTo>
                  <a:lnTo>
                    <a:pt x="1252" y="2481"/>
                  </a:lnTo>
                  <a:lnTo>
                    <a:pt x="1263" y="2493"/>
                  </a:lnTo>
                  <a:lnTo>
                    <a:pt x="1277" y="2500"/>
                  </a:lnTo>
                  <a:lnTo>
                    <a:pt x="1293" y="2502"/>
                  </a:lnTo>
                  <a:lnTo>
                    <a:pt x="1490" y="2503"/>
                  </a:lnTo>
                  <a:lnTo>
                    <a:pt x="1526" y="2505"/>
                  </a:lnTo>
                  <a:lnTo>
                    <a:pt x="1561" y="2513"/>
                  </a:lnTo>
                  <a:lnTo>
                    <a:pt x="1593" y="2527"/>
                  </a:lnTo>
                  <a:lnTo>
                    <a:pt x="1621" y="2546"/>
                  </a:lnTo>
                  <a:lnTo>
                    <a:pt x="1648" y="2568"/>
                  </a:lnTo>
                  <a:lnTo>
                    <a:pt x="1670" y="2594"/>
                  </a:lnTo>
                  <a:lnTo>
                    <a:pt x="1689" y="2623"/>
                  </a:lnTo>
                  <a:lnTo>
                    <a:pt x="1702" y="2655"/>
                  </a:lnTo>
                  <a:lnTo>
                    <a:pt x="1711" y="2689"/>
                  </a:lnTo>
                  <a:lnTo>
                    <a:pt x="1714" y="2725"/>
                  </a:lnTo>
                  <a:lnTo>
                    <a:pt x="1714" y="3233"/>
                  </a:lnTo>
                  <a:lnTo>
                    <a:pt x="1711" y="3270"/>
                  </a:lnTo>
                  <a:lnTo>
                    <a:pt x="1702" y="3303"/>
                  </a:lnTo>
                  <a:lnTo>
                    <a:pt x="1689" y="3336"/>
                  </a:lnTo>
                  <a:lnTo>
                    <a:pt x="1670" y="3365"/>
                  </a:lnTo>
                  <a:lnTo>
                    <a:pt x="1648" y="3391"/>
                  </a:lnTo>
                  <a:lnTo>
                    <a:pt x="1621" y="3413"/>
                  </a:lnTo>
                  <a:lnTo>
                    <a:pt x="1593" y="3431"/>
                  </a:lnTo>
                  <a:lnTo>
                    <a:pt x="1561" y="3444"/>
                  </a:lnTo>
                  <a:lnTo>
                    <a:pt x="1526" y="3453"/>
                  </a:lnTo>
                  <a:lnTo>
                    <a:pt x="1490" y="3456"/>
                  </a:lnTo>
                  <a:lnTo>
                    <a:pt x="222" y="3456"/>
                  </a:lnTo>
                  <a:lnTo>
                    <a:pt x="187" y="3453"/>
                  </a:lnTo>
                  <a:lnTo>
                    <a:pt x="152" y="3444"/>
                  </a:lnTo>
                  <a:lnTo>
                    <a:pt x="121" y="3431"/>
                  </a:lnTo>
                  <a:lnTo>
                    <a:pt x="91" y="3413"/>
                  </a:lnTo>
                  <a:lnTo>
                    <a:pt x="65" y="3391"/>
                  </a:lnTo>
                  <a:lnTo>
                    <a:pt x="43" y="3365"/>
                  </a:lnTo>
                  <a:lnTo>
                    <a:pt x="24" y="3336"/>
                  </a:lnTo>
                  <a:lnTo>
                    <a:pt x="10" y="3303"/>
                  </a:lnTo>
                  <a:lnTo>
                    <a:pt x="2" y="3270"/>
                  </a:lnTo>
                  <a:lnTo>
                    <a:pt x="0" y="3233"/>
                  </a:lnTo>
                  <a:lnTo>
                    <a:pt x="0" y="2725"/>
                  </a:lnTo>
                  <a:lnTo>
                    <a:pt x="2" y="2689"/>
                  </a:lnTo>
                  <a:lnTo>
                    <a:pt x="10" y="2655"/>
                  </a:lnTo>
                  <a:lnTo>
                    <a:pt x="24" y="2623"/>
                  </a:lnTo>
                  <a:lnTo>
                    <a:pt x="43" y="2594"/>
                  </a:lnTo>
                  <a:lnTo>
                    <a:pt x="65" y="2568"/>
                  </a:lnTo>
                  <a:lnTo>
                    <a:pt x="91" y="2546"/>
                  </a:lnTo>
                  <a:lnTo>
                    <a:pt x="121" y="2527"/>
                  </a:lnTo>
                  <a:lnTo>
                    <a:pt x="152" y="2513"/>
                  </a:lnTo>
                  <a:lnTo>
                    <a:pt x="187" y="2505"/>
                  </a:lnTo>
                  <a:lnTo>
                    <a:pt x="222" y="2503"/>
                  </a:lnTo>
                  <a:lnTo>
                    <a:pt x="457" y="2503"/>
                  </a:lnTo>
                  <a:lnTo>
                    <a:pt x="472" y="2505"/>
                  </a:lnTo>
                  <a:lnTo>
                    <a:pt x="485" y="2511"/>
                  </a:lnTo>
                  <a:lnTo>
                    <a:pt x="495" y="2522"/>
                  </a:lnTo>
                  <a:lnTo>
                    <a:pt x="501" y="2534"/>
                  </a:lnTo>
                  <a:lnTo>
                    <a:pt x="503" y="2549"/>
                  </a:lnTo>
                  <a:lnTo>
                    <a:pt x="501" y="2564"/>
                  </a:lnTo>
                  <a:lnTo>
                    <a:pt x="495" y="2577"/>
                  </a:lnTo>
                  <a:lnTo>
                    <a:pt x="485" y="2587"/>
                  </a:lnTo>
                  <a:lnTo>
                    <a:pt x="472" y="2594"/>
                  </a:lnTo>
                  <a:lnTo>
                    <a:pt x="457" y="2596"/>
                  </a:lnTo>
                  <a:lnTo>
                    <a:pt x="222" y="2596"/>
                  </a:lnTo>
                  <a:lnTo>
                    <a:pt x="196" y="2598"/>
                  </a:lnTo>
                  <a:lnTo>
                    <a:pt x="172" y="2607"/>
                  </a:lnTo>
                  <a:lnTo>
                    <a:pt x="150" y="2618"/>
                  </a:lnTo>
                  <a:lnTo>
                    <a:pt x="131" y="2634"/>
                  </a:lnTo>
                  <a:lnTo>
                    <a:pt x="115" y="2653"/>
                  </a:lnTo>
                  <a:lnTo>
                    <a:pt x="104" y="2675"/>
                  </a:lnTo>
                  <a:lnTo>
                    <a:pt x="95" y="2699"/>
                  </a:lnTo>
                  <a:lnTo>
                    <a:pt x="93" y="2725"/>
                  </a:lnTo>
                  <a:lnTo>
                    <a:pt x="93" y="3233"/>
                  </a:lnTo>
                  <a:lnTo>
                    <a:pt x="95" y="3259"/>
                  </a:lnTo>
                  <a:lnTo>
                    <a:pt x="104" y="3283"/>
                  </a:lnTo>
                  <a:lnTo>
                    <a:pt x="115" y="3305"/>
                  </a:lnTo>
                  <a:lnTo>
                    <a:pt x="131" y="3325"/>
                  </a:lnTo>
                  <a:lnTo>
                    <a:pt x="150" y="3341"/>
                  </a:lnTo>
                  <a:lnTo>
                    <a:pt x="172" y="3352"/>
                  </a:lnTo>
                  <a:lnTo>
                    <a:pt x="196" y="3360"/>
                  </a:lnTo>
                  <a:lnTo>
                    <a:pt x="222" y="3363"/>
                  </a:lnTo>
                  <a:lnTo>
                    <a:pt x="1490" y="3363"/>
                  </a:lnTo>
                  <a:lnTo>
                    <a:pt x="1517" y="3360"/>
                  </a:lnTo>
                  <a:lnTo>
                    <a:pt x="1541" y="3352"/>
                  </a:lnTo>
                  <a:lnTo>
                    <a:pt x="1563" y="3341"/>
                  </a:lnTo>
                  <a:lnTo>
                    <a:pt x="1582" y="3325"/>
                  </a:lnTo>
                  <a:lnTo>
                    <a:pt x="1597" y="3305"/>
                  </a:lnTo>
                  <a:lnTo>
                    <a:pt x="1610" y="3283"/>
                  </a:lnTo>
                  <a:lnTo>
                    <a:pt x="1617" y="3259"/>
                  </a:lnTo>
                  <a:lnTo>
                    <a:pt x="1619" y="3233"/>
                  </a:lnTo>
                  <a:lnTo>
                    <a:pt x="1619" y="2725"/>
                  </a:lnTo>
                  <a:lnTo>
                    <a:pt x="1617" y="2699"/>
                  </a:lnTo>
                  <a:lnTo>
                    <a:pt x="1610" y="2675"/>
                  </a:lnTo>
                  <a:lnTo>
                    <a:pt x="1597" y="2653"/>
                  </a:lnTo>
                  <a:lnTo>
                    <a:pt x="1582" y="2634"/>
                  </a:lnTo>
                  <a:lnTo>
                    <a:pt x="1563" y="2618"/>
                  </a:lnTo>
                  <a:lnTo>
                    <a:pt x="1541" y="2607"/>
                  </a:lnTo>
                  <a:lnTo>
                    <a:pt x="1517" y="2598"/>
                  </a:lnTo>
                  <a:lnTo>
                    <a:pt x="1490" y="2596"/>
                  </a:lnTo>
                  <a:lnTo>
                    <a:pt x="1293" y="2596"/>
                  </a:lnTo>
                  <a:lnTo>
                    <a:pt x="1264" y="2593"/>
                  </a:lnTo>
                  <a:lnTo>
                    <a:pt x="1237" y="2585"/>
                  </a:lnTo>
                  <a:lnTo>
                    <a:pt x="1212" y="2571"/>
                  </a:lnTo>
                  <a:lnTo>
                    <a:pt x="1190" y="2553"/>
                  </a:lnTo>
                  <a:lnTo>
                    <a:pt x="1173" y="2532"/>
                  </a:lnTo>
                  <a:lnTo>
                    <a:pt x="1160" y="2507"/>
                  </a:lnTo>
                  <a:lnTo>
                    <a:pt x="1152" y="2480"/>
                  </a:lnTo>
                  <a:lnTo>
                    <a:pt x="1148" y="2451"/>
                  </a:lnTo>
                  <a:lnTo>
                    <a:pt x="1152" y="2421"/>
                  </a:lnTo>
                  <a:lnTo>
                    <a:pt x="1160" y="2394"/>
                  </a:lnTo>
                  <a:lnTo>
                    <a:pt x="1173" y="2370"/>
                  </a:lnTo>
                  <a:lnTo>
                    <a:pt x="1190" y="2348"/>
                  </a:lnTo>
                  <a:lnTo>
                    <a:pt x="1212" y="2330"/>
                  </a:lnTo>
                  <a:lnTo>
                    <a:pt x="1237" y="2318"/>
                  </a:lnTo>
                  <a:lnTo>
                    <a:pt x="1264" y="2309"/>
                  </a:lnTo>
                  <a:lnTo>
                    <a:pt x="1293" y="2306"/>
                  </a:lnTo>
                  <a:lnTo>
                    <a:pt x="1496" y="2306"/>
                  </a:lnTo>
                  <a:lnTo>
                    <a:pt x="1520" y="2304"/>
                  </a:lnTo>
                  <a:lnTo>
                    <a:pt x="1544" y="2297"/>
                  </a:lnTo>
                  <a:lnTo>
                    <a:pt x="1565" y="2285"/>
                  </a:lnTo>
                  <a:lnTo>
                    <a:pt x="1584" y="2269"/>
                  </a:lnTo>
                  <a:lnTo>
                    <a:pt x="1598" y="2251"/>
                  </a:lnTo>
                  <a:lnTo>
                    <a:pt x="1610" y="2230"/>
                  </a:lnTo>
                  <a:lnTo>
                    <a:pt x="1617" y="2207"/>
                  </a:lnTo>
                  <a:lnTo>
                    <a:pt x="1619" y="2181"/>
                  </a:lnTo>
                  <a:lnTo>
                    <a:pt x="1619" y="218"/>
                  </a:lnTo>
                  <a:lnTo>
                    <a:pt x="1617" y="193"/>
                  </a:lnTo>
                  <a:lnTo>
                    <a:pt x="1610" y="170"/>
                  </a:lnTo>
                  <a:lnTo>
                    <a:pt x="1598" y="149"/>
                  </a:lnTo>
                  <a:lnTo>
                    <a:pt x="1583" y="130"/>
                  </a:lnTo>
                  <a:lnTo>
                    <a:pt x="1565" y="115"/>
                  </a:lnTo>
                  <a:lnTo>
                    <a:pt x="1544" y="104"/>
                  </a:lnTo>
                  <a:lnTo>
                    <a:pt x="1520" y="96"/>
                  </a:lnTo>
                  <a:lnTo>
                    <a:pt x="1495" y="93"/>
                  </a:lnTo>
                  <a:lnTo>
                    <a:pt x="218" y="93"/>
                  </a:lnTo>
                  <a:lnTo>
                    <a:pt x="193" y="96"/>
                  </a:lnTo>
                  <a:lnTo>
                    <a:pt x="169" y="104"/>
                  </a:lnTo>
                  <a:lnTo>
                    <a:pt x="148" y="115"/>
                  </a:lnTo>
                  <a:lnTo>
                    <a:pt x="130" y="130"/>
                  </a:lnTo>
                  <a:lnTo>
                    <a:pt x="114" y="149"/>
                  </a:lnTo>
                  <a:lnTo>
                    <a:pt x="103" y="170"/>
                  </a:lnTo>
                  <a:lnTo>
                    <a:pt x="95" y="193"/>
                  </a:lnTo>
                  <a:lnTo>
                    <a:pt x="93" y="218"/>
                  </a:lnTo>
                  <a:lnTo>
                    <a:pt x="93" y="2181"/>
                  </a:lnTo>
                  <a:lnTo>
                    <a:pt x="95" y="2207"/>
                  </a:lnTo>
                  <a:lnTo>
                    <a:pt x="103" y="2230"/>
                  </a:lnTo>
                  <a:lnTo>
                    <a:pt x="114" y="2251"/>
                  </a:lnTo>
                  <a:lnTo>
                    <a:pt x="130" y="2269"/>
                  </a:lnTo>
                  <a:lnTo>
                    <a:pt x="148" y="2285"/>
                  </a:lnTo>
                  <a:lnTo>
                    <a:pt x="169" y="2297"/>
                  </a:lnTo>
                  <a:lnTo>
                    <a:pt x="193" y="2304"/>
                  </a:lnTo>
                  <a:lnTo>
                    <a:pt x="218" y="2306"/>
                  </a:lnTo>
                  <a:lnTo>
                    <a:pt x="454" y="2306"/>
                  </a:lnTo>
                  <a:lnTo>
                    <a:pt x="470" y="2308"/>
                  </a:lnTo>
                  <a:lnTo>
                    <a:pt x="482" y="2316"/>
                  </a:lnTo>
                  <a:lnTo>
                    <a:pt x="492" y="2325"/>
                  </a:lnTo>
                  <a:lnTo>
                    <a:pt x="499" y="2338"/>
                  </a:lnTo>
                  <a:lnTo>
                    <a:pt x="501" y="2353"/>
                  </a:lnTo>
                  <a:lnTo>
                    <a:pt x="499" y="2368"/>
                  </a:lnTo>
                  <a:lnTo>
                    <a:pt x="492" y="2380"/>
                  </a:lnTo>
                  <a:lnTo>
                    <a:pt x="482" y="2391"/>
                  </a:lnTo>
                  <a:lnTo>
                    <a:pt x="470" y="2397"/>
                  </a:lnTo>
                  <a:lnTo>
                    <a:pt x="454" y="2399"/>
                  </a:lnTo>
                  <a:lnTo>
                    <a:pt x="218" y="2399"/>
                  </a:lnTo>
                  <a:lnTo>
                    <a:pt x="182" y="2396"/>
                  </a:lnTo>
                  <a:lnTo>
                    <a:pt x="149" y="2389"/>
                  </a:lnTo>
                  <a:lnTo>
                    <a:pt x="117" y="2375"/>
                  </a:lnTo>
                  <a:lnTo>
                    <a:pt x="89" y="2357"/>
                  </a:lnTo>
                  <a:lnTo>
                    <a:pt x="64" y="2335"/>
                  </a:lnTo>
                  <a:lnTo>
                    <a:pt x="42" y="2310"/>
                  </a:lnTo>
                  <a:lnTo>
                    <a:pt x="24" y="2282"/>
                  </a:lnTo>
                  <a:lnTo>
                    <a:pt x="10" y="2251"/>
                  </a:lnTo>
                  <a:lnTo>
                    <a:pt x="2" y="2217"/>
                  </a:lnTo>
                  <a:lnTo>
                    <a:pt x="0" y="2181"/>
                  </a:lnTo>
                  <a:lnTo>
                    <a:pt x="0" y="218"/>
                  </a:lnTo>
                  <a:lnTo>
                    <a:pt x="2" y="182"/>
                  </a:lnTo>
                  <a:lnTo>
                    <a:pt x="10" y="149"/>
                  </a:lnTo>
                  <a:lnTo>
                    <a:pt x="24" y="118"/>
                  </a:lnTo>
                  <a:lnTo>
                    <a:pt x="42" y="89"/>
                  </a:lnTo>
                  <a:lnTo>
                    <a:pt x="64" y="64"/>
                  </a:lnTo>
                  <a:lnTo>
                    <a:pt x="89" y="42"/>
                  </a:lnTo>
                  <a:lnTo>
                    <a:pt x="117" y="24"/>
                  </a:lnTo>
                  <a:lnTo>
                    <a:pt x="149" y="12"/>
                  </a:lnTo>
                  <a:lnTo>
                    <a:pt x="182" y="3"/>
                  </a:lnTo>
                  <a:lnTo>
                    <a:pt x="218" y="0"/>
                  </a:lnTo>
                  <a:close/>
                </a:path>
              </a:pathLst>
            </a:custGeom>
            <a:solidFill>
              <a:schemeClr val="accent4">
                <a:lumMod val="20000"/>
                <a:lumOff val="80000"/>
              </a:schemeClr>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Light"/>
                <a:ea typeface="+mn-ea"/>
                <a:cs typeface="+mn-cs"/>
              </a:endParaRPr>
            </a:p>
          </p:txBody>
        </p:sp>
      </p:grpSp>
      <p:grpSp>
        <p:nvGrpSpPr>
          <p:cNvPr id="164" name="Group 163">
            <a:extLst>
              <a:ext uri="{FF2B5EF4-FFF2-40B4-BE49-F238E27FC236}">
                <a16:creationId xmlns:a16="http://schemas.microsoft.com/office/drawing/2014/main" id="{B858A1CB-A903-402B-B42D-8D9E0558B68F}"/>
              </a:ext>
            </a:extLst>
          </p:cNvPr>
          <p:cNvGrpSpPr/>
          <p:nvPr/>
        </p:nvGrpSpPr>
        <p:grpSpPr>
          <a:xfrm>
            <a:off x="2269718" y="3646443"/>
            <a:ext cx="458142" cy="248141"/>
            <a:chOff x="1869834" y="3712885"/>
            <a:chExt cx="708114" cy="383529"/>
          </a:xfrm>
        </p:grpSpPr>
        <p:pic>
          <p:nvPicPr>
            <p:cNvPr id="165" name="Picture 164" descr="A picture containing shape&#10;&#10;Description automatically generated">
              <a:extLst>
                <a:ext uri="{FF2B5EF4-FFF2-40B4-BE49-F238E27FC236}">
                  <a16:creationId xmlns:a16="http://schemas.microsoft.com/office/drawing/2014/main" id="{D6A20FCB-B653-4CEA-8879-17B9792C1AD5}"/>
                </a:ext>
              </a:extLst>
            </p:cNvPr>
            <p:cNvPicPr>
              <a:picLocks noChangeAspect="1"/>
            </p:cNvPicPr>
            <p:nvPr/>
          </p:nvPicPr>
          <p:blipFill rotWithShape="1">
            <a:blip r:embed="rId56" cstate="print">
              <a:lum bright="70000" contrast="-70000"/>
              <a:extLst>
                <a:ext uri="{28A0092B-C50C-407E-A947-70E740481C1C}">
                  <a14:useLocalDpi xmlns:a14="http://schemas.microsoft.com/office/drawing/2010/main" val="0"/>
                </a:ext>
              </a:extLst>
            </a:blip>
            <a:srcRect l="22696" t="16927" r="23034" b="31511"/>
            <a:stretch/>
          </p:blipFill>
          <p:spPr>
            <a:xfrm>
              <a:off x="1869834" y="3841453"/>
              <a:ext cx="268351" cy="254961"/>
            </a:xfrm>
            <a:prstGeom prst="rect">
              <a:avLst/>
            </a:prstGeom>
          </p:spPr>
        </p:pic>
        <p:pic>
          <p:nvPicPr>
            <p:cNvPr id="166" name="Picture 165" descr="A picture containing shape&#10;&#10;Description automatically generated">
              <a:extLst>
                <a:ext uri="{FF2B5EF4-FFF2-40B4-BE49-F238E27FC236}">
                  <a16:creationId xmlns:a16="http://schemas.microsoft.com/office/drawing/2014/main" id="{E19C0F78-4EAB-4DD6-9492-A27A2D710786}"/>
                </a:ext>
              </a:extLst>
            </p:cNvPr>
            <p:cNvPicPr>
              <a:picLocks noChangeAspect="1"/>
            </p:cNvPicPr>
            <p:nvPr/>
          </p:nvPicPr>
          <p:blipFill rotWithShape="1">
            <a:blip r:embed="rId57" cstate="print">
              <a:lum bright="70000" contrast="-70000"/>
              <a:extLst>
                <a:ext uri="{28A0092B-C50C-407E-A947-70E740481C1C}">
                  <a14:useLocalDpi xmlns:a14="http://schemas.microsoft.com/office/drawing/2010/main" val="0"/>
                </a:ext>
              </a:extLst>
            </a:blip>
            <a:srcRect l="5655" t="12027" r="5806" b="27325"/>
            <a:stretch/>
          </p:blipFill>
          <p:spPr>
            <a:xfrm>
              <a:off x="2173712" y="3712885"/>
              <a:ext cx="404236" cy="276894"/>
            </a:xfrm>
            <a:prstGeom prst="rect">
              <a:avLst/>
            </a:prstGeom>
            <a:solidFill>
              <a:schemeClr val="bg1"/>
            </a:solidFill>
          </p:spPr>
        </p:pic>
        <p:cxnSp>
          <p:nvCxnSpPr>
            <p:cNvPr id="167" name="Connector: Curved 166">
              <a:extLst>
                <a:ext uri="{FF2B5EF4-FFF2-40B4-BE49-F238E27FC236}">
                  <a16:creationId xmlns:a16="http://schemas.microsoft.com/office/drawing/2014/main" id="{C3B8286A-85EE-4A16-821D-76F631F4036F}"/>
                </a:ext>
              </a:extLst>
            </p:cNvPr>
            <p:cNvCxnSpPr>
              <a:cxnSpLocks/>
              <a:stCxn id="165" idx="0"/>
            </p:cNvCxnSpPr>
            <p:nvPr/>
          </p:nvCxnSpPr>
          <p:spPr>
            <a:xfrm rot="5400000" flipH="1" flipV="1">
              <a:off x="2062519" y="3692652"/>
              <a:ext cx="90291" cy="207311"/>
            </a:xfrm>
            <a:prstGeom prst="curvedConnector2">
              <a:avLst/>
            </a:prstGeom>
            <a:ln>
              <a:solidFill>
                <a:schemeClr val="bg1">
                  <a:lumMod val="8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70" name="Freeform 21">
            <a:extLst>
              <a:ext uri="{FF2B5EF4-FFF2-40B4-BE49-F238E27FC236}">
                <a16:creationId xmlns:a16="http://schemas.microsoft.com/office/drawing/2014/main" id="{CD359DBA-6327-43C2-81F9-E832ECE5A02A}"/>
              </a:ext>
            </a:extLst>
          </p:cNvPr>
          <p:cNvSpPr>
            <a:spLocks noChangeAspect="1" noEditPoints="1"/>
          </p:cNvSpPr>
          <p:nvPr/>
        </p:nvSpPr>
        <p:spPr bwMode="auto">
          <a:xfrm>
            <a:off x="4505312" y="3678086"/>
            <a:ext cx="285650" cy="225445"/>
          </a:xfrm>
          <a:custGeom>
            <a:avLst/>
            <a:gdLst>
              <a:gd name="T0" fmla="*/ 2208 w 5760"/>
              <a:gd name="T1" fmla="*/ 4540 h 5012"/>
              <a:gd name="T2" fmla="*/ 4687 w 5760"/>
              <a:gd name="T3" fmla="*/ 4182 h 5012"/>
              <a:gd name="T4" fmla="*/ 258 w 5760"/>
              <a:gd name="T5" fmla="*/ 4144 h 5012"/>
              <a:gd name="T6" fmla="*/ 318 w 5760"/>
              <a:gd name="T7" fmla="*/ 4210 h 5012"/>
              <a:gd name="T8" fmla="*/ 2623 w 5760"/>
              <a:gd name="T9" fmla="*/ 4009 h 5012"/>
              <a:gd name="T10" fmla="*/ 3735 w 5760"/>
              <a:gd name="T11" fmla="*/ 3609 h 5012"/>
              <a:gd name="T12" fmla="*/ 227 w 5760"/>
              <a:gd name="T13" fmla="*/ 3513 h 5012"/>
              <a:gd name="T14" fmla="*/ 5294 w 5760"/>
              <a:gd name="T15" fmla="*/ 3207 h 5012"/>
              <a:gd name="T16" fmla="*/ 2449 w 5760"/>
              <a:gd name="T17" fmla="*/ 3083 h 5012"/>
              <a:gd name="T18" fmla="*/ 2276 w 5760"/>
              <a:gd name="T19" fmla="*/ 3218 h 5012"/>
              <a:gd name="T20" fmla="*/ 2205 w 5760"/>
              <a:gd name="T21" fmla="*/ 3059 h 5012"/>
              <a:gd name="T22" fmla="*/ 3100 w 5760"/>
              <a:gd name="T23" fmla="*/ 2982 h 5012"/>
              <a:gd name="T24" fmla="*/ 5280 w 5760"/>
              <a:gd name="T25" fmla="*/ 2592 h 5012"/>
              <a:gd name="T26" fmla="*/ 3510 w 5760"/>
              <a:gd name="T27" fmla="*/ 2704 h 5012"/>
              <a:gd name="T28" fmla="*/ 1529 w 5760"/>
              <a:gd name="T29" fmla="*/ 2667 h 5012"/>
              <a:gd name="T30" fmla="*/ 916 w 5760"/>
              <a:gd name="T31" fmla="*/ 3279 h 5012"/>
              <a:gd name="T32" fmla="*/ 976 w 5760"/>
              <a:gd name="T33" fmla="*/ 3866 h 5012"/>
              <a:gd name="T34" fmla="*/ 1700 w 5760"/>
              <a:gd name="T35" fmla="*/ 3775 h 5012"/>
              <a:gd name="T36" fmla="*/ 1789 w 5760"/>
              <a:gd name="T37" fmla="*/ 3565 h 5012"/>
              <a:gd name="T38" fmla="*/ 977 w 5760"/>
              <a:gd name="T39" fmla="*/ 4011 h 5012"/>
              <a:gd name="T40" fmla="*/ 763 w 5760"/>
              <a:gd name="T41" fmla="*/ 3427 h 5012"/>
              <a:gd name="T42" fmla="*/ 539 w 5760"/>
              <a:gd name="T43" fmla="*/ 3197 h 5012"/>
              <a:gd name="T44" fmla="*/ 517 w 5760"/>
              <a:gd name="T45" fmla="*/ 4586 h 5012"/>
              <a:gd name="T46" fmla="*/ 892 w 5760"/>
              <a:gd name="T47" fmla="*/ 4753 h 5012"/>
              <a:gd name="T48" fmla="*/ 1300 w 5760"/>
              <a:gd name="T49" fmla="*/ 4537 h 5012"/>
              <a:gd name="T50" fmla="*/ 1805 w 5760"/>
              <a:gd name="T51" fmla="*/ 4607 h 5012"/>
              <a:gd name="T52" fmla="*/ 2335 w 5760"/>
              <a:gd name="T53" fmla="*/ 4097 h 5012"/>
              <a:gd name="T54" fmla="*/ 2690 w 5760"/>
              <a:gd name="T55" fmla="*/ 3880 h 5012"/>
              <a:gd name="T56" fmla="*/ 3329 w 5760"/>
              <a:gd name="T57" fmla="*/ 3061 h 5012"/>
              <a:gd name="T58" fmla="*/ 2943 w 5760"/>
              <a:gd name="T59" fmla="*/ 3008 h 5012"/>
              <a:gd name="T60" fmla="*/ 2877 w 5760"/>
              <a:gd name="T61" fmla="*/ 3162 h 5012"/>
              <a:gd name="T62" fmla="*/ 2774 w 5760"/>
              <a:gd name="T63" fmla="*/ 3160 h 5012"/>
              <a:gd name="T64" fmla="*/ 2835 w 5760"/>
              <a:gd name="T65" fmla="*/ 3094 h 5012"/>
              <a:gd name="T66" fmla="*/ 2787 w 5760"/>
              <a:gd name="T67" fmla="*/ 2991 h 5012"/>
              <a:gd name="T68" fmla="*/ 2775 w 5760"/>
              <a:gd name="T69" fmla="*/ 2779 h 5012"/>
              <a:gd name="T70" fmla="*/ 2643 w 5760"/>
              <a:gd name="T71" fmla="*/ 2559 h 5012"/>
              <a:gd name="T72" fmla="*/ 3264 w 5760"/>
              <a:gd name="T73" fmla="*/ 2737 h 5012"/>
              <a:gd name="T74" fmla="*/ 3435 w 5760"/>
              <a:gd name="T75" fmla="*/ 3454 h 5012"/>
              <a:gd name="T76" fmla="*/ 2592 w 5760"/>
              <a:gd name="T77" fmla="*/ 4605 h 5012"/>
              <a:gd name="T78" fmla="*/ 2575 w 5760"/>
              <a:gd name="T79" fmla="*/ 2012 h 5012"/>
              <a:gd name="T80" fmla="*/ 1267 w 5760"/>
              <a:gd name="T81" fmla="*/ 2299 h 5012"/>
              <a:gd name="T82" fmla="*/ 1695 w 5760"/>
              <a:gd name="T83" fmla="*/ 1948 h 5012"/>
              <a:gd name="T84" fmla="*/ 2287 w 5760"/>
              <a:gd name="T85" fmla="*/ 1867 h 5012"/>
              <a:gd name="T86" fmla="*/ 5535 w 5760"/>
              <a:gd name="T87" fmla="*/ 4877 h 5012"/>
              <a:gd name="T88" fmla="*/ 2218 w 5760"/>
              <a:gd name="T89" fmla="*/ 4207 h 5012"/>
              <a:gd name="T90" fmla="*/ 1944 w 5760"/>
              <a:gd name="T91" fmla="*/ 4748 h 5012"/>
              <a:gd name="T92" fmla="*/ 1347 w 5760"/>
              <a:gd name="T93" fmla="*/ 4919 h 5012"/>
              <a:gd name="T94" fmla="*/ 984 w 5760"/>
              <a:gd name="T95" fmla="*/ 4788 h 5012"/>
              <a:gd name="T96" fmla="*/ 410 w 5760"/>
              <a:gd name="T97" fmla="*/ 4820 h 5012"/>
              <a:gd name="T98" fmla="*/ 150 w 5760"/>
              <a:gd name="T99" fmla="*/ 4144 h 5012"/>
              <a:gd name="T100" fmla="*/ 12 w 5760"/>
              <a:gd name="T101" fmla="*/ 3296 h 5012"/>
              <a:gd name="T102" fmla="*/ 342 w 5760"/>
              <a:gd name="T103" fmla="*/ 3303 h 5012"/>
              <a:gd name="T104" fmla="*/ 979 w 5760"/>
              <a:gd name="T105" fmla="*/ 2577 h 5012"/>
              <a:gd name="T106" fmla="*/ 923 w 5760"/>
              <a:gd name="T107" fmla="*/ 2252 h 5012"/>
              <a:gd name="T108" fmla="*/ 967 w 5760"/>
              <a:gd name="T109" fmla="*/ 926 h 5012"/>
              <a:gd name="T110" fmla="*/ 3405 w 5760"/>
              <a:gd name="T111" fmla="*/ 1203 h 5012"/>
              <a:gd name="T112" fmla="*/ 1513 w 5760"/>
              <a:gd name="T113" fmla="*/ 828 h 5012"/>
              <a:gd name="T114" fmla="*/ 1110 w 5760"/>
              <a:gd name="T115" fmla="*/ 585 h 5012"/>
              <a:gd name="T116" fmla="*/ 3587 w 5760"/>
              <a:gd name="T117" fmla="*/ 393 h 5012"/>
              <a:gd name="T118" fmla="*/ 3550 w 5760"/>
              <a:gd name="T119" fmla="*/ 220 h 5012"/>
              <a:gd name="T120" fmla="*/ 2397 w 5760"/>
              <a:gd name="T121" fmla="*/ 1483 h 5012"/>
              <a:gd name="T122" fmla="*/ 850 w 5760"/>
              <a:gd name="T123" fmla="*/ 961 h 5012"/>
              <a:gd name="T124" fmla="*/ 2075 w 5760"/>
              <a:gd name="T125" fmla="*/ 5 h 5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0" h="5012">
                <a:moveTo>
                  <a:pt x="2149" y="4224"/>
                </a:moveTo>
                <a:lnTo>
                  <a:pt x="2131" y="4282"/>
                </a:lnTo>
                <a:lnTo>
                  <a:pt x="2110" y="4341"/>
                </a:lnTo>
                <a:lnTo>
                  <a:pt x="2084" y="4399"/>
                </a:lnTo>
                <a:lnTo>
                  <a:pt x="2051" y="4456"/>
                </a:lnTo>
                <a:lnTo>
                  <a:pt x="1999" y="4530"/>
                </a:lnTo>
                <a:lnTo>
                  <a:pt x="1937" y="4600"/>
                </a:lnTo>
                <a:lnTo>
                  <a:pt x="1875" y="4668"/>
                </a:lnTo>
                <a:lnTo>
                  <a:pt x="1882" y="4670"/>
                </a:lnTo>
                <a:lnTo>
                  <a:pt x="1889" y="4671"/>
                </a:lnTo>
                <a:lnTo>
                  <a:pt x="1903" y="4675"/>
                </a:lnTo>
                <a:lnTo>
                  <a:pt x="1925" y="4677"/>
                </a:lnTo>
                <a:lnTo>
                  <a:pt x="1958" y="4678"/>
                </a:lnTo>
                <a:lnTo>
                  <a:pt x="1997" y="4680"/>
                </a:lnTo>
                <a:lnTo>
                  <a:pt x="2037" y="4682"/>
                </a:lnTo>
                <a:lnTo>
                  <a:pt x="2081" y="4682"/>
                </a:lnTo>
                <a:lnTo>
                  <a:pt x="2121" y="4682"/>
                </a:lnTo>
                <a:lnTo>
                  <a:pt x="2149" y="4680"/>
                </a:lnTo>
                <a:lnTo>
                  <a:pt x="2171" y="4675"/>
                </a:lnTo>
                <a:lnTo>
                  <a:pt x="2187" y="4668"/>
                </a:lnTo>
                <a:lnTo>
                  <a:pt x="2199" y="4659"/>
                </a:lnTo>
                <a:lnTo>
                  <a:pt x="2206" y="4650"/>
                </a:lnTo>
                <a:lnTo>
                  <a:pt x="2211" y="4642"/>
                </a:lnTo>
                <a:lnTo>
                  <a:pt x="2213" y="4636"/>
                </a:lnTo>
                <a:lnTo>
                  <a:pt x="2215" y="4622"/>
                </a:lnTo>
                <a:lnTo>
                  <a:pt x="2215" y="4603"/>
                </a:lnTo>
                <a:lnTo>
                  <a:pt x="2215" y="4582"/>
                </a:lnTo>
                <a:lnTo>
                  <a:pt x="2211" y="4560"/>
                </a:lnTo>
                <a:lnTo>
                  <a:pt x="2208" y="4540"/>
                </a:lnTo>
                <a:lnTo>
                  <a:pt x="2203" y="4526"/>
                </a:lnTo>
                <a:lnTo>
                  <a:pt x="2196" y="4504"/>
                </a:lnTo>
                <a:lnTo>
                  <a:pt x="2192" y="4474"/>
                </a:lnTo>
                <a:lnTo>
                  <a:pt x="2192" y="4437"/>
                </a:lnTo>
                <a:lnTo>
                  <a:pt x="2191" y="4408"/>
                </a:lnTo>
                <a:lnTo>
                  <a:pt x="2189" y="4378"/>
                </a:lnTo>
                <a:lnTo>
                  <a:pt x="2184" y="4345"/>
                </a:lnTo>
                <a:lnTo>
                  <a:pt x="2175" y="4306"/>
                </a:lnTo>
                <a:lnTo>
                  <a:pt x="2163" y="4266"/>
                </a:lnTo>
                <a:lnTo>
                  <a:pt x="2149" y="4224"/>
                </a:lnTo>
                <a:close/>
                <a:moveTo>
                  <a:pt x="4751" y="4135"/>
                </a:moveTo>
                <a:lnTo>
                  <a:pt x="5236" y="4135"/>
                </a:lnTo>
                <a:lnTo>
                  <a:pt x="5259" y="4138"/>
                </a:lnTo>
                <a:lnTo>
                  <a:pt x="5277" y="4149"/>
                </a:lnTo>
                <a:lnTo>
                  <a:pt x="5292" y="4163"/>
                </a:lnTo>
                <a:lnTo>
                  <a:pt x="5303" y="4182"/>
                </a:lnTo>
                <a:lnTo>
                  <a:pt x="5306" y="4203"/>
                </a:lnTo>
                <a:lnTo>
                  <a:pt x="5303" y="4226"/>
                </a:lnTo>
                <a:lnTo>
                  <a:pt x="5292" y="4245"/>
                </a:lnTo>
                <a:lnTo>
                  <a:pt x="5277" y="4259"/>
                </a:lnTo>
                <a:lnTo>
                  <a:pt x="5259" y="4270"/>
                </a:lnTo>
                <a:lnTo>
                  <a:pt x="5236" y="4273"/>
                </a:lnTo>
                <a:lnTo>
                  <a:pt x="4751" y="4273"/>
                </a:lnTo>
                <a:lnTo>
                  <a:pt x="4730" y="4270"/>
                </a:lnTo>
                <a:lnTo>
                  <a:pt x="4711" y="4259"/>
                </a:lnTo>
                <a:lnTo>
                  <a:pt x="4695" y="4245"/>
                </a:lnTo>
                <a:lnTo>
                  <a:pt x="4687" y="4226"/>
                </a:lnTo>
                <a:lnTo>
                  <a:pt x="4683" y="4203"/>
                </a:lnTo>
                <a:lnTo>
                  <a:pt x="4687" y="4182"/>
                </a:lnTo>
                <a:lnTo>
                  <a:pt x="4695" y="4163"/>
                </a:lnTo>
                <a:lnTo>
                  <a:pt x="4711" y="4149"/>
                </a:lnTo>
                <a:lnTo>
                  <a:pt x="4730" y="4138"/>
                </a:lnTo>
                <a:lnTo>
                  <a:pt x="4751" y="4135"/>
                </a:lnTo>
                <a:close/>
                <a:moveTo>
                  <a:pt x="2875" y="4135"/>
                </a:moveTo>
                <a:lnTo>
                  <a:pt x="4330" y="4135"/>
                </a:lnTo>
                <a:lnTo>
                  <a:pt x="4353" y="4138"/>
                </a:lnTo>
                <a:lnTo>
                  <a:pt x="4372" y="4149"/>
                </a:lnTo>
                <a:lnTo>
                  <a:pt x="4386" y="4163"/>
                </a:lnTo>
                <a:lnTo>
                  <a:pt x="4397" y="4182"/>
                </a:lnTo>
                <a:lnTo>
                  <a:pt x="4400" y="4203"/>
                </a:lnTo>
                <a:lnTo>
                  <a:pt x="4397" y="4226"/>
                </a:lnTo>
                <a:lnTo>
                  <a:pt x="4386" y="4245"/>
                </a:lnTo>
                <a:lnTo>
                  <a:pt x="4372" y="4259"/>
                </a:lnTo>
                <a:lnTo>
                  <a:pt x="4353" y="4270"/>
                </a:lnTo>
                <a:lnTo>
                  <a:pt x="4330" y="4273"/>
                </a:lnTo>
                <a:lnTo>
                  <a:pt x="2875" y="4273"/>
                </a:lnTo>
                <a:lnTo>
                  <a:pt x="2854" y="4270"/>
                </a:lnTo>
                <a:lnTo>
                  <a:pt x="2835" y="4259"/>
                </a:lnTo>
                <a:lnTo>
                  <a:pt x="2821" y="4245"/>
                </a:lnTo>
                <a:lnTo>
                  <a:pt x="2810" y="4226"/>
                </a:lnTo>
                <a:lnTo>
                  <a:pt x="2807" y="4203"/>
                </a:lnTo>
                <a:lnTo>
                  <a:pt x="2810" y="4182"/>
                </a:lnTo>
                <a:lnTo>
                  <a:pt x="2821" y="4163"/>
                </a:lnTo>
                <a:lnTo>
                  <a:pt x="2835" y="4149"/>
                </a:lnTo>
                <a:lnTo>
                  <a:pt x="2854" y="4138"/>
                </a:lnTo>
                <a:lnTo>
                  <a:pt x="2875" y="4135"/>
                </a:lnTo>
                <a:close/>
                <a:moveTo>
                  <a:pt x="278" y="4114"/>
                </a:moveTo>
                <a:lnTo>
                  <a:pt x="258" y="4144"/>
                </a:lnTo>
                <a:lnTo>
                  <a:pt x="236" y="4172"/>
                </a:lnTo>
                <a:lnTo>
                  <a:pt x="209" y="4191"/>
                </a:lnTo>
                <a:lnTo>
                  <a:pt x="192" y="4203"/>
                </a:lnTo>
                <a:lnTo>
                  <a:pt x="171" y="4217"/>
                </a:lnTo>
                <a:lnTo>
                  <a:pt x="150" y="4231"/>
                </a:lnTo>
                <a:lnTo>
                  <a:pt x="134" y="4247"/>
                </a:lnTo>
                <a:lnTo>
                  <a:pt x="124" y="4263"/>
                </a:lnTo>
                <a:lnTo>
                  <a:pt x="122" y="4276"/>
                </a:lnTo>
                <a:lnTo>
                  <a:pt x="136" y="4313"/>
                </a:lnTo>
                <a:lnTo>
                  <a:pt x="154" y="4353"/>
                </a:lnTo>
                <a:lnTo>
                  <a:pt x="176" y="4395"/>
                </a:lnTo>
                <a:lnTo>
                  <a:pt x="201" y="4434"/>
                </a:lnTo>
                <a:lnTo>
                  <a:pt x="227" y="4465"/>
                </a:lnTo>
                <a:lnTo>
                  <a:pt x="255" y="4486"/>
                </a:lnTo>
                <a:lnTo>
                  <a:pt x="291" y="4505"/>
                </a:lnTo>
                <a:lnTo>
                  <a:pt x="328" y="4523"/>
                </a:lnTo>
                <a:lnTo>
                  <a:pt x="365" y="4539"/>
                </a:lnTo>
                <a:lnTo>
                  <a:pt x="398" y="4547"/>
                </a:lnTo>
                <a:lnTo>
                  <a:pt x="429" y="4553"/>
                </a:lnTo>
                <a:lnTo>
                  <a:pt x="438" y="4523"/>
                </a:lnTo>
                <a:lnTo>
                  <a:pt x="447" y="4497"/>
                </a:lnTo>
                <a:lnTo>
                  <a:pt x="452" y="4477"/>
                </a:lnTo>
                <a:lnTo>
                  <a:pt x="440" y="4455"/>
                </a:lnTo>
                <a:lnTo>
                  <a:pt x="424" y="4425"/>
                </a:lnTo>
                <a:lnTo>
                  <a:pt x="405" y="4388"/>
                </a:lnTo>
                <a:lnTo>
                  <a:pt x="386" y="4348"/>
                </a:lnTo>
                <a:lnTo>
                  <a:pt x="363" y="4304"/>
                </a:lnTo>
                <a:lnTo>
                  <a:pt x="340" y="4257"/>
                </a:lnTo>
                <a:lnTo>
                  <a:pt x="318" y="4210"/>
                </a:lnTo>
                <a:lnTo>
                  <a:pt x="297" y="4161"/>
                </a:lnTo>
                <a:lnTo>
                  <a:pt x="278" y="4114"/>
                </a:lnTo>
                <a:close/>
                <a:moveTo>
                  <a:pt x="2444" y="3883"/>
                </a:moveTo>
                <a:lnTo>
                  <a:pt x="2440" y="3908"/>
                </a:lnTo>
                <a:lnTo>
                  <a:pt x="2435" y="3931"/>
                </a:lnTo>
                <a:lnTo>
                  <a:pt x="2423" y="3960"/>
                </a:lnTo>
                <a:lnTo>
                  <a:pt x="2416" y="3986"/>
                </a:lnTo>
                <a:lnTo>
                  <a:pt x="2410" y="4004"/>
                </a:lnTo>
                <a:lnTo>
                  <a:pt x="2409" y="4020"/>
                </a:lnTo>
                <a:lnTo>
                  <a:pt x="2407" y="4028"/>
                </a:lnTo>
                <a:lnTo>
                  <a:pt x="2407" y="4035"/>
                </a:lnTo>
                <a:lnTo>
                  <a:pt x="2409" y="4039"/>
                </a:lnTo>
                <a:lnTo>
                  <a:pt x="2410" y="4042"/>
                </a:lnTo>
                <a:lnTo>
                  <a:pt x="2412" y="4044"/>
                </a:lnTo>
                <a:lnTo>
                  <a:pt x="2414" y="4046"/>
                </a:lnTo>
                <a:lnTo>
                  <a:pt x="2416" y="4049"/>
                </a:lnTo>
                <a:lnTo>
                  <a:pt x="2417" y="4051"/>
                </a:lnTo>
                <a:lnTo>
                  <a:pt x="2421" y="4056"/>
                </a:lnTo>
                <a:lnTo>
                  <a:pt x="2430" y="4063"/>
                </a:lnTo>
                <a:lnTo>
                  <a:pt x="2442" y="4072"/>
                </a:lnTo>
                <a:lnTo>
                  <a:pt x="2458" y="4079"/>
                </a:lnTo>
                <a:lnTo>
                  <a:pt x="2480" y="4086"/>
                </a:lnTo>
                <a:lnTo>
                  <a:pt x="2508" y="4090"/>
                </a:lnTo>
                <a:lnTo>
                  <a:pt x="2541" y="4091"/>
                </a:lnTo>
                <a:lnTo>
                  <a:pt x="2582" y="4088"/>
                </a:lnTo>
                <a:lnTo>
                  <a:pt x="2582" y="4088"/>
                </a:lnTo>
                <a:lnTo>
                  <a:pt x="2601" y="4062"/>
                </a:lnTo>
                <a:lnTo>
                  <a:pt x="2615" y="4035"/>
                </a:lnTo>
                <a:lnTo>
                  <a:pt x="2623" y="4009"/>
                </a:lnTo>
                <a:lnTo>
                  <a:pt x="2629" y="3983"/>
                </a:lnTo>
                <a:lnTo>
                  <a:pt x="2630" y="3960"/>
                </a:lnTo>
                <a:lnTo>
                  <a:pt x="2606" y="3953"/>
                </a:lnTo>
                <a:lnTo>
                  <a:pt x="2575" y="3941"/>
                </a:lnTo>
                <a:lnTo>
                  <a:pt x="2538" y="3927"/>
                </a:lnTo>
                <a:lnTo>
                  <a:pt x="2494" y="3908"/>
                </a:lnTo>
                <a:lnTo>
                  <a:pt x="2444" y="3883"/>
                </a:lnTo>
                <a:close/>
                <a:moveTo>
                  <a:pt x="3758" y="3606"/>
                </a:moveTo>
                <a:lnTo>
                  <a:pt x="5240" y="3606"/>
                </a:lnTo>
                <a:lnTo>
                  <a:pt x="5261" y="3609"/>
                </a:lnTo>
                <a:lnTo>
                  <a:pt x="5280" y="3620"/>
                </a:lnTo>
                <a:lnTo>
                  <a:pt x="5296" y="3634"/>
                </a:lnTo>
                <a:lnTo>
                  <a:pt x="5304" y="3653"/>
                </a:lnTo>
                <a:lnTo>
                  <a:pt x="5308" y="3674"/>
                </a:lnTo>
                <a:lnTo>
                  <a:pt x="5304" y="3696"/>
                </a:lnTo>
                <a:lnTo>
                  <a:pt x="5296" y="3716"/>
                </a:lnTo>
                <a:lnTo>
                  <a:pt x="5280" y="3730"/>
                </a:lnTo>
                <a:lnTo>
                  <a:pt x="5261" y="3740"/>
                </a:lnTo>
                <a:lnTo>
                  <a:pt x="5240" y="3744"/>
                </a:lnTo>
                <a:lnTo>
                  <a:pt x="3758" y="3744"/>
                </a:lnTo>
                <a:lnTo>
                  <a:pt x="3735" y="3740"/>
                </a:lnTo>
                <a:lnTo>
                  <a:pt x="3716" y="3730"/>
                </a:lnTo>
                <a:lnTo>
                  <a:pt x="3702" y="3716"/>
                </a:lnTo>
                <a:lnTo>
                  <a:pt x="3692" y="3696"/>
                </a:lnTo>
                <a:lnTo>
                  <a:pt x="3688" y="3674"/>
                </a:lnTo>
                <a:lnTo>
                  <a:pt x="3692" y="3653"/>
                </a:lnTo>
                <a:lnTo>
                  <a:pt x="3702" y="3634"/>
                </a:lnTo>
                <a:lnTo>
                  <a:pt x="3716" y="3620"/>
                </a:lnTo>
                <a:lnTo>
                  <a:pt x="3735" y="3609"/>
                </a:lnTo>
                <a:lnTo>
                  <a:pt x="3758" y="3606"/>
                </a:lnTo>
                <a:close/>
                <a:moveTo>
                  <a:pt x="201" y="3190"/>
                </a:moveTo>
                <a:lnTo>
                  <a:pt x="194" y="3192"/>
                </a:lnTo>
                <a:lnTo>
                  <a:pt x="187" y="3195"/>
                </a:lnTo>
                <a:lnTo>
                  <a:pt x="180" y="3200"/>
                </a:lnTo>
                <a:lnTo>
                  <a:pt x="164" y="3214"/>
                </a:lnTo>
                <a:lnTo>
                  <a:pt x="145" y="3232"/>
                </a:lnTo>
                <a:lnTo>
                  <a:pt x="124" y="3253"/>
                </a:lnTo>
                <a:lnTo>
                  <a:pt x="105" y="3277"/>
                </a:lnTo>
                <a:lnTo>
                  <a:pt x="87" y="3302"/>
                </a:lnTo>
                <a:lnTo>
                  <a:pt x="77" y="3330"/>
                </a:lnTo>
                <a:lnTo>
                  <a:pt x="72" y="3358"/>
                </a:lnTo>
                <a:lnTo>
                  <a:pt x="77" y="3385"/>
                </a:lnTo>
                <a:lnTo>
                  <a:pt x="91" y="3426"/>
                </a:lnTo>
                <a:lnTo>
                  <a:pt x="99" y="3452"/>
                </a:lnTo>
                <a:lnTo>
                  <a:pt x="106" y="3471"/>
                </a:lnTo>
                <a:lnTo>
                  <a:pt x="113" y="3485"/>
                </a:lnTo>
                <a:lnTo>
                  <a:pt x="120" y="3497"/>
                </a:lnTo>
                <a:lnTo>
                  <a:pt x="127" y="3510"/>
                </a:lnTo>
                <a:lnTo>
                  <a:pt x="138" y="3524"/>
                </a:lnTo>
                <a:lnTo>
                  <a:pt x="148" y="3532"/>
                </a:lnTo>
                <a:lnTo>
                  <a:pt x="161" y="3543"/>
                </a:lnTo>
                <a:lnTo>
                  <a:pt x="178" y="3553"/>
                </a:lnTo>
                <a:lnTo>
                  <a:pt x="197" y="3560"/>
                </a:lnTo>
                <a:lnTo>
                  <a:pt x="222" y="3562"/>
                </a:lnTo>
                <a:lnTo>
                  <a:pt x="248" y="3557"/>
                </a:lnTo>
                <a:lnTo>
                  <a:pt x="264" y="3492"/>
                </a:lnTo>
                <a:lnTo>
                  <a:pt x="243" y="3504"/>
                </a:lnTo>
                <a:lnTo>
                  <a:pt x="227" y="3513"/>
                </a:lnTo>
                <a:lnTo>
                  <a:pt x="216" y="3517"/>
                </a:lnTo>
                <a:lnTo>
                  <a:pt x="208" y="3518"/>
                </a:lnTo>
                <a:lnTo>
                  <a:pt x="202" y="3518"/>
                </a:lnTo>
                <a:lnTo>
                  <a:pt x="192" y="3518"/>
                </a:lnTo>
                <a:lnTo>
                  <a:pt x="178" y="3517"/>
                </a:lnTo>
                <a:lnTo>
                  <a:pt x="162" y="3513"/>
                </a:lnTo>
                <a:lnTo>
                  <a:pt x="147" y="3506"/>
                </a:lnTo>
                <a:lnTo>
                  <a:pt x="133" y="3496"/>
                </a:lnTo>
                <a:lnTo>
                  <a:pt x="122" y="3480"/>
                </a:lnTo>
                <a:lnTo>
                  <a:pt x="119" y="3469"/>
                </a:lnTo>
                <a:lnTo>
                  <a:pt x="117" y="3454"/>
                </a:lnTo>
                <a:lnTo>
                  <a:pt x="122" y="3434"/>
                </a:lnTo>
                <a:lnTo>
                  <a:pt x="136" y="3413"/>
                </a:lnTo>
                <a:lnTo>
                  <a:pt x="140" y="3406"/>
                </a:lnTo>
                <a:lnTo>
                  <a:pt x="147" y="3396"/>
                </a:lnTo>
                <a:lnTo>
                  <a:pt x="152" y="3379"/>
                </a:lnTo>
                <a:lnTo>
                  <a:pt x="161" y="3356"/>
                </a:lnTo>
                <a:lnTo>
                  <a:pt x="169" y="3328"/>
                </a:lnTo>
                <a:lnTo>
                  <a:pt x="178" y="3289"/>
                </a:lnTo>
                <a:lnTo>
                  <a:pt x="189" y="3244"/>
                </a:lnTo>
                <a:lnTo>
                  <a:pt x="201" y="3190"/>
                </a:lnTo>
                <a:close/>
                <a:moveTo>
                  <a:pt x="5238" y="3097"/>
                </a:moveTo>
                <a:lnTo>
                  <a:pt x="5259" y="3101"/>
                </a:lnTo>
                <a:lnTo>
                  <a:pt x="5278" y="3111"/>
                </a:lnTo>
                <a:lnTo>
                  <a:pt x="5294" y="3125"/>
                </a:lnTo>
                <a:lnTo>
                  <a:pt x="5303" y="3144"/>
                </a:lnTo>
                <a:lnTo>
                  <a:pt x="5306" y="3167"/>
                </a:lnTo>
                <a:lnTo>
                  <a:pt x="5303" y="3188"/>
                </a:lnTo>
                <a:lnTo>
                  <a:pt x="5294" y="3207"/>
                </a:lnTo>
                <a:lnTo>
                  <a:pt x="5278" y="3221"/>
                </a:lnTo>
                <a:lnTo>
                  <a:pt x="5259" y="3232"/>
                </a:lnTo>
                <a:lnTo>
                  <a:pt x="5238" y="3235"/>
                </a:lnTo>
                <a:lnTo>
                  <a:pt x="4414" y="3235"/>
                </a:lnTo>
                <a:lnTo>
                  <a:pt x="4392" y="3232"/>
                </a:lnTo>
                <a:lnTo>
                  <a:pt x="4372" y="3221"/>
                </a:lnTo>
                <a:lnTo>
                  <a:pt x="4358" y="3207"/>
                </a:lnTo>
                <a:lnTo>
                  <a:pt x="4348" y="3188"/>
                </a:lnTo>
                <a:lnTo>
                  <a:pt x="4344" y="3167"/>
                </a:lnTo>
                <a:lnTo>
                  <a:pt x="4348" y="3144"/>
                </a:lnTo>
                <a:lnTo>
                  <a:pt x="4358" y="3125"/>
                </a:lnTo>
                <a:lnTo>
                  <a:pt x="4372" y="3111"/>
                </a:lnTo>
                <a:lnTo>
                  <a:pt x="4392" y="3101"/>
                </a:lnTo>
                <a:lnTo>
                  <a:pt x="4414" y="3097"/>
                </a:lnTo>
                <a:lnTo>
                  <a:pt x="5238" y="3097"/>
                </a:lnTo>
                <a:close/>
                <a:moveTo>
                  <a:pt x="2384" y="2977"/>
                </a:moveTo>
                <a:lnTo>
                  <a:pt x="2400" y="2978"/>
                </a:lnTo>
                <a:lnTo>
                  <a:pt x="2412" y="2987"/>
                </a:lnTo>
                <a:lnTo>
                  <a:pt x="2419" y="2999"/>
                </a:lnTo>
                <a:lnTo>
                  <a:pt x="2419" y="3015"/>
                </a:lnTo>
                <a:lnTo>
                  <a:pt x="2410" y="3029"/>
                </a:lnTo>
                <a:lnTo>
                  <a:pt x="2397" y="3034"/>
                </a:lnTo>
                <a:lnTo>
                  <a:pt x="2379" y="3040"/>
                </a:lnTo>
                <a:lnTo>
                  <a:pt x="2362" y="3045"/>
                </a:lnTo>
                <a:lnTo>
                  <a:pt x="2379" y="3061"/>
                </a:lnTo>
                <a:lnTo>
                  <a:pt x="2393" y="3080"/>
                </a:lnTo>
                <a:lnTo>
                  <a:pt x="2402" y="3101"/>
                </a:lnTo>
                <a:lnTo>
                  <a:pt x="2424" y="3092"/>
                </a:lnTo>
                <a:lnTo>
                  <a:pt x="2449" y="3083"/>
                </a:lnTo>
                <a:lnTo>
                  <a:pt x="2461" y="3082"/>
                </a:lnTo>
                <a:lnTo>
                  <a:pt x="2472" y="3089"/>
                </a:lnTo>
                <a:lnTo>
                  <a:pt x="2479" y="3099"/>
                </a:lnTo>
                <a:lnTo>
                  <a:pt x="2479" y="3111"/>
                </a:lnTo>
                <a:lnTo>
                  <a:pt x="2473" y="3122"/>
                </a:lnTo>
                <a:lnTo>
                  <a:pt x="2463" y="3129"/>
                </a:lnTo>
                <a:lnTo>
                  <a:pt x="2424" y="3143"/>
                </a:lnTo>
                <a:lnTo>
                  <a:pt x="2391" y="3160"/>
                </a:lnTo>
                <a:lnTo>
                  <a:pt x="2365" y="3181"/>
                </a:lnTo>
                <a:lnTo>
                  <a:pt x="2344" y="3204"/>
                </a:lnTo>
                <a:lnTo>
                  <a:pt x="2327" y="3227"/>
                </a:lnTo>
                <a:lnTo>
                  <a:pt x="2313" y="3247"/>
                </a:lnTo>
                <a:lnTo>
                  <a:pt x="2304" y="3267"/>
                </a:lnTo>
                <a:lnTo>
                  <a:pt x="2297" y="3282"/>
                </a:lnTo>
                <a:lnTo>
                  <a:pt x="2294" y="3293"/>
                </a:lnTo>
                <a:lnTo>
                  <a:pt x="2292" y="3298"/>
                </a:lnTo>
                <a:lnTo>
                  <a:pt x="2290" y="3305"/>
                </a:lnTo>
                <a:lnTo>
                  <a:pt x="2287" y="3309"/>
                </a:lnTo>
                <a:lnTo>
                  <a:pt x="2281" y="3314"/>
                </a:lnTo>
                <a:lnTo>
                  <a:pt x="2274" y="3316"/>
                </a:lnTo>
                <a:lnTo>
                  <a:pt x="2269" y="3316"/>
                </a:lnTo>
                <a:lnTo>
                  <a:pt x="2264" y="3316"/>
                </a:lnTo>
                <a:lnTo>
                  <a:pt x="2252" y="3310"/>
                </a:lnTo>
                <a:lnTo>
                  <a:pt x="2246" y="3300"/>
                </a:lnTo>
                <a:lnTo>
                  <a:pt x="2246" y="3288"/>
                </a:lnTo>
                <a:lnTo>
                  <a:pt x="2248" y="3281"/>
                </a:lnTo>
                <a:lnTo>
                  <a:pt x="2253" y="3265"/>
                </a:lnTo>
                <a:lnTo>
                  <a:pt x="2262" y="3244"/>
                </a:lnTo>
                <a:lnTo>
                  <a:pt x="2276" y="3218"/>
                </a:lnTo>
                <a:lnTo>
                  <a:pt x="2295" y="3188"/>
                </a:lnTo>
                <a:lnTo>
                  <a:pt x="2287" y="3171"/>
                </a:lnTo>
                <a:lnTo>
                  <a:pt x="2269" y="3160"/>
                </a:lnTo>
                <a:lnTo>
                  <a:pt x="2250" y="3155"/>
                </a:lnTo>
                <a:lnTo>
                  <a:pt x="2232" y="3158"/>
                </a:lnTo>
                <a:lnTo>
                  <a:pt x="2218" y="3167"/>
                </a:lnTo>
                <a:lnTo>
                  <a:pt x="2208" y="3179"/>
                </a:lnTo>
                <a:lnTo>
                  <a:pt x="2201" y="3197"/>
                </a:lnTo>
                <a:lnTo>
                  <a:pt x="2194" y="3179"/>
                </a:lnTo>
                <a:lnTo>
                  <a:pt x="2187" y="3162"/>
                </a:lnTo>
                <a:lnTo>
                  <a:pt x="2175" y="3179"/>
                </a:lnTo>
                <a:lnTo>
                  <a:pt x="2166" y="3192"/>
                </a:lnTo>
                <a:lnTo>
                  <a:pt x="2164" y="3197"/>
                </a:lnTo>
                <a:lnTo>
                  <a:pt x="2159" y="3202"/>
                </a:lnTo>
                <a:lnTo>
                  <a:pt x="2156" y="3207"/>
                </a:lnTo>
                <a:lnTo>
                  <a:pt x="2149" y="3211"/>
                </a:lnTo>
                <a:lnTo>
                  <a:pt x="2143" y="3213"/>
                </a:lnTo>
                <a:lnTo>
                  <a:pt x="2136" y="3214"/>
                </a:lnTo>
                <a:lnTo>
                  <a:pt x="2129" y="3213"/>
                </a:lnTo>
                <a:lnTo>
                  <a:pt x="2124" y="3211"/>
                </a:lnTo>
                <a:lnTo>
                  <a:pt x="2112" y="3200"/>
                </a:lnTo>
                <a:lnTo>
                  <a:pt x="2107" y="3186"/>
                </a:lnTo>
                <a:lnTo>
                  <a:pt x="2110" y="3171"/>
                </a:lnTo>
                <a:lnTo>
                  <a:pt x="2114" y="3165"/>
                </a:lnTo>
                <a:lnTo>
                  <a:pt x="2121" y="3151"/>
                </a:lnTo>
                <a:lnTo>
                  <a:pt x="2133" y="3134"/>
                </a:lnTo>
                <a:lnTo>
                  <a:pt x="2152" y="3111"/>
                </a:lnTo>
                <a:lnTo>
                  <a:pt x="2175" y="3085"/>
                </a:lnTo>
                <a:lnTo>
                  <a:pt x="2205" y="3059"/>
                </a:lnTo>
                <a:lnTo>
                  <a:pt x="2239" y="3034"/>
                </a:lnTo>
                <a:lnTo>
                  <a:pt x="2281" y="3012"/>
                </a:lnTo>
                <a:lnTo>
                  <a:pt x="2330" y="2991"/>
                </a:lnTo>
                <a:lnTo>
                  <a:pt x="2384" y="2977"/>
                </a:lnTo>
                <a:close/>
                <a:moveTo>
                  <a:pt x="3198" y="2856"/>
                </a:moveTo>
                <a:lnTo>
                  <a:pt x="3213" y="2856"/>
                </a:lnTo>
                <a:lnTo>
                  <a:pt x="3227" y="2865"/>
                </a:lnTo>
                <a:lnTo>
                  <a:pt x="3234" y="2877"/>
                </a:lnTo>
                <a:lnTo>
                  <a:pt x="3234" y="2893"/>
                </a:lnTo>
                <a:lnTo>
                  <a:pt x="3219" y="2935"/>
                </a:lnTo>
                <a:lnTo>
                  <a:pt x="3201" y="2970"/>
                </a:lnTo>
                <a:lnTo>
                  <a:pt x="3180" y="2996"/>
                </a:lnTo>
                <a:lnTo>
                  <a:pt x="3156" y="3017"/>
                </a:lnTo>
                <a:lnTo>
                  <a:pt x="3131" y="3031"/>
                </a:lnTo>
                <a:lnTo>
                  <a:pt x="3107" y="3041"/>
                </a:lnTo>
                <a:lnTo>
                  <a:pt x="3084" y="3047"/>
                </a:lnTo>
                <a:lnTo>
                  <a:pt x="3063" y="3048"/>
                </a:lnTo>
                <a:lnTo>
                  <a:pt x="3055" y="3048"/>
                </a:lnTo>
                <a:lnTo>
                  <a:pt x="3046" y="3047"/>
                </a:lnTo>
                <a:lnTo>
                  <a:pt x="3032" y="3041"/>
                </a:lnTo>
                <a:lnTo>
                  <a:pt x="3023" y="3029"/>
                </a:lnTo>
                <a:lnTo>
                  <a:pt x="3021" y="3013"/>
                </a:lnTo>
                <a:lnTo>
                  <a:pt x="3028" y="2999"/>
                </a:lnTo>
                <a:lnTo>
                  <a:pt x="3041" y="2989"/>
                </a:lnTo>
                <a:lnTo>
                  <a:pt x="3055" y="2987"/>
                </a:lnTo>
                <a:lnTo>
                  <a:pt x="3060" y="2989"/>
                </a:lnTo>
                <a:lnTo>
                  <a:pt x="3070" y="2989"/>
                </a:lnTo>
                <a:lnTo>
                  <a:pt x="3084" y="2985"/>
                </a:lnTo>
                <a:lnTo>
                  <a:pt x="3100" y="2982"/>
                </a:lnTo>
                <a:lnTo>
                  <a:pt x="3116" y="2973"/>
                </a:lnTo>
                <a:lnTo>
                  <a:pt x="3133" y="2959"/>
                </a:lnTo>
                <a:lnTo>
                  <a:pt x="3151" y="2940"/>
                </a:lnTo>
                <a:lnTo>
                  <a:pt x="3165" y="2912"/>
                </a:lnTo>
                <a:lnTo>
                  <a:pt x="3177" y="2877"/>
                </a:lnTo>
                <a:lnTo>
                  <a:pt x="3184" y="2865"/>
                </a:lnTo>
                <a:lnTo>
                  <a:pt x="3198" y="2856"/>
                </a:lnTo>
                <a:close/>
                <a:moveTo>
                  <a:pt x="967" y="2730"/>
                </a:moveTo>
                <a:lnTo>
                  <a:pt x="965" y="2805"/>
                </a:lnTo>
                <a:lnTo>
                  <a:pt x="965" y="2884"/>
                </a:lnTo>
                <a:lnTo>
                  <a:pt x="1002" y="2875"/>
                </a:lnTo>
                <a:lnTo>
                  <a:pt x="1033" y="2870"/>
                </a:lnTo>
                <a:lnTo>
                  <a:pt x="1058" y="2865"/>
                </a:lnTo>
                <a:lnTo>
                  <a:pt x="1073" y="2863"/>
                </a:lnTo>
                <a:lnTo>
                  <a:pt x="1082" y="2861"/>
                </a:lnTo>
                <a:lnTo>
                  <a:pt x="1107" y="2858"/>
                </a:lnTo>
                <a:lnTo>
                  <a:pt x="1133" y="2849"/>
                </a:lnTo>
                <a:lnTo>
                  <a:pt x="1154" y="2840"/>
                </a:lnTo>
                <a:lnTo>
                  <a:pt x="1166" y="2832"/>
                </a:lnTo>
                <a:lnTo>
                  <a:pt x="1168" y="2830"/>
                </a:lnTo>
                <a:lnTo>
                  <a:pt x="1169" y="2828"/>
                </a:lnTo>
                <a:lnTo>
                  <a:pt x="1108" y="2805"/>
                </a:lnTo>
                <a:lnTo>
                  <a:pt x="1054" y="2783"/>
                </a:lnTo>
                <a:lnTo>
                  <a:pt x="1007" y="2757"/>
                </a:lnTo>
                <a:lnTo>
                  <a:pt x="967" y="2730"/>
                </a:lnTo>
                <a:close/>
                <a:moveTo>
                  <a:pt x="3814" y="2580"/>
                </a:moveTo>
                <a:lnTo>
                  <a:pt x="5238" y="2580"/>
                </a:lnTo>
                <a:lnTo>
                  <a:pt x="5261" y="2584"/>
                </a:lnTo>
                <a:lnTo>
                  <a:pt x="5280" y="2592"/>
                </a:lnTo>
                <a:lnTo>
                  <a:pt x="5294" y="2608"/>
                </a:lnTo>
                <a:lnTo>
                  <a:pt x="5304" y="2626"/>
                </a:lnTo>
                <a:lnTo>
                  <a:pt x="5308" y="2648"/>
                </a:lnTo>
                <a:lnTo>
                  <a:pt x="5304" y="2669"/>
                </a:lnTo>
                <a:lnTo>
                  <a:pt x="5294" y="2688"/>
                </a:lnTo>
                <a:lnTo>
                  <a:pt x="5280" y="2704"/>
                </a:lnTo>
                <a:lnTo>
                  <a:pt x="5261" y="2713"/>
                </a:lnTo>
                <a:lnTo>
                  <a:pt x="5238" y="2716"/>
                </a:lnTo>
                <a:lnTo>
                  <a:pt x="3814" y="2716"/>
                </a:lnTo>
                <a:lnTo>
                  <a:pt x="3793" y="2713"/>
                </a:lnTo>
                <a:lnTo>
                  <a:pt x="3774" y="2704"/>
                </a:lnTo>
                <a:lnTo>
                  <a:pt x="3760" y="2688"/>
                </a:lnTo>
                <a:lnTo>
                  <a:pt x="3749" y="2669"/>
                </a:lnTo>
                <a:lnTo>
                  <a:pt x="3746" y="2648"/>
                </a:lnTo>
                <a:lnTo>
                  <a:pt x="3749" y="2626"/>
                </a:lnTo>
                <a:lnTo>
                  <a:pt x="3760" y="2608"/>
                </a:lnTo>
                <a:lnTo>
                  <a:pt x="3774" y="2592"/>
                </a:lnTo>
                <a:lnTo>
                  <a:pt x="3793" y="2584"/>
                </a:lnTo>
                <a:lnTo>
                  <a:pt x="3814" y="2580"/>
                </a:lnTo>
                <a:close/>
                <a:moveTo>
                  <a:pt x="2922" y="2580"/>
                </a:moveTo>
                <a:lnTo>
                  <a:pt x="3470" y="2580"/>
                </a:lnTo>
                <a:lnTo>
                  <a:pt x="3491" y="2584"/>
                </a:lnTo>
                <a:lnTo>
                  <a:pt x="3510" y="2592"/>
                </a:lnTo>
                <a:lnTo>
                  <a:pt x="3524" y="2608"/>
                </a:lnTo>
                <a:lnTo>
                  <a:pt x="3535" y="2626"/>
                </a:lnTo>
                <a:lnTo>
                  <a:pt x="3538" y="2648"/>
                </a:lnTo>
                <a:lnTo>
                  <a:pt x="3535" y="2669"/>
                </a:lnTo>
                <a:lnTo>
                  <a:pt x="3524" y="2688"/>
                </a:lnTo>
                <a:lnTo>
                  <a:pt x="3510" y="2704"/>
                </a:lnTo>
                <a:lnTo>
                  <a:pt x="3491" y="2713"/>
                </a:lnTo>
                <a:lnTo>
                  <a:pt x="3470" y="2716"/>
                </a:lnTo>
                <a:lnTo>
                  <a:pt x="2922" y="2716"/>
                </a:lnTo>
                <a:lnTo>
                  <a:pt x="2901" y="2713"/>
                </a:lnTo>
                <a:lnTo>
                  <a:pt x="2882" y="2704"/>
                </a:lnTo>
                <a:lnTo>
                  <a:pt x="2866" y="2688"/>
                </a:lnTo>
                <a:lnTo>
                  <a:pt x="2857" y="2669"/>
                </a:lnTo>
                <a:lnTo>
                  <a:pt x="2854" y="2648"/>
                </a:lnTo>
                <a:lnTo>
                  <a:pt x="2857" y="2626"/>
                </a:lnTo>
                <a:lnTo>
                  <a:pt x="2866" y="2608"/>
                </a:lnTo>
                <a:lnTo>
                  <a:pt x="2882" y="2592"/>
                </a:lnTo>
                <a:lnTo>
                  <a:pt x="2901" y="2584"/>
                </a:lnTo>
                <a:lnTo>
                  <a:pt x="2922" y="2580"/>
                </a:lnTo>
                <a:close/>
                <a:moveTo>
                  <a:pt x="2135" y="2386"/>
                </a:moveTo>
                <a:lnTo>
                  <a:pt x="2086" y="2388"/>
                </a:lnTo>
                <a:lnTo>
                  <a:pt x="2032" y="2397"/>
                </a:lnTo>
                <a:lnTo>
                  <a:pt x="1972" y="2411"/>
                </a:lnTo>
                <a:lnTo>
                  <a:pt x="1906" y="2428"/>
                </a:lnTo>
                <a:lnTo>
                  <a:pt x="1831" y="2449"/>
                </a:lnTo>
                <a:lnTo>
                  <a:pt x="1817" y="2453"/>
                </a:lnTo>
                <a:lnTo>
                  <a:pt x="1773" y="2468"/>
                </a:lnTo>
                <a:lnTo>
                  <a:pt x="1731" y="2489"/>
                </a:lnTo>
                <a:lnTo>
                  <a:pt x="1693" y="2514"/>
                </a:lnTo>
                <a:lnTo>
                  <a:pt x="1656" y="2540"/>
                </a:lnTo>
                <a:lnTo>
                  <a:pt x="1623" y="2568"/>
                </a:lnTo>
                <a:lnTo>
                  <a:pt x="1594" y="2594"/>
                </a:lnTo>
                <a:lnTo>
                  <a:pt x="1567" y="2622"/>
                </a:lnTo>
                <a:lnTo>
                  <a:pt x="1546" y="2646"/>
                </a:lnTo>
                <a:lnTo>
                  <a:pt x="1529" y="2667"/>
                </a:lnTo>
                <a:lnTo>
                  <a:pt x="1515" y="2683"/>
                </a:lnTo>
                <a:lnTo>
                  <a:pt x="1508" y="2694"/>
                </a:lnTo>
                <a:lnTo>
                  <a:pt x="1505" y="2699"/>
                </a:lnTo>
                <a:lnTo>
                  <a:pt x="1491" y="2713"/>
                </a:lnTo>
                <a:lnTo>
                  <a:pt x="1471" y="2720"/>
                </a:lnTo>
                <a:lnTo>
                  <a:pt x="1440" y="2727"/>
                </a:lnTo>
                <a:lnTo>
                  <a:pt x="1407" y="2743"/>
                </a:lnTo>
                <a:lnTo>
                  <a:pt x="1372" y="2765"/>
                </a:lnTo>
                <a:lnTo>
                  <a:pt x="1337" y="2792"/>
                </a:lnTo>
                <a:lnTo>
                  <a:pt x="1302" y="2823"/>
                </a:lnTo>
                <a:lnTo>
                  <a:pt x="1269" y="2858"/>
                </a:lnTo>
                <a:lnTo>
                  <a:pt x="1238" y="2893"/>
                </a:lnTo>
                <a:lnTo>
                  <a:pt x="1224" y="2907"/>
                </a:lnTo>
                <a:lnTo>
                  <a:pt x="1204" y="2919"/>
                </a:lnTo>
                <a:lnTo>
                  <a:pt x="1185" y="2930"/>
                </a:lnTo>
                <a:lnTo>
                  <a:pt x="1171" y="2950"/>
                </a:lnTo>
                <a:lnTo>
                  <a:pt x="1154" y="2977"/>
                </a:lnTo>
                <a:lnTo>
                  <a:pt x="1135" y="3006"/>
                </a:lnTo>
                <a:lnTo>
                  <a:pt x="1112" y="3036"/>
                </a:lnTo>
                <a:lnTo>
                  <a:pt x="1091" y="3066"/>
                </a:lnTo>
                <a:lnTo>
                  <a:pt x="1070" y="3092"/>
                </a:lnTo>
                <a:lnTo>
                  <a:pt x="1051" y="3115"/>
                </a:lnTo>
                <a:lnTo>
                  <a:pt x="1035" y="3130"/>
                </a:lnTo>
                <a:lnTo>
                  <a:pt x="1023" y="3144"/>
                </a:lnTo>
                <a:lnTo>
                  <a:pt x="1005" y="3164"/>
                </a:lnTo>
                <a:lnTo>
                  <a:pt x="984" y="3188"/>
                </a:lnTo>
                <a:lnTo>
                  <a:pt x="962" y="3216"/>
                </a:lnTo>
                <a:lnTo>
                  <a:pt x="939" y="3247"/>
                </a:lnTo>
                <a:lnTo>
                  <a:pt x="916" y="3279"/>
                </a:lnTo>
                <a:lnTo>
                  <a:pt x="895" y="3310"/>
                </a:lnTo>
                <a:lnTo>
                  <a:pt x="876" y="3340"/>
                </a:lnTo>
                <a:lnTo>
                  <a:pt x="861" y="3366"/>
                </a:lnTo>
                <a:lnTo>
                  <a:pt x="850" y="3387"/>
                </a:lnTo>
                <a:lnTo>
                  <a:pt x="840" y="3415"/>
                </a:lnTo>
                <a:lnTo>
                  <a:pt x="833" y="3438"/>
                </a:lnTo>
                <a:lnTo>
                  <a:pt x="831" y="3454"/>
                </a:lnTo>
                <a:lnTo>
                  <a:pt x="833" y="3468"/>
                </a:lnTo>
                <a:lnTo>
                  <a:pt x="836" y="3482"/>
                </a:lnTo>
                <a:lnTo>
                  <a:pt x="843" y="3494"/>
                </a:lnTo>
                <a:lnTo>
                  <a:pt x="850" y="3504"/>
                </a:lnTo>
                <a:lnTo>
                  <a:pt x="861" y="3520"/>
                </a:lnTo>
                <a:lnTo>
                  <a:pt x="873" y="3537"/>
                </a:lnTo>
                <a:lnTo>
                  <a:pt x="887" y="3557"/>
                </a:lnTo>
                <a:lnTo>
                  <a:pt x="916" y="3597"/>
                </a:lnTo>
                <a:lnTo>
                  <a:pt x="941" y="3632"/>
                </a:lnTo>
                <a:lnTo>
                  <a:pt x="962" y="3662"/>
                </a:lnTo>
                <a:lnTo>
                  <a:pt x="976" y="3688"/>
                </a:lnTo>
                <a:lnTo>
                  <a:pt x="986" y="3707"/>
                </a:lnTo>
                <a:lnTo>
                  <a:pt x="993" y="3724"/>
                </a:lnTo>
                <a:lnTo>
                  <a:pt x="997" y="3740"/>
                </a:lnTo>
                <a:lnTo>
                  <a:pt x="997" y="3752"/>
                </a:lnTo>
                <a:lnTo>
                  <a:pt x="995" y="3759"/>
                </a:lnTo>
                <a:lnTo>
                  <a:pt x="993" y="3768"/>
                </a:lnTo>
                <a:lnTo>
                  <a:pt x="990" y="3779"/>
                </a:lnTo>
                <a:lnTo>
                  <a:pt x="986" y="3796"/>
                </a:lnTo>
                <a:lnTo>
                  <a:pt x="981" y="3819"/>
                </a:lnTo>
                <a:lnTo>
                  <a:pt x="977" y="3841"/>
                </a:lnTo>
                <a:lnTo>
                  <a:pt x="976" y="3866"/>
                </a:lnTo>
                <a:lnTo>
                  <a:pt x="977" y="3889"/>
                </a:lnTo>
                <a:lnTo>
                  <a:pt x="983" y="3908"/>
                </a:lnTo>
                <a:lnTo>
                  <a:pt x="991" y="3924"/>
                </a:lnTo>
                <a:lnTo>
                  <a:pt x="1005" y="3938"/>
                </a:lnTo>
                <a:lnTo>
                  <a:pt x="1026" y="3959"/>
                </a:lnTo>
                <a:lnTo>
                  <a:pt x="1051" y="3981"/>
                </a:lnTo>
                <a:lnTo>
                  <a:pt x="1075" y="4002"/>
                </a:lnTo>
                <a:lnTo>
                  <a:pt x="1103" y="4021"/>
                </a:lnTo>
                <a:lnTo>
                  <a:pt x="1129" y="4035"/>
                </a:lnTo>
                <a:lnTo>
                  <a:pt x="1155" y="4042"/>
                </a:lnTo>
                <a:lnTo>
                  <a:pt x="1182" y="4041"/>
                </a:lnTo>
                <a:lnTo>
                  <a:pt x="1218" y="4028"/>
                </a:lnTo>
                <a:lnTo>
                  <a:pt x="1258" y="4011"/>
                </a:lnTo>
                <a:lnTo>
                  <a:pt x="1302" y="3990"/>
                </a:lnTo>
                <a:lnTo>
                  <a:pt x="1346" y="3967"/>
                </a:lnTo>
                <a:lnTo>
                  <a:pt x="1393" y="3945"/>
                </a:lnTo>
                <a:lnTo>
                  <a:pt x="1438" y="3922"/>
                </a:lnTo>
                <a:lnTo>
                  <a:pt x="1482" y="3903"/>
                </a:lnTo>
                <a:lnTo>
                  <a:pt x="1529" y="3889"/>
                </a:lnTo>
                <a:lnTo>
                  <a:pt x="1574" y="3878"/>
                </a:lnTo>
                <a:lnTo>
                  <a:pt x="1616" y="3869"/>
                </a:lnTo>
                <a:lnTo>
                  <a:pt x="1634" y="3866"/>
                </a:lnTo>
                <a:lnTo>
                  <a:pt x="1651" y="3862"/>
                </a:lnTo>
                <a:lnTo>
                  <a:pt x="1667" y="3859"/>
                </a:lnTo>
                <a:lnTo>
                  <a:pt x="1676" y="3855"/>
                </a:lnTo>
                <a:lnTo>
                  <a:pt x="1681" y="3845"/>
                </a:lnTo>
                <a:lnTo>
                  <a:pt x="1686" y="3829"/>
                </a:lnTo>
                <a:lnTo>
                  <a:pt x="1693" y="3805"/>
                </a:lnTo>
                <a:lnTo>
                  <a:pt x="1700" y="3775"/>
                </a:lnTo>
                <a:lnTo>
                  <a:pt x="1707" y="3740"/>
                </a:lnTo>
                <a:lnTo>
                  <a:pt x="1714" y="3702"/>
                </a:lnTo>
                <a:lnTo>
                  <a:pt x="1718" y="3660"/>
                </a:lnTo>
                <a:lnTo>
                  <a:pt x="1719" y="3616"/>
                </a:lnTo>
                <a:lnTo>
                  <a:pt x="1718" y="3572"/>
                </a:lnTo>
                <a:lnTo>
                  <a:pt x="1711" y="3511"/>
                </a:lnTo>
                <a:lnTo>
                  <a:pt x="1702" y="3443"/>
                </a:lnTo>
                <a:lnTo>
                  <a:pt x="1693" y="3373"/>
                </a:lnTo>
                <a:lnTo>
                  <a:pt x="1684" y="3321"/>
                </a:lnTo>
                <a:lnTo>
                  <a:pt x="1677" y="3268"/>
                </a:lnTo>
                <a:lnTo>
                  <a:pt x="1672" y="3220"/>
                </a:lnTo>
                <a:lnTo>
                  <a:pt x="1667" y="3176"/>
                </a:lnTo>
                <a:lnTo>
                  <a:pt x="1665" y="3136"/>
                </a:lnTo>
                <a:lnTo>
                  <a:pt x="1665" y="3101"/>
                </a:lnTo>
                <a:lnTo>
                  <a:pt x="1672" y="3083"/>
                </a:lnTo>
                <a:lnTo>
                  <a:pt x="1684" y="3073"/>
                </a:lnTo>
                <a:lnTo>
                  <a:pt x="1704" y="3068"/>
                </a:lnTo>
                <a:lnTo>
                  <a:pt x="1721" y="3075"/>
                </a:lnTo>
                <a:lnTo>
                  <a:pt x="1733" y="3087"/>
                </a:lnTo>
                <a:lnTo>
                  <a:pt x="1737" y="3106"/>
                </a:lnTo>
                <a:lnTo>
                  <a:pt x="1737" y="3137"/>
                </a:lnTo>
                <a:lnTo>
                  <a:pt x="1738" y="3174"/>
                </a:lnTo>
                <a:lnTo>
                  <a:pt x="1744" y="3218"/>
                </a:lnTo>
                <a:lnTo>
                  <a:pt x="1749" y="3265"/>
                </a:lnTo>
                <a:lnTo>
                  <a:pt x="1756" y="3314"/>
                </a:lnTo>
                <a:lnTo>
                  <a:pt x="1763" y="3363"/>
                </a:lnTo>
                <a:lnTo>
                  <a:pt x="1773" y="3434"/>
                </a:lnTo>
                <a:lnTo>
                  <a:pt x="1782" y="3503"/>
                </a:lnTo>
                <a:lnTo>
                  <a:pt x="1789" y="3565"/>
                </a:lnTo>
                <a:lnTo>
                  <a:pt x="1791" y="3623"/>
                </a:lnTo>
                <a:lnTo>
                  <a:pt x="1787" y="3679"/>
                </a:lnTo>
                <a:lnTo>
                  <a:pt x="1782" y="3731"/>
                </a:lnTo>
                <a:lnTo>
                  <a:pt x="1773" y="3779"/>
                </a:lnTo>
                <a:lnTo>
                  <a:pt x="1761" y="3822"/>
                </a:lnTo>
                <a:lnTo>
                  <a:pt x="1751" y="3857"/>
                </a:lnTo>
                <a:lnTo>
                  <a:pt x="1740" y="3883"/>
                </a:lnTo>
                <a:lnTo>
                  <a:pt x="1730" y="3901"/>
                </a:lnTo>
                <a:lnTo>
                  <a:pt x="1714" y="3915"/>
                </a:lnTo>
                <a:lnTo>
                  <a:pt x="1691" y="3925"/>
                </a:lnTo>
                <a:lnTo>
                  <a:pt x="1663" y="3932"/>
                </a:lnTo>
                <a:lnTo>
                  <a:pt x="1629" y="3939"/>
                </a:lnTo>
                <a:lnTo>
                  <a:pt x="1590" y="3946"/>
                </a:lnTo>
                <a:lnTo>
                  <a:pt x="1550" y="3957"/>
                </a:lnTo>
                <a:lnTo>
                  <a:pt x="1508" y="3971"/>
                </a:lnTo>
                <a:lnTo>
                  <a:pt x="1466" y="3986"/>
                </a:lnTo>
                <a:lnTo>
                  <a:pt x="1423" y="4007"/>
                </a:lnTo>
                <a:lnTo>
                  <a:pt x="1377" y="4030"/>
                </a:lnTo>
                <a:lnTo>
                  <a:pt x="1332" y="4055"/>
                </a:lnTo>
                <a:lnTo>
                  <a:pt x="1285" y="4077"/>
                </a:lnTo>
                <a:lnTo>
                  <a:pt x="1241" y="4095"/>
                </a:lnTo>
                <a:lnTo>
                  <a:pt x="1199" y="4109"/>
                </a:lnTo>
                <a:lnTo>
                  <a:pt x="1164" y="4114"/>
                </a:lnTo>
                <a:lnTo>
                  <a:pt x="1128" y="4109"/>
                </a:lnTo>
                <a:lnTo>
                  <a:pt x="1094" y="4098"/>
                </a:lnTo>
                <a:lnTo>
                  <a:pt x="1061" y="4081"/>
                </a:lnTo>
                <a:lnTo>
                  <a:pt x="1032" y="4058"/>
                </a:lnTo>
                <a:lnTo>
                  <a:pt x="1004" y="4035"/>
                </a:lnTo>
                <a:lnTo>
                  <a:pt x="977" y="4011"/>
                </a:lnTo>
                <a:lnTo>
                  <a:pt x="955" y="3986"/>
                </a:lnTo>
                <a:lnTo>
                  <a:pt x="941" y="3974"/>
                </a:lnTo>
                <a:lnTo>
                  <a:pt x="923" y="3950"/>
                </a:lnTo>
                <a:lnTo>
                  <a:pt x="913" y="3924"/>
                </a:lnTo>
                <a:lnTo>
                  <a:pt x="906" y="3896"/>
                </a:lnTo>
                <a:lnTo>
                  <a:pt x="904" y="3866"/>
                </a:lnTo>
                <a:lnTo>
                  <a:pt x="908" y="3838"/>
                </a:lnTo>
                <a:lnTo>
                  <a:pt x="911" y="3810"/>
                </a:lnTo>
                <a:lnTo>
                  <a:pt x="916" y="3784"/>
                </a:lnTo>
                <a:lnTo>
                  <a:pt x="922" y="3761"/>
                </a:lnTo>
                <a:lnTo>
                  <a:pt x="923" y="3754"/>
                </a:lnTo>
                <a:lnTo>
                  <a:pt x="925" y="3747"/>
                </a:lnTo>
                <a:lnTo>
                  <a:pt x="925" y="3742"/>
                </a:lnTo>
                <a:lnTo>
                  <a:pt x="922" y="3731"/>
                </a:lnTo>
                <a:lnTo>
                  <a:pt x="913" y="3717"/>
                </a:lnTo>
                <a:lnTo>
                  <a:pt x="901" y="3700"/>
                </a:lnTo>
                <a:lnTo>
                  <a:pt x="887" y="3679"/>
                </a:lnTo>
                <a:lnTo>
                  <a:pt x="871" y="3658"/>
                </a:lnTo>
                <a:lnTo>
                  <a:pt x="857" y="3635"/>
                </a:lnTo>
                <a:lnTo>
                  <a:pt x="841" y="3616"/>
                </a:lnTo>
                <a:lnTo>
                  <a:pt x="829" y="3599"/>
                </a:lnTo>
                <a:lnTo>
                  <a:pt x="813" y="3578"/>
                </a:lnTo>
                <a:lnTo>
                  <a:pt x="799" y="3558"/>
                </a:lnTo>
                <a:lnTo>
                  <a:pt x="789" y="3541"/>
                </a:lnTo>
                <a:lnTo>
                  <a:pt x="780" y="3529"/>
                </a:lnTo>
                <a:lnTo>
                  <a:pt x="768" y="3504"/>
                </a:lnTo>
                <a:lnTo>
                  <a:pt x="761" y="3480"/>
                </a:lnTo>
                <a:lnTo>
                  <a:pt x="759" y="3454"/>
                </a:lnTo>
                <a:lnTo>
                  <a:pt x="763" y="3427"/>
                </a:lnTo>
                <a:lnTo>
                  <a:pt x="771" y="3396"/>
                </a:lnTo>
                <a:lnTo>
                  <a:pt x="784" y="3359"/>
                </a:lnTo>
                <a:lnTo>
                  <a:pt x="796" y="3335"/>
                </a:lnTo>
                <a:lnTo>
                  <a:pt x="813" y="3305"/>
                </a:lnTo>
                <a:lnTo>
                  <a:pt x="834" y="3272"/>
                </a:lnTo>
                <a:lnTo>
                  <a:pt x="857" y="3239"/>
                </a:lnTo>
                <a:lnTo>
                  <a:pt x="881" y="3204"/>
                </a:lnTo>
                <a:lnTo>
                  <a:pt x="908" y="3171"/>
                </a:lnTo>
                <a:lnTo>
                  <a:pt x="932" y="3141"/>
                </a:lnTo>
                <a:lnTo>
                  <a:pt x="955" y="3113"/>
                </a:lnTo>
                <a:lnTo>
                  <a:pt x="974" y="3092"/>
                </a:lnTo>
                <a:lnTo>
                  <a:pt x="990" y="3076"/>
                </a:lnTo>
                <a:lnTo>
                  <a:pt x="1000" y="3066"/>
                </a:lnTo>
                <a:lnTo>
                  <a:pt x="1012" y="3050"/>
                </a:lnTo>
                <a:lnTo>
                  <a:pt x="1028" y="3031"/>
                </a:lnTo>
                <a:lnTo>
                  <a:pt x="1046" y="3008"/>
                </a:lnTo>
                <a:lnTo>
                  <a:pt x="1063" y="2982"/>
                </a:lnTo>
                <a:lnTo>
                  <a:pt x="1080" y="2956"/>
                </a:lnTo>
                <a:lnTo>
                  <a:pt x="1059" y="2961"/>
                </a:lnTo>
                <a:lnTo>
                  <a:pt x="1026" y="2966"/>
                </a:lnTo>
                <a:lnTo>
                  <a:pt x="986" y="2975"/>
                </a:lnTo>
                <a:lnTo>
                  <a:pt x="939" y="2989"/>
                </a:lnTo>
                <a:lnTo>
                  <a:pt x="885" y="3005"/>
                </a:lnTo>
                <a:lnTo>
                  <a:pt x="829" y="3024"/>
                </a:lnTo>
                <a:lnTo>
                  <a:pt x="770" y="3048"/>
                </a:lnTo>
                <a:lnTo>
                  <a:pt x="709" y="3078"/>
                </a:lnTo>
                <a:lnTo>
                  <a:pt x="649" y="3113"/>
                </a:lnTo>
                <a:lnTo>
                  <a:pt x="593" y="3151"/>
                </a:lnTo>
                <a:lnTo>
                  <a:pt x="539" y="3197"/>
                </a:lnTo>
                <a:lnTo>
                  <a:pt x="492" y="3247"/>
                </a:lnTo>
                <a:lnTo>
                  <a:pt x="443" y="3316"/>
                </a:lnTo>
                <a:lnTo>
                  <a:pt x="403" y="3387"/>
                </a:lnTo>
                <a:lnTo>
                  <a:pt x="368" y="3466"/>
                </a:lnTo>
                <a:lnTo>
                  <a:pt x="344" y="3551"/>
                </a:lnTo>
                <a:lnTo>
                  <a:pt x="325" y="3641"/>
                </a:lnTo>
                <a:lnTo>
                  <a:pt x="316" y="3735"/>
                </a:lnTo>
                <a:lnTo>
                  <a:pt x="312" y="3834"/>
                </a:lnTo>
                <a:lnTo>
                  <a:pt x="318" y="3938"/>
                </a:lnTo>
                <a:lnTo>
                  <a:pt x="323" y="3964"/>
                </a:lnTo>
                <a:lnTo>
                  <a:pt x="332" y="3995"/>
                </a:lnTo>
                <a:lnTo>
                  <a:pt x="346" y="4034"/>
                </a:lnTo>
                <a:lnTo>
                  <a:pt x="361" y="4074"/>
                </a:lnTo>
                <a:lnTo>
                  <a:pt x="381" y="4119"/>
                </a:lnTo>
                <a:lnTo>
                  <a:pt x="401" y="4165"/>
                </a:lnTo>
                <a:lnTo>
                  <a:pt x="422" y="4212"/>
                </a:lnTo>
                <a:lnTo>
                  <a:pt x="445" y="4259"/>
                </a:lnTo>
                <a:lnTo>
                  <a:pt x="468" y="4304"/>
                </a:lnTo>
                <a:lnTo>
                  <a:pt x="489" y="4346"/>
                </a:lnTo>
                <a:lnTo>
                  <a:pt x="510" y="4387"/>
                </a:lnTo>
                <a:lnTo>
                  <a:pt x="527" y="4420"/>
                </a:lnTo>
                <a:lnTo>
                  <a:pt x="543" y="4449"/>
                </a:lnTo>
                <a:lnTo>
                  <a:pt x="548" y="4465"/>
                </a:lnTo>
                <a:lnTo>
                  <a:pt x="546" y="4483"/>
                </a:lnTo>
                <a:lnTo>
                  <a:pt x="545" y="4490"/>
                </a:lnTo>
                <a:lnTo>
                  <a:pt x="541" y="4504"/>
                </a:lnTo>
                <a:lnTo>
                  <a:pt x="536" y="4526"/>
                </a:lnTo>
                <a:lnTo>
                  <a:pt x="527" y="4554"/>
                </a:lnTo>
                <a:lnTo>
                  <a:pt x="517" y="4586"/>
                </a:lnTo>
                <a:lnTo>
                  <a:pt x="506" y="4619"/>
                </a:lnTo>
                <a:lnTo>
                  <a:pt x="494" y="4652"/>
                </a:lnTo>
                <a:lnTo>
                  <a:pt x="482" y="4685"/>
                </a:lnTo>
                <a:lnTo>
                  <a:pt x="475" y="4712"/>
                </a:lnTo>
                <a:lnTo>
                  <a:pt x="475" y="4732"/>
                </a:lnTo>
                <a:lnTo>
                  <a:pt x="478" y="4752"/>
                </a:lnTo>
                <a:lnTo>
                  <a:pt x="485" y="4764"/>
                </a:lnTo>
                <a:lnTo>
                  <a:pt x="506" y="4771"/>
                </a:lnTo>
                <a:lnTo>
                  <a:pt x="538" y="4780"/>
                </a:lnTo>
                <a:lnTo>
                  <a:pt x="573" y="4792"/>
                </a:lnTo>
                <a:lnTo>
                  <a:pt x="614" y="4802"/>
                </a:lnTo>
                <a:lnTo>
                  <a:pt x="656" y="4816"/>
                </a:lnTo>
                <a:lnTo>
                  <a:pt x="700" y="4829"/>
                </a:lnTo>
                <a:lnTo>
                  <a:pt x="742" y="4841"/>
                </a:lnTo>
                <a:lnTo>
                  <a:pt x="782" y="4851"/>
                </a:lnTo>
                <a:lnTo>
                  <a:pt x="817" y="4862"/>
                </a:lnTo>
                <a:lnTo>
                  <a:pt x="845" y="4869"/>
                </a:lnTo>
                <a:lnTo>
                  <a:pt x="852" y="4869"/>
                </a:lnTo>
                <a:lnTo>
                  <a:pt x="857" y="4869"/>
                </a:lnTo>
                <a:lnTo>
                  <a:pt x="861" y="4869"/>
                </a:lnTo>
                <a:lnTo>
                  <a:pt x="862" y="4867"/>
                </a:lnTo>
                <a:lnTo>
                  <a:pt x="864" y="4867"/>
                </a:lnTo>
                <a:lnTo>
                  <a:pt x="873" y="4855"/>
                </a:lnTo>
                <a:lnTo>
                  <a:pt x="880" y="4839"/>
                </a:lnTo>
                <a:lnTo>
                  <a:pt x="887" y="4822"/>
                </a:lnTo>
                <a:lnTo>
                  <a:pt x="890" y="4804"/>
                </a:lnTo>
                <a:lnTo>
                  <a:pt x="892" y="4788"/>
                </a:lnTo>
                <a:lnTo>
                  <a:pt x="890" y="4774"/>
                </a:lnTo>
                <a:lnTo>
                  <a:pt x="892" y="4753"/>
                </a:lnTo>
                <a:lnTo>
                  <a:pt x="895" y="4727"/>
                </a:lnTo>
                <a:lnTo>
                  <a:pt x="904" y="4696"/>
                </a:lnTo>
                <a:lnTo>
                  <a:pt x="918" y="4663"/>
                </a:lnTo>
                <a:lnTo>
                  <a:pt x="939" y="4628"/>
                </a:lnTo>
                <a:lnTo>
                  <a:pt x="969" y="4593"/>
                </a:lnTo>
                <a:lnTo>
                  <a:pt x="986" y="4570"/>
                </a:lnTo>
                <a:lnTo>
                  <a:pt x="997" y="4546"/>
                </a:lnTo>
                <a:lnTo>
                  <a:pt x="1002" y="4523"/>
                </a:lnTo>
                <a:lnTo>
                  <a:pt x="1002" y="4502"/>
                </a:lnTo>
                <a:lnTo>
                  <a:pt x="1000" y="4484"/>
                </a:lnTo>
                <a:lnTo>
                  <a:pt x="998" y="4474"/>
                </a:lnTo>
                <a:lnTo>
                  <a:pt x="997" y="4469"/>
                </a:lnTo>
                <a:lnTo>
                  <a:pt x="995" y="4455"/>
                </a:lnTo>
                <a:lnTo>
                  <a:pt x="997" y="4441"/>
                </a:lnTo>
                <a:lnTo>
                  <a:pt x="1004" y="4427"/>
                </a:lnTo>
                <a:lnTo>
                  <a:pt x="1012" y="4416"/>
                </a:lnTo>
                <a:lnTo>
                  <a:pt x="1026" y="4409"/>
                </a:lnTo>
                <a:lnTo>
                  <a:pt x="1040" y="4408"/>
                </a:lnTo>
                <a:lnTo>
                  <a:pt x="1402" y="4401"/>
                </a:lnTo>
                <a:lnTo>
                  <a:pt x="1419" y="4404"/>
                </a:lnTo>
                <a:lnTo>
                  <a:pt x="1433" y="4411"/>
                </a:lnTo>
                <a:lnTo>
                  <a:pt x="1443" y="4425"/>
                </a:lnTo>
                <a:lnTo>
                  <a:pt x="1449" y="4441"/>
                </a:lnTo>
                <a:lnTo>
                  <a:pt x="1449" y="4456"/>
                </a:lnTo>
                <a:lnTo>
                  <a:pt x="1443" y="4472"/>
                </a:lnTo>
                <a:lnTo>
                  <a:pt x="1433" y="4484"/>
                </a:lnTo>
                <a:lnTo>
                  <a:pt x="1419" y="4491"/>
                </a:lnTo>
                <a:lnTo>
                  <a:pt x="1321" y="4526"/>
                </a:lnTo>
                <a:lnTo>
                  <a:pt x="1300" y="4537"/>
                </a:lnTo>
                <a:lnTo>
                  <a:pt x="1285" y="4551"/>
                </a:lnTo>
                <a:lnTo>
                  <a:pt x="1274" y="4565"/>
                </a:lnTo>
                <a:lnTo>
                  <a:pt x="1269" y="4579"/>
                </a:lnTo>
                <a:lnTo>
                  <a:pt x="1265" y="4591"/>
                </a:lnTo>
                <a:lnTo>
                  <a:pt x="1265" y="4601"/>
                </a:lnTo>
                <a:lnTo>
                  <a:pt x="1285" y="4636"/>
                </a:lnTo>
                <a:lnTo>
                  <a:pt x="1306" y="4673"/>
                </a:lnTo>
                <a:lnTo>
                  <a:pt x="1328" y="4712"/>
                </a:lnTo>
                <a:lnTo>
                  <a:pt x="1351" y="4750"/>
                </a:lnTo>
                <a:lnTo>
                  <a:pt x="1374" y="4788"/>
                </a:lnTo>
                <a:lnTo>
                  <a:pt x="1396" y="4823"/>
                </a:lnTo>
                <a:lnTo>
                  <a:pt x="1417" y="4857"/>
                </a:lnTo>
                <a:lnTo>
                  <a:pt x="1437" y="4883"/>
                </a:lnTo>
                <a:lnTo>
                  <a:pt x="1454" y="4904"/>
                </a:lnTo>
                <a:lnTo>
                  <a:pt x="1466" y="4918"/>
                </a:lnTo>
                <a:lnTo>
                  <a:pt x="1487" y="4912"/>
                </a:lnTo>
                <a:lnTo>
                  <a:pt x="1510" y="4898"/>
                </a:lnTo>
                <a:lnTo>
                  <a:pt x="1534" y="4879"/>
                </a:lnTo>
                <a:lnTo>
                  <a:pt x="1559" y="4857"/>
                </a:lnTo>
                <a:lnTo>
                  <a:pt x="1580" y="4832"/>
                </a:lnTo>
                <a:lnTo>
                  <a:pt x="1601" y="4806"/>
                </a:lnTo>
                <a:lnTo>
                  <a:pt x="1608" y="4795"/>
                </a:lnTo>
                <a:lnTo>
                  <a:pt x="1620" y="4783"/>
                </a:lnTo>
                <a:lnTo>
                  <a:pt x="1635" y="4769"/>
                </a:lnTo>
                <a:lnTo>
                  <a:pt x="1655" y="4750"/>
                </a:lnTo>
                <a:lnTo>
                  <a:pt x="1679" y="4727"/>
                </a:lnTo>
                <a:lnTo>
                  <a:pt x="1718" y="4691"/>
                </a:lnTo>
                <a:lnTo>
                  <a:pt x="1759" y="4650"/>
                </a:lnTo>
                <a:lnTo>
                  <a:pt x="1805" y="4607"/>
                </a:lnTo>
                <a:lnTo>
                  <a:pt x="1850" y="4558"/>
                </a:lnTo>
                <a:lnTo>
                  <a:pt x="1896" y="4509"/>
                </a:lnTo>
                <a:lnTo>
                  <a:pt x="1936" y="4456"/>
                </a:lnTo>
                <a:lnTo>
                  <a:pt x="1972" y="4406"/>
                </a:lnTo>
                <a:lnTo>
                  <a:pt x="1999" y="4359"/>
                </a:lnTo>
                <a:lnTo>
                  <a:pt x="2021" y="4311"/>
                </a:lnTo>
                <a:lnTo>
                  <a:pt x="2040" y="4263"/>
                </a:lnTo>
                <a:lnTo>
                  <a:pt x="2054" y="4214"/>
                </a:lnTo>
                <a:lnTo>
                  <a:pt x="2067" y="4168"/>
                </a:lnTo>
                <a:lnTo>
                  <a:pt x="2075" y="4126"/>
                </a:lnTo>
                <a:lnTo>
                  <a:pt x="2082" y="4088"/>
                </a:lnTo>
                <a:lnTo>
                  <a:pt x="2086" y="4056"/>
                </a:lnTo>
                <a:lnTo>
                  <a:pt x="2089" y="4032"/>
                </a:lnTo>
                <a:lnTo>
                  <a:pt x="2091" y="4014"/>
                </a:lnTo>
                <a:lnTo>
                  <a:pt x="2091" y="4009"/>
                </a:lnTo>
                <a:lnTo>
                  <a:pt x="2095" y="3993"/>
                </a:lnTo>
                <a:lnTo>
                  <a:pt x="2105" y="3979"/>
                </a:lnTo>
                <a:lnTo>
                  <a:pt x="2119" y="3969"/>
                </a:lnTo>
                <a:lnTo>
                  <a:pt x="2135" y="3966"/>
                </a:lnTo>
                <a:lnTo>
                  <a:pt x="2150" y="3967"/>
                </a:lnTo>
                <a:lnTo>
                  <a:pt x="2166" y="3974"/>
                </a:lnTo>
                <a:lnTo>
                  <a:pt x="2264" y="4049"/>
                </a:lnTo>
                <a:lnTo>
                  <a:pt x="2269" y="4053"/>
                </a:lnTo>
                <a:lnTo>
                  <a:pt x="2280" y="4062"/>
                </a:lnTo>
                <a:lnTo>
                  <a:pt x="2295" y="4074"/>
                </a:lnTo>
                <a:lnTo>
                  <a:pt x="2314" y="4088"/>
                </a:lnTo>
                <a:lnTo>
                  <a:pt x="2339" y="4104"/>
                </a:lnTo>
                <a:lnTo>
                  <a:pt x="2337" y="4100"/>
                </a:lnTo>
                <a:lnTo>
                  <a:pt x="2335" y="4097"/>
                </a:lnTo>
                <a:lnTo>
                  <a:pt x="2321" y="4074"/>
                </a:lnTo>
                <a:lnTo>
                  <a:pt x="2314" y="4049"/>
                </a:lnTo>
                <a:lnTo>
                  <a:pt x="2314" y="4021"/>
                </a:lnTo>
                <a:lnTo>
                  <a:pt x="2318" y="3992"/>
                </a:lnTo>
                <a:lnTo>
                  <a:pt x="2325" y="3960"/>
                </a:lnTo>
                <a:lnTo>
                  <a:pt x="2335" y="3929"/>
                </a:lnTo>
                <a:lnTo>
                  <a:pt x="2346" y="3897"/>
                </a:lnTo>
                <a:lnTo>
                  <a:pt x="2351" y="3876"/>
                </a:lnTo>
                <a:lnTo>
                  <a:pt x="2351" y="3852"/>
                </a:lnTo>
                <a:lnTo>
                  <a:pt x="2348" y="3831"/>
                </a:lnTo>
                <a:lnTo>
                  <a:pt x="2346" y="3817"/>
                </a:lnTo>
                <a:lnTo>
                  <a:pt x="2344" y="3800"/>
                </a:lnTo>
                <a:lnTo>
                  <a:pt x="2349" y="3782"/>
                </a:lnTo>
                <a:lnTo>
                  <a:pt x="2362" y="3768"/>
                </a:lnTo>
                <a:lnTo>
                  <a:pt x="2377" y="3759"/>
                </a:lnTo>
                <a:lnTo>
                  <a:pt x="2395" y="3758"/>
                </a:lnTo>
                <a:lnTo>
                  <a:pt x="2412" y="3763"/>
                </a:lnTo>
                <a:lnTo>
                  <a:pt x="2470" y="3793"/>
                </a:lnTo>
                <a:lnTo>
                  <a:pt x="2520" y="3817"/>
                </a:lnTo>
                <a:lnTo>
                  <a:pt x="2564" y="3836"/>
                </a:lnTo>
                <a:lnTo>
                  <a:pt x="2602" y="3852"/>
                </a:lnTo>
                <a:lnTo>
                  <a:pt x="2632" y="3862"/>
                </a:lnTo>
                <a:lnTo>
                  <a:pt x="2657" y="3871"/>
                </a:lnTo>
                <a:lnTo>
                  <a:pt x="2672" y="3876"/>
                </a:lnTo>
                <a:lnTo>
                  <a:pt x="2683" y="3878"/>
                </a:lnTo>
                <a:lnTo>
                  <a:pt x="2686" y="3880"/>
                </a:lnTo>
                <a:lnTo>
                  <a:pt x="2688" y="3880"/>
                </a:lnTo>
                <a:lnTo>
                  <a:pt x="2690" y="3880"/>
                </a:lnTo>
                <a:lnTo>
                  <a:pt x="2690" y="3880"/>
                </a:lnTo>
                <a:lnTo>
                  <a:pt x="2691" y="3880"/>
                </a:lnTo>
                <a:lnTo>
                  <a:pt x="2697" y="3882"/>
                </a:lnTo>
                <a:lnTo>
                  <a:pt x="2712" y="3887"/>
                </a:lnTo>
                <a:lnTo>
                  <a:pt x="2735" y="3890"/>
                </a:lnTo>
                <a:lnTo>
                  <a:pt x="2765" y="3896"/>
                </a:lnTo>
                <a:lnTo>
                  <a:pt x="2801" y="3901"/>
                </a:lnTo>
                <a:lnTo>
                  <a:pt x="2842" y="3903"/>
                </a:lnTo>
                <a:lnTo>
                  <a:pt x="2887" y="3904"/>
                </a:lnTo>
                <a:lnTo>
                  <a:pt x="2934" y="3899"/>
                </a:lnTo>
                <a:lnTo>
                  <a:pt x="2985" y="3892"/>
                </a:lnTo>
                <a:lnTo>
                  <a:pt x="3035" y="3878"/>
                </a:lnTo>
                <a:lnTo>
                  <a:pt x="3084" y="3857"/>
                </a:lnTo>
                <a:lnTo>
                  <a:pt x="3133" y="3829"/>
                </a:lnTo>
                <a:lnTo>
                  <a:pt x="3182" y="3791"/>
                </a:lnTo>
                <a:lnTo>
                  <a:pt x="3224" y="3749"/>
                </a:lnTo>
                <a:lnTo>
                  <a:pt x="3257" y="3703"/>
                </a:lnTo>
                <a:lnTo>
                  <a:pt x="3283" y="3655"/>
                </a:lnTo>
                <a:lnTo>
                  <a:pt x="3304" y="3604"/>
                </a:lnTo>
                <a:lnTo>
                  <a:pt x="3320" y="3553"/>
                </a:lnTo>
                <a:lnTo>
                  <a:pt x="3332" y="3501"/>
                </a:lnTo>
                <a:lnTo>
                  <a:pt x="3341" y="3448"/>
                </a:lnTo>
                <a:lnTo>
                  <a:pt x="3346" y="3398"/>
                </a:lnTo>
                <a:lnTo>
                  <a:pt x="3351" y="3349"/>
                </a:lnTo>
                <a:lnTo>
                  <a:pt x="3355" y="3302"/>
                </a:lnTo>
                <a:lnTo>
                  <a:pt x="3355" y="3256"/>
                </a:lnTo>
                <a:lnTo>
                  <a:pt x="3353" y="3207"/>
                </a:lnTo>
                <a:lnTo>
                  <a:pt x="3346" y="3158"/>
                </a:lnTo>
                <a:lnTo>
                  <a:pt x="3339" y="3108"/>
                </a:lnTo>
                <a:lnTo>
                  <a:pt x="3329" y="3061"/>
                </a:lnTo>
                <a:lnTo>
                  <a:pt x="3318" y="3013"/>
                </a:lnTo>
                <a:lnTo>
                  <a:pt x="3308" y="2970"/>
                </a:lnTo>
                <a:lnTo>
                  <a:pt x="3297" y="2933"/>
                </a:lnTo>
                <a:lnTo>
                  <a:pt x="3287" y="2900"/>
                </a:lnTo>
                <a:lnTo>
                  <a:pt x="3278" y="2875"/>
                </a:lnTo>
                <a:lnTo>
                  <a:pt x="3271" y="2858"/>
                </a:lnTo>
                <a:lnTo>
                  <a:pt x="3264" y="2847"/>
                </a:lnTo>
                <a:lnTo>
                  <a:pt x="3254" y="2839"/>
                </a:lnTo>
                <a:lnTo>
                  <a:pt x="3240" y="2828"/>
                </a:lnTo>
                <a:lnTo>
                  <a:pt x="3224" y="2821"/>
                </a:lnTo>
                <a:lnTo>
                  <a:pt x="3212" y="2816"/>
                </a:lnTo>
                <a:lnTo>
                  <a:pt x="3201" y="2814"/>
                </a:lnTo>
                <a:lnTo>
                  <a:pt x="3191" y="2821"/>
                </a:lnTo>
                <a:lnTo>
                  <a:pt x="3177" y="2833"/>
                </a:lnTo>
                <a:lnTo>
                  <a:pt x="3163" y="2851"/>
                </a:lnTo>
                <a:lnTo>
                  <a:pt x="3149" y="2868"/>
                </a:lnTo>
                <a:lnTo>
                  <a:pt x="3133" y="2889"/>
                </a:lnTo>
                <a:lnTo>
                  <a:pt x="3128" y="2896"/>
                </a:lnTo>
                <a:lnTo>
                  <a:pt x="3105" y="2921"/>
                </a:lnTo>
                <a:lnTo>
                  <a:pt x="3081" y="2942"/>
                </a:lnTo>
                <a:lnTo>
                  <a:pt x="3056" y="2957"/>
                </a:lnTo>
                <a:lnTo>
                  <a:pt x="3032" y="2971"/>
                </a:lnTo>
                <a:lnTo>
                  <a:pt x="3009" y="2982"/>
                </a:lnTo>
                <a:lnTo>
                  <a:pt x="2992" y="2991"/>
                </a:lnTo>
                <a:lnTo>
                  <a:pt x="2973" y="2996"/>
                </a:lnTo>
                <a:lnTo>
                  <a:pt x="2955" y="2998"/>
                </a:lnTo>
                <a:lnTo>
                  <a:pt x="2950" y="3001"/>
                </a:lnTo>
                <a:lnTo>
                  <a:pt x="2946" y="3005"/>
                </a:lnTo>
                <a:lnTo>
                  <a:pt x="2943" y="3008"/>
                </a:lnTo>
                <a:lnTo>
                  <a:pt x="2941" y="3010"/>
                </a:lnTo>
                <a:lnTo>
                  <a:pt x="2943" y="3012"/>
                </a:lnTo>
                <a:lnTo>
                  <a:pt x="2945" y="3015"/>
                </a:lnTo>
                <a:lnTo>
                  <a:pt x="2946" y="3020"/>
                </a:lnTo>
                <a:lnTo>
                  <a:pt x="2952" y="3038"/>
                </a:lnTo>
                <a:lnTo>
                  <a:pt x="2957" y="3059"/>
                </a:lnTo>
                <a:lnTo>
                  <a:pt x="2960" y="3083"/>
                </a:lnTo>
                <a:lnTo>
                  <a:pt x="2964" y="3113"/>
                </a:lnTo>
                <a:lnTo>
                  <a:pt x="2967" y="3148"/>
                </a:lnTo>
                <a:lnTo>
                  <a:pt x="2967" y="3188"/>
                </a:lnTo>
                <a:lnTo>
                  <a:pt x="2964" y="3235"/>
                </a:lnTo>
                <a:lnTo>
                  <a:pt x="2957" y="3288"/>
                </a:lnTo>
                <a:lnTo>
                  <a:pt x="2946" y="3349"/>
                </a:lnTo>
                <a:lnTo>
                  <a:pt x="2931" y="3417"/>
                </a:lnTo>
                <a:lnTo>
                  <a:pt x="2924" y="3431"/>
                </a:lnTo>
                <a:lnTo>
                  <a:pt x="2911" y="3440"/>
                </a:lnTo>
                <a:lnTo>
                  <a:pt x="2896" y="3443"/>
                </a:lnTo>
                <a:lnTo>
                  <a:pt x="2887" y="3443"/>
                </a:lnTo>
                <a:lnTo>
                  <a:pt x="2875" y="3436"/>
                </a:lnTo>
                <a:lnTo>
                  <a:pt x="2864" y="3426"/>
                </a:lnTo>
                <a:lnTo>
                  <a:pt x="2861" y="3413"/>
                </a:lnTo>
                <a:lnTo>
                  <a:pt x="2861" y="3399"/>
                </a:lnTo>
                <a:lnTo>
                  <a:pt x="2875" y="3340"/>
                </a:lnTo>
                <a:lnTo>
                  <a:pt x="2885" y="3288"/>
                </a:lnTo>
                <a:lnTo>
                  <a:pt x="2890" y="3242"/>
                </a:lnTo>
                <a:lnTo>
                  <a:pt x="2894" y="3202"/>
                </a:lnTo>
                <a:lnTo>
                  <a:pt x="2896" y="3165"/>
                </a:lnTo>
                <a:lnTo>
                  <a:pt x="2887" y="3164"/>
                </a:lnTo>
                <a:lnTo>
                  <a:pt x="2877" y="3162"/>
                </a:lnTo>
                <a:lnTo>
                  <a:pt x="2870" y="3160"/>
                </a:lnTo>
                <a:lnTo>
                  <a:pt x="2859" y="3162"/>
                </a:lnTo>
                <a:lnTo>
                  <a:pt x="2847" y="3165"/>
                </a:lnTo>
                <a:lnTo>
                  <a:pt x="2835" y="3174"/>
                </a:lnTo>
                <a:lnTo>
                  <a:pt x="2826" y="3190"/>
                </a:lnTo>
                <a:lnTo>
                  <a:pt x="2817" y="3211"/>
                </a:lnTo>
                <a:lnTo>
                  <a:pt x="2810" y="3235"/>
                </a:lnTo>
                <a:lnTo>
                  <a:pt x="2803" y="3261"/>
                </a:lnTo>
                <a:lnTo>
                  <a:pt x="2798" y="3286"/>
                </a:lnTo>
                <a:lnTo>
                  <a:pt x="2794" y="3309"/>
                </a:lnTo>
                <a:lnTo>
                  <a:pt x="2791" y="3328"/>
                </a:lnTo>
                <a:lnTo>
                  <a:pt x="2787" y="3340"/>
                </a:lnTo>
                <a:lnTo>
                  <a:pt x="2787" y="3344"/>
                </a:lnTo>
                <a:lnTo>
                  <a:pt x="2782" y="3358"/>
                </a:lnTo>
                <a:lnTo>
                  <a:pt x="2772" y="3366"/>
                </a:lnTo>
                <a:lnTo>
                  <a:pt x="2758" y="3370"/>
                </a:lnTo>
                <a:lnTo>
                  <a:pt x="2753" y="3368"/>
                </a:lnTo>
                <a:lnTo>
                  <a:pt x="2739" y="3363"/>
                </a:lnTo>
                <a:lnTo>
                  <a:pt x="2730" y="3351"/>
                </a:lnTo>
                <a:lnTo>
                  <a:pt x="2728" y="3335"/>
                </a:lnTo>
                <a:lnTo>
                  <a:pt x="2730" y="3328"/>
                </a:lnTo>
                <a:lnTo>
                  <a:pt x="2732" y="3314"/>
                </a:lnTo>
                <a:lnTo>
                  <a:pt x="2735" y="3295"/>
                </a:lnTo>
                <a:lnTo>
                  <a:pt x="2740" y="3272"/>
                </a:lnTo>
                <a:lnTo>
                  <a:pt x="2747" y="3246"/>
                </a:lnTo>
                <a:lnTo>
                  <a:pt x="2754" y="3218"/>
                </a:lnTo>
                <a:lnTo>
                  <a:pt x="2761" y="3192"/>
                </a:lnTo>
                <a:lnTo>
                  <a:pt x="2770" y="3167"/>
                </a:lnTo>
                <a:lnTo>
                  <a:pt x="2774" y="3160"/>
                </a:lnTo>
                <a:lnTo>
                  <a:pt x="2777" y="3153"/>
                </a:lnTo>
                <a:lnTo>
                  <a:pt x="2774" y="3155"/>
                </a:lnTo>
                <a:lnTo>
                  <a:pt x="2770" y="3155"/>
                </a:lnTo>
                <a:lnTo>
                  <a:pt x="2767" y="3155"/>
                </a:lnTo>
                <a:lnTo>
                  <a:pt x="2751" y="3164"/>
                </a:lnTo>
                <a:lnTo>
                  <a:pt x="2737" y="3179"/>
                </a:lnTo>
                <a:lnTo>
                  <a:pt x="2721" y="3200"/>
                </a:lnTo>
                <a:lnTo>
                  <a:pt x="2709" y="3223"/>
                </a:lnTo>
                <a:lnTo>
                  <a:pt x="2697" y="3247"/>
                </a:lnTo>
                <a:lnTo>
                  <a:pt x="2688" y="3268"/>
                </a:lnTo>
                <a:lnTo>
                  <a:pt x="2681" y="3279"/>
                </a:lnTo>
                <a:lnTo>
                  <a:pt x="2672" y="3286"/>
                </a:lnTo>
                <a:lnTo>
                  <a:pt x="2660" y="3288"/>
                </a:lnTo>
                <a:lnTo>
                  <a:pt x="2655" y="3288"/>
                </a:lnTo>
                <a:lnTo>
                  <a:pt x="2650" y="3286"/>
                </a:lnTo>
                <a:lnTo>
                  <a:pt x="2637" y="3277"/>
                </a:lnTo>
                <a:lnTo>
                  <a:pt x="2630" y="3265"/>
                </a:lnTo>
                <a:lnTo>
                  <a:pt x="2632" y="3249"/>
                </a:lnTo>
                <a:lnTo>
                  <a:pt x="2637" y="3237"/>
                </a:lnTo>
                <a:lnTo>
                  <a:pt x="2644" y="3220"/>
                </a:lnTo>
                <a:lnTo>
                  <a:pt x="2655" y="3197"/>
                </a:lnTo>
                <a:lnTo>
                  <a:pt x="2667" y="3172"/>
                </a:lnTo>
                <a:lnTo>
                  <a:pt x="2685" y="3150"/>
                </a:lnTo>
                <a:lnTo>
                  <a:pt x="2704" y="3127"/>
                </a:lnTo>
                <a:lnTo>
                  <a:pt x="2725" y="3109"/>
                </a:lnTo>
                <a:lnTo>
                  <a:pt x="2749" y="3097"/>
                </a:lnTo>
                <a:lnTo>
                  <a:pt x="2775" y="3094"/>
                </a:lnTo>
                <a:lnTo>
                  <a:pt x="2805" y="3092"/>
                </a:lnTo>
                <a:lnTo>
                  <a:pt x="2835" y="3094"/>
                </a:lnTo>
                <a:lnTo>
                  <a:pt x="2864" y="3099"/>
                </a:lnTo>
                <a:lnTo>
                  <a:pt x="2890" y="3104"/>
                </a:lnTo>
                <a:lnTo>
                  <a:pt x="2885" y="3068"/>
                </a:lnTo>
                <a:lnTo>
                  <a:pt x="2878" y="3041"/>
                </a:lnTo>
                <a:lnTo>
                  <a:pt x="2850" y="3043"/>
                </a:lnTo>
                <a:lnTo>
                  <a:pt x="2826" y="3048"/>
                </a:lnTo>
                <a:lnTo>
                  <a:pt x="2805" y="3055"/>
                </a:lnTo>
                <a:lnTo>
                  <a:pt x="2791" y="3062"/>
                </a:lnTo>
                <a:lnTo>
                  <a:pt x="2781" y="3069"/>
                </a:lnTo>
                <a:lnTo>
                  <a:pt x="2777" y="3071"/>
                </a:lnTo>
                <a:lnTo>
                  <a:pt x="2772" y="3075"/>
                </a:lnTo>
                <a:lnTo>
                  <a:pt x="2767" y="3075"/>
                </a:lnTo>
                <a:lnTo>
                  <a:pt x="2761" y="3075"/>
                </a:lnTo>
                <a:lnTo>
                  <a:pt x="2756" y="3073"/>
                </a:lnTo>
                <a:lnTo>
                  <a:pt x="2753" y="3068"/>
                </a:lnTo>
                <a:lnTo>
                  <a:pt x="2749" y="3064"/>
                </a:lnTo>
                <a:lnTo>
                  <a:pt x="2749" y="3059"/>
                </a:lnTo>
                <a:lnTo>
                  <a:pt x="2749" y="3054"/>
                </a:lnTo>
                <a:lnTo>
                  <a:pt x="2751" y="3048"/>
                </a:lnTo>
                <a:lnTo>
                  <a:pt x="2754" y="3043"/>
                </a:lnTo>
                <a:lnTo>
                  <a:pt x="2760" y="3040"/>
                </a:lnTo>
                <a:lnTo>
                  <a:pt x="2770" y="3033"/>
                </a:lnTo>
                <a:lnTo>
                  <a:pt x="2787" y="3024"/>
                </a:lnTo>
                <a:lnTo>
                  <a:pt x="2810" y="3015"/>
                </a:lnTo>
                <a:lnTo>
                  <a:pt x="2808" y="3008"/>
                </a:lnTo>
                <a:lnTo>
                  <a:pt x="2805" y="3003"/>
                </a:lnTo>
                <a:lnTo>
                  <a:pt x="2800" y="2998"/>
                </a:lnTo>
                <a:lnTo>
                  <a:pt x="2794" y="2992"/>
                </a:lnTo>
                <a:lnTo>
                  <a:pt x="2787" y="2991"/>
                </a:lnTo>
                <a:lnTo>
                  <a:pt x="2772" y="2991"/>
                </a:lnTo>
                <a:lnTo>
                  <a:pt x="2760" y="2998"/>
                </a:lnTo>
                <a:lnTo>
                  <a:pt x="2751" y="3008"/>
                </a:lnTo>
                <a:lnTo>
                  <a:pt x="2747" y="2989"/>
                </a:lnTo>
                <a:lnTo>
                  <a:pt x="2749" y="2968"/>
                </a:lnTo>
                <a:lnTo>
                  <a:pt x="2749" y="2966"/>
                </a:lnTo>
                <a:lnTo>
                  <a:pt x="2751" y="2964"/>
                </a:lnTo>
                <a:lnTo>
                  <a:pt x="2749" y="2966"/>
                </a:lnTo>
                <a:lnTo>
                  <a:pt x="2747" y="2966"/>
                </a:lnTo>
                <a:lnTo>
                  <a:pt x="2744" y="2968"/>
                </a:lnTo>
                <a:lnTo>
                  <a:pt x="2739" y="2968"/>
                </a:lnTo>
                <a:lnTo>
                  <a:pt x="2733" y="2968"/>
                </a:lnTo>
                <a:lnTo>
                  <a:pt x="2728" y="2964"/>
                </a:lnTo>
                <a:lnTo>
                  <a:pt x="2723" y="2959"/>
                </a:lnTo>
                <a:lnTo>
                  <a:pt x="2721" y="2954"/>
                </a:lnTo>
                <a:lnTo>
                  <a:pt x="2721" y="2949"/>
                </a:lnTo>
                <a:lnTo>
                  <a:pt x="2723" y="2943"/>
                </a:lnTo>
                <a:lnTo>
                  <a:pt x="2725" y="2938"/>
                </a:lnTo>
                <a:lnTo>
                  <a:pt x="2730" y="2935"/>
                </a:lnTo>
                <a:lnTo>
                  <a:pt x="2735" y="2933"/>
                </a:lnTo>
                <a:lnTo>
                  <a:pt x="2747" y="2926"/>
                </a:lnTo>
                <a:lnTo>
                  <a:pt x="2765" y="2921"/>
                </a:lnTo>
                <a:lnTo>
                  <a:pt x="2787" y="2914"/>
                </a:lnTo>
                <a:lnTo>
                  <a:pt x="2815" y="2910"/>
                </a:lnTo>
                <a:lnTo>
                  <a:pt x="2847" y="2909"/>
                </a:lnTo>
                <a:lnTo>
                  <a:pt x="2878" y="2914"/>
                </a:lnTo>
                <a:lnTo>
                  <a:pt x="2843" y="2860"/>
                </a:lnTo>
                <a:lnTo>
                  <a:pt x="2808" y="2814"/>
                </a:lnTo>
                <a:lnTo>
                  <a:pt x="2775" y="2779"/>
                </a:lnTo>
                <a:lnTo>
                  <a:pt x="2746" y="2750"/>
                </a:lnTo>
                <a:lnTo>
                  <a:pt x="2718" y="2727"/>
                </a:lnTo>
                <a:lnTo>
                  <a:pt x="2693" y="2709"/>
                </a:lnTo>
                <a:lnTo>
                  <a:pt x="2672" y="2697"/>
                </a:lnTo>
                <a:lnTo>
                  <a:pt x="2660" y="2688"/>
                </a:lnTo>
                <a:lnTo>
                  <a:pt x="2650" y="2681"/>
                </a:lnTo>
                <a:lnTo>
                  <a:pt x="2643" y="2676"/>
                </a:lnTo>
                <a:lnTo>
                  <a:pt x="2630" y="2667"/>
                </a:lnTo>
                <a:lnTo>
                  <a:pt x="2615" y="2655"/>
                </a:lnTo>
                <a:lnTo>
                  <a:pt x="2590" y="2636"/>
                </a:lnTo>
                <a:lnTo>
                  <a:pt x="2559" y="2613"/>
                </a:lnTo>
                <a:lnTo>
                  <a:pt x="2524" y="2587"/>
                </a:lnTo>
                <a:lnTo>
                  <a:pt x="2487" y="2561"/>
                </a:lnTo>
                <a:lnTo>
                  <a:pt x="2447" y="2531"/>
                </a:lnTo>
                <a:lnTo>
                  <a:pt x="2405" y="2503"/>
                </a:lnTo>
                <a:lnTo>
                  <a:pt x="2365" y="2475"/>
                </a:lnTo>
                <a:lnTo>
                  <a:pt x="2325" y="2451"/>
                </a:lnTo>
                <a:lnTo>
                  <a:pt x="2288" y="2430"/>
                </a:lnTo>
                <a:lnTo>
                  <a:pt x="2255" y="2412"/>
                </a:lnTo>
                <a:lnTo>
                  <a:pt x="2227" y="2400"/>
                </a:lnTo>
                <a:lnTo>
                  <a:pt x="2182" y="2390"/>
                </a:lnTo>
                <a:lnTo>
                  <a:pt x="2135" y="2386"/>
                </a:lnTo>
                <a:close/>
                <a:moveTo>
                  <a:pt x="2575" y="2337"/>
                </a:moveTo>
                <a:lnTo>
                  <a:pt x="2575" y="2484"/>
                </a:lnTo>
                <a:lnTo>
                  <a:pt x="2573" y="2491"/>
                </a:lnTo>
                <a:lnTo>
                  <a:pt x="2573" y="2498"/>
                </a:lnTo>
                <a:lnTo>
                  <a:pt x="2569" y="2505"/>
                </a:lnTo>
                <a:lnTo>
                  <a:pt x="2608" y="2533"/>
                </a:lnTo>
                <a:lnTo>
                  <a:pt x="2643" y="2559"/>
                </a:lnTo>
                <a:lnTo>
                  <a:pt x="2672" y="2582"/>
                </a:lnTo>
                <a:lnTo>
                  <a:pt x="2686" y="2592"/>
                </a:lnTo>
                <a:lnTo>
                  <a:pt x="2697" y="2601"/>
                </a:lnTo>
                <a:lnTo>
                  <a:pt x="2704" y="2606"/>
                </a:lnTo>
                <a:lnTo>
                  <a:pt x="2712" y="2612"/>
                </a:lnTo>
                <a:lnTo>
                  <a:pt x="2723" y="2619"/>
                </a:lnTo>
                <a:lnTo>
                  <a:pt x="2744" y="2633"/>
                </a:lnTo>
                <a:lnTo>
                  <a:pt x="2770" y="2648"/>
                </a:lnTo>
                <a:lnTo>
                  <a:pt x="2798" y="2671"/>
                </a:lnTo>
                <a:lnTo>
                  <a:pt x="2829" y="2699"/>
                </a:lnTo>
                <a:lnTo>
                  <a:pt x="2863" y="2734"/>
                </a:lnTo>
                <a:lnTo>
                  <a:pt x="2897" y="2774"/>
                </a:lnTo>
                <a:lnTo>
                  <a:pt x="2934" y="2825"/>
                </a:lnTo>
                <a:lnTo>
                  <a:pt x="2971" y="2884"/>
                </a:lnTo>
                <a:lnTo>
                  <a:pt x="2973" y="2889"/>
                </a:lnTo>
                <a:lnTo>
                  <a:pt x="2974" y="2895"/>
                </a:lnTo>
                <a:lnTo>
                  <a:pt x="2995" y="2884"/>
                </a:lnTo>
                <a:lnTo>
                  <a:pt x="3016" y="2872"/>
                </a:lnTo>
                <a:lnTo>
                  <a:pt x="3037" y="2858"/>
                </a:lnTo>
                <a:lnTo>
                  <a:pt x="3053" y="2840"/>
                </a:lnTo>
                <a:lnTo>
                  <a:pt x="3058" y="2833"/>
                </a:lnTo>
                <a:lnTo>
                  <a:pt x="3081" y="2804"/>
                </a:lnTo>
                <a:lnTo>
                  <a:pt x="3102" y="2779"/>
                </a:lnTo>
                <a:lnTo>
                  <a:pt x="3124" y="2757"/>
                </a:lnTo>
                <a:lnTo>
                  <a:pt x="3147" y="2739"/>
                </a:lnTo>
                <a:lnTo>
                  <a:pt x="3173" y="2725"/>
                </a:lnTo>
                <a:lnTo>
                  <a:pt x="3203" y="2722"/>
                </a:lnTo>
                <a:lnTo>
                  <a:pt x="3233" y="2725"/>
                </a:lnTo>
                <a:lnTo>
                  <a:pt x="3264" y="2737"/>
                </a:lnTo>
                <a:lnTo>
                  <a:pt x="3294" y="2753"/>
                </a:lnTo>
                <a:lnTo>
                  <a:pt x="3322" y="2774"/>
                </a:lnTo>
                <a:lnTo>
                  <a:pt x="3343" y="2797"/>
                </a:lnTo>
                <a:lnTo>
                  <a:pt x="3358" y="2821"/>
                </a:lnTo>
                <a:lnTo>
                  <a:pt x="3362" y="2833"/>
                </a:lnTo>
                <a:lnTo>
                  <a:pt x="3370" y="2854"/>
                </a:lnTo>
                <a:lnTo>
                  <a:pt x="3379" y="2882"/>
                </a:lnTo>
                <a:lnTo>
                  <a:pt x="3390" y="2917"/>
                </a:lnTo>
                <a:lnTo>
                  <a:pt x="3400" y="2956"/>
                </a:lnTo>
                <a:lnTo>
                  <a:pt x="3412" y="3001"/>
                </a:lnTo>
                <a:lnTo>
                  <a:pt x="3423" y="3048"/>
                </a:lnTo>
                <a:lnTo>
                  <a:pt x="3432" y="3097"/>
                </a:lnTo>
                <a:lnTo>
                  <a:pt x="4020" y="3097"/>
                </a:lnTo>
                <a:lnTo>
                  <a:pt x="4041" y="3101"/>
                </a:lnTo>
                <a:lnTo>
                  <a:pt x="4060" y="3111"/>
                </a:lnTo>
                <a:lnTo>
                  <a:pt x="4074" y="3125"/>
                </a:lnTo>
                <a:lnTo>
                  <a:pt x="4084" y="3144"/>
                </a:lnTo>
                <a:lnTo>
                  <a:pt x="4088" y="3167"/>
                </a:lnTo>
                <a:lnTo>
                  <a:pt x="4084" y="3188"/>
                </a:lnTo>
                <a:lnTo>
                  <a:pt x="4074" y="3207"/>
                </a:lnTo>
                <a:lnTo>
                  <a:pt x="4060" y="3221"/>
                </a:lnTo>
                <a:lnTo>
                  <a:pt x="4041" y="3232"/>
                </a:lnTo>
                <a:lnTo>
                  <a:pt x="4020" y="3235"/>
                </a:lnTo>
                <a:lnTo>
                  <a:pt x="3447" y="3235"/>
                </a:lnTo>
                <a:lnTo>
                  <a:pt x="3449" y="3272"/>
                </a:lnTo>
                <a:lnTo>
                  <a:pt x="3447" y="3307"/>
                </a:lnTo>
                <a:lnTo>
                  <a:pt x="3444" y="3354"/>
                </a:lnTo>
                <a:lnTo>
                  <a:pt x="3440" y="3401"/>
                </a:lnTo>
                <a:lnTo>
                  <a:pt x="3435" y="3454"/>
                </a:lnTo>
                <a:lnTo>
                  <a:pt x="3426" y="3506"/>
                </a:lnTo>
                <a:lnTo>
                  <a:pt x="3414" y="3560"/>
                </a:lnTo>
                <a:lnTo>
                  <a:pt x="3400" y="3614"/>
                </a:lnTo>
                <a:lnTo>
                  <a:pt x="3379" y="3667"/>
                </a:lnTo>
                <a:lnTo>
                  <a:pt x="3355" y="3721"/>
                </a:lnTo>
                <a:lnTo>
                  <a:pt x="3323" y="3772"/>
                </a:lnTo>
                <a:lnTo>
                  <a:pt x="3285" y="3819"/>
                </a:lnTo>
                <a:lnTo>
                  <a:pt x="3240" y="3864"/>
                </a:lnTo>
                <a:lnTo>
                  <a:pt x="3185" y="3906"/>
                </a:lnTo>
                <a:lnTo>
                  <a:pt x="3128" y="3939"/>
                </a:lnTo>
                <a:lnTo>
                  <a:pt x="3070" y="3964"/>
                </a:lnTo>
                <a:lnTo>
                  <a:pt x="3013" y="3981"/>
                </a:lnTo>
                <a:lnTo>
                  <a:pt x="2955" y="3992"/>
                </a:lnTo>
                <a:lnTo>
                  <a:pt x="2901" y="3997"/>
                </a:lnTo>
                <a:lnTo>
                  <a:pt x="2849" y="3997"/>
                </a:lnTo>
                <a:lnTo>
                  <a:pt x="2801" y="3995"/>
                </a:lnTo>
                <a:lnTo>
                  <a:pt x="2758" y="3990"/>
                </a:lnTo>
                <a:lnTo>
                  <a:pt x="2723" y="3985"/>
                </a:lnTo>
                <a:lnTo>
                  <a:pt x="2718" y="4014"/>
                </a:lnTo>
                <a:lnTo>
                  <a:pt x="2711" y="4046"/>
                </a:lnTo>
                <a:lnTo>
                  <a:pt x="2698" y="4077"/>
                </a:lnTo>
                <a:lnTo>
                  <a:pt x="2683" y="4107"/>
                </a:lnTo>
                <a:lnTo>
                  <a:pt x="2664" y="4137"/>
                </a:lnTo>
                <a:lnTo>
                  <a:pt x="2639" y="4163"/>
                </a:lnTo>
                <a:lnTo>
                  <a:pt x="2609" y="4187"/>
                </a:lnTo>
                <a:lnTo>
                  <a:pt x="2575" y="4207"/>
                </a:lnTo>
                <a:lnTo>
                  <a:pt x="2575" y="4507"/>
                </a:lnTo>
                <a:lnTo>
                  <a:pt x="2578" y="4558"/>
                </a:lnTo>
                <a:lnTo>
                  <a:pt x="2592" y="4605"/>
                </a:lnTo>
                <a:lnTo>
                  <a:pt x="2613" y="4649"/>
                </a:lnTo>
                <a:lnTo>
                  <a:pt x="2639" y="4687"/>
                </a:lnTo>
                <a:lnTo>
                  <a:pt x="2672" y="4720"/>
                </a:lnTo>
                <a:lnTo>
                  <a:pt x="2712" y="4748"/>
                </a:lnTo>
                <a:lnTo>
                  <a:pt x="2754" y="4767"/>
                </a:lnTo>
                <a:lnTo>
                  <a:pt x="2801" y="4781"/>
                </a:lnTo>
                <a:lnTo>
                  <a:pt x="2852" y="4785"/>
                </a:lnTo>
                <a:lnTo>
                  <a:pt x="5345" y="4785"/>
                </a:lnTo>
                <a:lnTo>
                  <a:pt x="5395" y="4781"/>
                </a:lnTo>
                <a:lnTo>
                  <a:pt x="5442" y="4767"/>
                </a:lnTo>
                <a:lnTo>
                  <a:pt x="5484" y="4748"/>
                </a:lnTo>
                <a:lnTo>
                  <a:pt x="5524" y="4720"/>
                </a:lnTo>
                <a:lnTo>
                  <a:pt x="5558" y="4687"/>
                </a:lnTo>
                <a:lnTo>
                  <a:pt x="5585" y="4649"/>
                </a:lnTo>
                <a:lnTo>
                  <a:pt x="5605" y="4605"/>
                </a:lnTo>
                <a:lnTo>
                  <a:pt x="5619" y="4558"/>
                </a:lnTo>
                <a:lnTo>
                  <a:pt x="5622" y="4507"/>
                </a:lnTo>
                <a:lnTo>
                  <a:pt x="5622" y="2337"/>
                </a:lnTo>
                <a:lnTo>
                  <a:pt x="2575" y="2337"/>
                </a:lnTo>
                <a:close/>
                <a:moveTo>
                  <a:pt x="2852" y="1735"/>
                </a:moveTo>
                <a:lnTo>
                  <a:pt x="2801" y="1740"/>
                </a:lnTo>
                <a:lnTo>
                  <a:pt x="2754" y="1752"/>
                </a:lnTo>
                <a:lnTo>
                  <a:pt x="2712" y="1773"/>
                </a:lnTo>
                <a:lnTo>
                  <a:pt x="2672" y="1799"/>
                </a:lnTo>
                <a:lnTo>
                  <a:pt x="2639" y="1834"/>
                </a:lnTo>
                <a:lnTo>
                  <a:pt x="2613" y="1873"/>
                </a:lnTo>
                <a:lnTo>
                  <a:pt x="2592" y="1916"/>
                </a:lnTo>
                <a:lnTo>
                  <a:pt x="2578" y="1962"/>
                </a:lnTo>
                <a:lnTo>
                  <a:pt x="2575" y="2012"/>
                </a:lnTo>
                <a:lnTo>
                  <a:pt x="2575" y="2199"/>
                </a:lnTo>
                <a:lnTo>
                  <a:pt x="5622" y="2199"/>
                </a:lnTo>
                <a:lnTo>
                  <a:pt x="5622" y="2012"/>
                </a:lnTo>
                <a:lnTo>
                  <a:pt x="5619" y="1962"/>
                </a:lnTo>
                <a:lnTo>
                  <a:pt x="5605" y="1916"/>
                </a:lnTo>
                <a:lnTo>
                  <a:pt x="5585" y="1873"/>
                </a:lnTo>
                <a:lnTo>
                  <a:pt x="5558" y="1834"/>
                </a:lnTo>
                <a:lnTo>
                  <a:pt x="5524" y="1799"/>
                </a:lnTo>
                <a:lnTo>
                  <a:pt x="5484" y="1773"/>
                </a:lnTo>
                <a:lnTo>
                  <a:pt x="5442" y="1752"/>
                </a:lnTo>
                <a:lnTo>
                  <a:pt x="5395" y="1740"/>
                </a:lnTo>
                <a:lnTo>
                  <a:pt x="5345" y="1735"/>
                </a:lnTo>
                <a:lnTo>
                  <a:pt x="2852" y="1735"/>
                </a:lnTo>
                <a:close/>
                <a:moveTo>
                  <a:pt x="969" y="1728"/>
                </a:moveTo>
                <a:lnTo>
                  <a:pt x="969" y="1792"/>
                </a:lnTo>
                <a:lnTo>
                  <a:pt x="969" y="1855"/>
                </a:lnTo>
                <a:lnTo>
                  <a:pt x="967" y="1916"/>
                </a:lnTo>
                <a:lnTo>
                  <a:pt x="967" y="1974"/>
                </a:lnTo>
                <a:lnTo>
                  <a:pt x="967" y="2023"/>
                </a:lnTo>
                <a:lnTo>
                  <a:pt x="969" y="2065"/>
                </a:lnTo>
                <a:lnTo>
                  <a:pt x="969" y="2096"/>
                </a:lnTo>
                <a:lnTo>
                  <a:pt x="969" y="2115"/>
                </a:lnTo>
                <a:lnTo>
                  <a:pt x="981" y="2140"/>
                </a:lnTo>
                <a:lnTo>
                  <a:pt x="1004" y="2166"/>
                </a:lnTo>
                <a:lnTo>
                  <a:pt x="1035" y="2192"/>
                </a:lnTo>
                <a:lnTo>
                  <a:pt x="1079" y="2218"/>
                </a:lnTo>
                <a:lnTo>
                  <a:pt x="1131" y="2246"/>
                </a:lnTo>
                <a:lnTo>
                  <a:pt x="1194" y="2273"/>
                </a:lnTo>
                <a:lnTo>
                  <a:pt x="1267" y="2299"/>
                </a:lnTo>
                <a:lnTo>
                  <a:pt x="1351" y="2323"/>
                </a:lnTo>
                <a:lnTo>
                  <a:pt x="1445" y="2346"/>
                </a:lnTo>
                <a:lnTo>
                  <a:pt x="1550" y="2367"/>
                </a:lnTo>
                <a:lnTo>
                  <a:pt x="1665" y="2386"/>
                </a:lnTo>
                <a:lnTo>
                  <a:pt x="1683" y="2391"/>
                </a:lnTo>
                <a:lnTo>
                  <a:pt x="1697" y="2404"/>
                </a:lnTo>
                <a:lnTo>
                  <a:pt x="1744" y="2381"/>
                </a:lnTo>
                <a:lnTo>
                  <a:pt x="1793" y="2363"/>
                </a:lnTo>
                <a:lnTo>
                  <a:pt x="1805" y="2360"/>
                </a:lnTo>
                <a:lnTo>
                  <a:pt x="1885" y="2337"/>
                </a:lnTo>
                <a:lnTo>
                  <a:pt x="1958" y="2318"/>
                </a:lnTo>
                <a:lnTo>
                  <a:pt x="2025" y="2304"/>
                </a:lnTo>
                <a:lnTo>
                  <a:pt x="2086" y="2295"/>
                </a:lnTo>
                <a:lnTo>
                  <a:pt x="2143" y="2292"/>
                </a:lnTo>
                <a:lnTo>
                  <a:pt x="2199" y="2299"/>
                </a:lnTo>
                <a:lnTo>
                  <a:pt x="2255" y="2313"/>
                </a:lnTo>
                <a:lnTo>
                  <a:pt x="2287" y="2325"/>
                </a:lnTo>
                <a:lnTo>
                  <a:pt x="2320" y="2341"/>
                </a:lnTo>
                <a:lnTo>
                  <a:pt x="2358" y="2362"/>
                </a:lnTo>
                <a:lnTo>
                  <a:pt x="2397" y="2386"/>
                </a:lnTo>
                <a:lnTo>
                  <a:pt x="2437" y="2412"/>
                </a:lnTo>
                <a:lnTo>
                  <a:pt x="2437" y="2012"/>
                </a:lnTo>
                <a:lnTo>
                  <a:pt x="2438" y="1981"/>
                </a:lnTo>
                <a:lnTo>
                  <a:pt x="2363" y="1983"/>
                </a:lnTo>
                <a:lnTo>
                  <a:pt x="2287" y="1984"/>
                </a:lnTo>
                <a:lnTo>
                  <a:pt x="2133" y="1981"/>
                </a:lnTo>
                <a:lnTo>
                  <a:pt x="1983" y="1974"/>
                </a:lnTo>
                <a:lnTo>
                  <a:pt x="1836" y="1963"/>
                </a:lnTo>
                <a:lnTo>
                  <a:pt x="1695" y="1948"/>
                </a:lnTo>
                <a:lnTo>
                  <a:pt x="1560" y="1927"/>
                </a:lnTo>
                <a:lnTo>
                  <a:pt x="1435" y="1902"/>
                </a:lnTo>
                <a:lnTo>
                  <a:pt x="1316" y="1874"/>
                </a:lnTo>
                <a:lnTo>
                  <a:pt x="1229" y="1848"/>
                </a:lnTo>
                <a:lnTo>
                  <a:pt x="1150" y="1820"/>
                </a:lnTo>
                <a:lnTo>
                  <a:pt x="1080" y="1790"/>
                </a:lnTo>
                <a:lnTo>
                  <a:pt x="1019" y="1759"/>
                </a:lnTo>
                <a:lnTo>
                  <a:pt x="969" y="1728"/>
                </a:lnTo>
                <a:close/>
                <a:moveTo>
                  <a:pt x="902" y="1506"/>
                </a:moveTo>
                <a:lnTo>
                  <a:pt x="925" y="1506"/>
                </a:lnTo>
                <a:lnTo>
                  <a:pt x="943" y="1514"/>
                </a:lnTo>
                <a:lnTo>
                  <a:pt x="958" y="1530"/>
                </a:lnTo>
                <a:lnTo>
                  <a:pt x="967" y="1549"/>
                </a:lnTo>
                <a:lnTo>
                  <a:pt x="976" y="1569"/>
                </a:lnTo>
                <a:lnTo>
                  <a:pt x="991" y="1591"/>
                </a:lnTo>
                <a:lnTo>
                  <a:pt x="1014" y="1614"/>
                </a:lnTo>
                <a:lnTo>
                  <a:pt x="1046" y="1637"/>
                </a:lnTo>
                <a:lnTo>
                  <a:pt x="1086" y="1661"/>
                </a:lnTo>
                <a:lnTo>
                  <a:pt x="1136" y="1687"/>
                </a:lnTo>
                <a:lnTo>
                  <a:pt x="1196" y="1712"/>
                </a:lnTo>
                <a:lnTo>
                  <a:pt x="1265" y="1736"/>
                </a:lnTo>
                <a:lnTo>
                  <a:pt x="1347" y="1761"/>
                </a:lnTo>
                <a:lnTo>
                  <a:pt x="1461" y="1787"/>
                </a:lnTo>
                <a:lnTo>
                  <a:pt x="1583" y="1811"/>
                </a:lnTo>
                <a:lnTo>
                  <a:pt x="1712" y="1831"/>
                </a:lnTo>
                <a:lnTo>
                  <a:pt x="1848" y="1846"/>
                </a:lnTo>
                <a:lnTo>
                  <a:pt x="1992" y="1857"/>
                </a:lnTo>
                <a:lnTo>
                  <a:pt x="2138" y="1864"/>
                </a:lnTo>
                <a:lnTo>
                  <a:pt x="2287" y="1867"/>
                </a:lnTo>
                <a:lnTo>
                  <a:pt x="2377" y="1866"/>
                </a:lnTo>
                <a:lnTo>
                  <a:pt x="2465" y="1862"/>
                </a:lnTo>
                <a:lnTo>
                  <a:pt x="2493" y="1806"/>
                </a:lnTo>
                <a:lnTo>
                  <a:pt x="2526" y="1756"/>
                </a:lnTo>
                <a:lnTo>
                  <a:pt x="2568" y="1710"/>
                </a:lnTo>
                <a:lnTo>
                  <a:pt x="2615" y="1672"/>
                </a:lnTo>
                <a:lnTo>
                  <a:pt x="2669" y="1640"/>
                </a:lnTo>
                <a:lnTo>
                  <a:pt x="2726" y="1616"/>
                </a:lnTo>
                <a:lnTo>
                  <a:pt x="2787" y="1602"/>
                </a:lnTo>
                <a:lnTo>
                  <a:pt x="2852" y="1597"/>
                </a:lnTo>
                <a:lnTo>
                  <a:pt x="5345" y="1597"/>
                </a:lnTo>
                <a:lnTo>
                  <a:pt x="5413" y="1602"/>
                </a:lnTo>
                <a:lnTo>
                  <a:pt x="5475" y="1617"/>
                </a:lnTo>
                <a:lnTo>
                  <a:pt x="5535" y="1644"/>
                </a:lnTo>
                <a:lnTo>
                  <a:pt x="5591" y="1677"/>
                </a:lnTo>
                <a:lnTo>
                  <a:pt x="5638" y="1719"/>
                </a:lnTo>
                <a:lnTo>
                  <a:pt x="5680" y="1768"/>
                </a:lnTo>
                <a:lnTo>
                  <a:pt x="5713" y="1822"/>
                </a:lnTo>
                <a:lnTo>
                  <a:pt x="5739" y="1881"/>
                </a:lnTo>
                <a:lnTo>
                  <a:pt x="5755" y="1946"/>
                </a:lnTo>
                <a:lnTo>
                  <a:pt x="5760" y="2012"/>
                </a:lnTo>
                <a:lnTo>
                  <a:pt x="5760" y="4507"/>
                </a:lnTo>
                <a:lnTo>
                  <a:pt x="5755" y="4575"/>
                </a:lnTo>
                <a:lnTo>
                  <a:pt x="5739" y="4638"/>
                </a:lnTo>
                <a:lnTo>
                  <a:pt x="5713" y="4699"/>
                </a:lnTo>
                <a:lnTo>
                  <a:pt x="5680" y="4753"/>
                </a:lnTo>
                <a:lnTo>
                  <a:pt x="5638" y="4801"/>
                </a:lnTo>
                <a:lnTo>
                  <a:pt x="5591" y="4843"/>
                </a:lnTo>
                <a:lnTo>
                  <a:pt x="5535" y="4877"/>
                </a:lnTo>
                <a:lnTo>
                  <a:pt x="5475" y="4902"/>
                </a:lnTo>
                <a:lnTo>
                  <a:pt x="5413" y="4918"/>
                </a:lnTo>
                <a:lnTo>
                  <a:pt x="5345" y="4923"/>
                </a:lnTo>
                <a:lnTo>
                  <a:pt x="2852" y="4923"/>
                </a:lnTo>
                <a:lnTo>
                  <a:pt x="2784" y="4918"/>
                </a:lnTo>
                <a:lnTo>
                  <a:pt x="2721" y="4902"/>
                </a:lnTo>
                <a:lnTo>
                  <a:pt x="2662" y="4877"/>
                </a:lnTo>
                <a:lnTo>
                  <a:pt x="2608" y="4843"/>
                </a:lnTo>
                <a:lnTo>
                  <a:pt x="2559" y="4801"/>
                </a:lnTo>
                <a:lnTo>
                  <a:pt x="2517" y="4753"/>
                </a:lnTo>
                <a:lnTo>
                  <a:pt x="2484" y="4699"/>
                </a:lnTo>
                <a:lnTo>
                  <a:pt x="2458" y="4638"/>
                </a:lnTo>
                <a:lnTo>
                  <a:pt x="2442" y="4575"/>
                </a:lnTo>
                <a:lnTo>
                  <a:pt x="2437" y="4507"/>
                </a:lnTo>
                <a:lnTo>
                  <a:pt x="2437" y="4231"/>
                </a:lnTo>
                <a:lnTo>
                  <a:pt x="2395" y="4224"/>
                </a:lnTo>
                <a:lnTo>
                  <a:pt x="2356" y="4214"/>
                </a:lnTo>
                <a:lnTo>
                  <a:pt x="2320" y="4198"/>
                </a:lnTo>
                <a:lnTo>
                  <a:pt x="2288" y="4182"/>
                </a:lnTo>
                <a:lnTo>
                  <a:pt x="2260" y="4165"/>
                </a:lnTo>
                <a:lnTo>
                  <a:pt x="2238" y="4149"/>
                </a:lnTo>
                <a:lnTo>
                  <a:pt x="2220" y="4135"/>
                </a:lnTo>
                <a:lnTo>
                  <a:pt x="2208" y="4125"/>
                </a:lnTo>
                <a:lnTo>
                  <a:pt x="2203" y="4119"/>
                </a:lnTo>
                <a:lnTo>
                  <a:pt x="2175" y="4098"/>
                </a:lnTo>
                <a:lnTo>
                  <a:pt x="2175" y="4104"/>
                </a:lnTo>
                <a:lnTo>
                  <a:pt x="2189" y="4131"/>
                </a:lnTo>
                <a:lnTo>
                  <a:pt x="2205" y="4170"/>
                </a:lnTo>
                <a:lnTo>
                  <a:pt x="2218" y="4207"/>
                </a:lnTo>
                <a:lnTo>
                  <a:pt x="2232" y="4247"/>
                </a:lnTo>
                <a:lnTo>
                  <a:pt x="2243" y="4289"/>
                </a:lnTo>
                <a:lnTo>
                  <a:pt x="2253" y="4331"/>
                </a:lnTo>
                <a:lnTo>
                  <a:pt x="2259" y="4369"/>
                </a:lnTo>
                <a:lnTo>
                  <a:pt x="2262" y="4402"/>
                </a:lnTo>
                <a:lnTo>
                  <a:pt x="2262" y="4435"/>
                </a:lnTo>
                <a:lnTo>
                  <a:pt x="2264" y="4453"/>
                </a:lnTo>
                <a:lnTo>
                  <a:pt x="2264" y="4470"/>
                </a:lnTo>
                <a:lnTo>
                  <a:pt x="2266" y="4486"/>
                </a:lnTo>
                <a:lnTo>
                  <a:pt x="2267" y="4495"/>
                </a:lnTo>
                <a:lnTo>
                  <a:pt x="2273" y="4511"/>
                </a:lnTo>
                <a:lnTo>
                  <a:pt x="2280" y="4533"/>
                </a:lnTo>
                <a:lnTo>
                  <a:pt x="2283" y="4560"/>
                </a:lnTo>
                <a:lnTo>
                  <a:pt x="2287" y="4589"/>
                </a:lnTo>
                <a:lnTo>
                  <a:pt x="2287" y="4617"/>
                </a:lnTo>
                <a:lnTo>
                  <a:pt x="2285" y="4642"/>
                </a:lnTo>
                <a:lnTo>
                  <a:pt x="2280" y="4663"/>
                </a:lnTo>
                <a:lnTo>
                  <a:pt x="2271" y="4680"/>
                </a:lnTo>
                <a:lnTo>
                  <a:pt x="2259" y="4699"/>
                </a:lnTo>
                <a:lnTo>
                  <a:pt x="2243" y="4717"/>
                </a:lnTo>
                <a:lnTo>
                  <a:pt x="2220" y="4731"/>
                </a:lnTo>
                <a:lnTo>
                  <a:pt x="2194" y="4743"/>
                </a:lnTo>
                <a:lnTo>
                  <a:pt x="2161" y="4752"/>
                </a:lnTo>
                <a:lnTo>
                  <a:pt x="2121" y="4753"/>
                </a:lnTo>
                <a:lnTo>
                  <a:pt x="2091" y="4753"/>
                </a:lnTo>
                <a:lnTo>
                  <a:pt x="2056" y="4753"/>
                </a:lnTo>
                <a:lnTo>
                  <a:pt x="2019" y="4752"/>
                </a:lnTo>
                <a:lnTo>
                  <a:pt x="1981" y="4750"/>
                </a:lnTo>
                <a:lnTo>
                  <a:pt x="1944" y="4748"/>
                </a:lnTo>
                <a:lnTo>
                  <a:pt x="1913" y="4746"/>
                </a:lnTo>
                <a:lnTo>
                  <a:pt x="1887" y="4745"/>
                </a:lnTo>
                <a:lnTo>
                  <a:pt x="1871" y="4741"/>
                </a:lnTo>
                <a:lnTo>
                  <a:pt x="1855" y="4736"/>
                </a:lnTo>
                <a:lnTo>
                  <a:pt x="1838" y="4731"/>
                </a:lnTo>
                <a:lnTo>
                  <a:pt x="1819" y="4722"/>
                </a:lnTo>
                <a:lnTo>
                  <a:pt x="1779" y="4760"/>
                </a:lnTo>
                <a:lnTo>
                  <a:pt x="1744" y="4795"/>
                </a:lnTo>
                <a:lnTo>
                  <a:pt x="1726" y="4811"/>
                </a:lnTo>
                <a:lnTo>
                  <a:pt x="1709" y="4827"/>
                </a:lnTo>
                <a:lnTo>
                  <a:pt x="1695" y="4841"/>
                </a:lnTo>
                <a:lnTo>
                  <a:pt x="1683" y="4853"/>
                </a:lnTo>
                <a:lnTo>
                  <a:pt x="1676" y="4860"/>
                </a:lnTo>
                <a:lnTo>
                  <a:pt x="1669" y="4870"/>
                </a:lnTo>
                <a:lnTo>
                  <a:pt x="1656" y="4888"/>
                </a:lnTo>
                <a:lnTo>
                  <a:pt x="1639" y="4907"/>
                </a:lnTo>
                <a:lnTo>
                  <a:pt x="1618" y="4928"/>
                </a:lnTo>
                <a:lnTo>
                  <a:pt x="1595" y="4951"/>
                </a:lnTo>
                <a:lnTo>
                  <a:pt x="1569" y="4972"/>
                </a:lnTo>
                <a:lnTo>
                  <a:pt x="1543" y="4991"/>
                </a:lnTo>
                <a:lnTo>
                  <a:pt x="1515" y="5003"/>
                </a:lnTo>
                <a:lnTo>
                  <a:pt x="1485" y="5012"/>
                </a:lnTo>
                <a:lnTo>
                  <a:pt x="1471" y="5012"/>
                </a:lnTo>
                <a:lnTo>
                  <a:pt x="1449" y="5010"/>
                </a:lnTo>
                <a:lnTo>
                  <a:pt x="1428" y="5002"/>
                </a:lnTo>
                <a:lnTo>
                  <a:pt x="1409" y="4989"/>
                </a:lnTo>
                <a:lnTo>
                  <a:pt x="1389" y="4972"/>
                </a:lnTo>
                <a:lnTo>
                  <a:pt x="1370" y="4947"/>
                </a:lnTo>
                <a:lnTo>
                  <a:pt x="1347" y="4919"/>
                </a:lnTo>
                <a:lnTo>
                  <a:pt x="1325" y="4884"/>
                </a:lnTo>
                <a:lnTo>
                  <a:pt x="1300" y="4850"/>
                </a:lnTo>
                <a:lnTo>
                  <a:pt x="1278" y="4811"/>
                </a:lnTo>
                <a:lnTo>
                  <a:pt x="1255" y="4774"/>
                </a:lnTo>
                <a:lnTo>
                  <a:pt x="1234" y="4738"/>
                </a:lnTo>
                <a:lnTo>
                  <a:pt x="1217" y="4705"/>
                </a:lnTo>
                <a:lnTo>
                  <a:pt x="1199" y="4677"/>
                </a:lnTo>
                <a:lnTo>
                  <a:pt x="1187" y="4654"/>
                </a:lnTo>
                <a:lnTo>
                  <a:pt x="1178" y="4636"/>
                </a:lnTo>
                <a:lnTo>
                  <a:pt x="1175" y="4629"/>
                </a:lnTo>
                <a:lnTo>
                  <a:pt x="1173" y="4621"/>
                </a:lnTo>
                <a:lnTo>
                  <a:pt x="1173" y="4594"/>
                </a:lnTo>
                <a:lnTo>
                  <a:pt x="1176" y="4563"/>
                </a:lnTo>
                <a:lnTo>
                  <a:pt x="1187" y="4532"/>
                </a:lnTo>
                <a:lnTo>
                  <a:pt x="1206" y="4498"/>
                </a:lnTo>
                <a:lnTo>
                  <a:pt x="1096" y="4500"/>
                </a:lnTo>
                <a:lnTo>
                  <a:pt x="1094" y="4528"/>
                </a:lnTo>
                <a:lnTo>
                  <a:pt x="1089" y="4560"/>
                </a:lnTo>
                <a:lnTo>
                  <a:pt x="1079" y="4593"/>
                </a:lnTo>
                <a:lnTo>
                  <a:pt x="1061" y="4626"/>
                </a:lnTo>
                <a:lnTo>
                  <a:pt x="1033" y="4659"/>
                </a:lnTo>
                <a:lnTo>
                  <a:pt x="1011" y="4687"/>
                </a:lnTo>
                <a:lnTo>
                  <a:pt x="997" y="4715"/>
                </a:lnTo>
                <a:lnTo>
                  <a:pt x="988" y="4741"/>
                </a:lnTo>
                <a:lnTo>
                  <a:pt x="984" y="4760"/>
                </a:lnTo>
                <a:lnTo>
                  <a:pt x="984" y="4776"/>
                </a:lnTo>
                <a:lnTo>
                  <a:pt x="984" y="4781"/>
                </a:lnTo>
                <a:lnTo>
                  <a:pt x="984" y="4785"/>
                </a:lnTo>
                <a:lnTo>
                  <a:pt x="984" y="4788"/>
                </a:lnTo>
                <a:lnTo>
                  <a:pt x="984" y="4799"/>
                </a:lnTo>
                <a:lnTo>
                  <a:pt x="983" y="4816"/>
                </a:lnTo>
                <a:lnTo>
                  <a:pt x="977" y="4839"/>
                </a:lnTo>
                <a:lnTo>
                  <a:pt x="970" y="4865"/>
                </a:lnTo>
                <a:lnTo>
                  <a:pt x="958" y="4893"/>
                </a:lnTo>
                <a:lnTo>
                  <a:pt x="943" y="4919"/>
                </a:lnTo>
                <a:lnTo>
                  <a:pt x="920" y="4940"/>
                </a:lnTo>
                <a:lnTo>
                  <a:pt x="908" y="4949"/>
                </a:lnTo>
                <a:lnTo>
                  <a:pt x="892" y="4956"/>
                </a:lnTo>
                <a:lnTo>
                  <a:pt x="873" y="4961"/>
                </a:lnTo>
                <a:lnTo>
                  <a:pt x="850" y="4963"/>
                </a:lnTo>
                <a:lnTo>
                  <a:pt x="824" y="4960"/>
                </a:lnTo>
                <a:lnTo>
                  <a:pt x="798" y="4953"/>
                </a:lnTo>
                <a:lnTo>
                  <a:pt x="768" y="4944"/>
                </a:lnTo>
                <a:lnTo>
                  <a:pt x="733" y="4935"/>
                </a:lnTo>
                <a:lnTo>
                  <a:pt x="696" y="4925"/>
                </a:lnTo>
                <a:lnTo>
                  <a:pt x="658" y="4914"/>
                </a:lnTo>
                <a:lnTo>
                  <a:pt x="620" y="4902"/>
                </a:lnTo>
                <a:lnTo>
                  <a:pt x="581" y="4891"/>
                </a:lnTo>
                <a:lnTo>
                  <a:pt x="546" y="4881"/>
                </a:lnTo>
                <a:lnTo>
                  <a:pt x="515" y="4870"/>
                </a:lnTo>
                <a:lnTo>
                  <a:pt x="487" y="4862"/>
                </a:lnTo>
                <a:lnTo>
                  <a:pt x="464" y="4857"/>
                </a:lnTo>
                <a:lnTo>
                  <a:pt x="449" y="4851"/>
                </a:lnTo>
                <a:lnTo>
                  <a:pt x="442" y="4850"/>
                </a:lnTo>
                <a:lnTo>
                  <a:pt x="435" y="4846"/>
                </a:lnTo>
                <a:lnTo>
                  <a:pt x="428" y="4841"/>
                </a:lnTo>
                <a:lnTo>
                  <a:pt x="421" y="4836"/>
                </a:lnTo>
                <a:lnTo>
                  <a:pt x="410" y="4820"/>
                </a:lnTo>
                <a:lnTo>
                  <a:pt x="398" y="4801"/>
                </a:lnTo>
                <a:lnTo>
                  <a:pt x="389" y="4776"/>
                </a:lnTo>
                <a:lnTo>
                  <a:pt x="382" y="4748"/>
                </a:lnTo>
                <a:lnTo>
                  <a:pt x="381" y="4717"/>
                </a:lnTo>
                <a:lnTo>
                  <a:pt x="384" y="4684"/>
                </a:lnTo>
                <a:lnTo>
                  <a:pt x="396" y="4649"/>
                </a:lnTo>
                <a:lnTo>
                  <a:pt x="401" y="4635"/>
                </a:lnTo>
                <a:lnTo>
                  <a:pt x="407" y="4621"/>
                </a:lnTo>
                <a:lnTo>
                  <a:pt x="361" y="4610"/>
                </a:lnTo>
                <a:lnTo>
                  <a:pt x="316" y="4594"/>
                </a:lnTo>
                <a:lnTo>
                  <a:pt x="269" y="4573"/>
                </a:lnTo>
                <a:lnTo>
                  <a:pt x="220" y="4549"/>
                </a:lnTo>
                <a:lnTo>
                  <a:pt x="192" y="4530"/>
                </a:lnTo>
                <a:lnTo>
                  <a:pt x="166" y="4504"/>
                </a:lnTo>
                <a:lnTo>
                  <a:pt x="143" y="4476"/>
                </a:lnTo>
                <a:lnTo>
                  <a:pt x="122" y="4444"/>
                </a:lnTo>
                <a:lnTo>
                  <a:pt x="103" y="4411"/>
                </a:lnTo>
                <a:lnTo>
                  <a:pt x="87" y="4380"/>
                </a:lnTo>
                <a:lnTo>
                  <a:pt x="75" y="4352"/>
                </a:lnTo>
                <a:lnTo>
                  <a:pt x="65" y="4327"/>
                </a:lnTo>
                <a:lnTo>
                  <a:pt x="58" y="4310"/>
                </a:lnTo>
                <a:lnTo>
                  <a:pt x="54" y="4299"/>
                </a:lnTo>
                <a:lnTo>
                  <a:pt x="49" y="4270"/>
                </a:lnTo>
                <a:lnTo>
                  <a:pt x="54" y="4243"/>
                </a:lnTo>
                <a:lnTo>
                  <a:pt x="65" y="4219"/>
                </a:lnTo>
                <a:lnTo>
                  <a:pt x="82" y="4198"/>
                </a:lnTo>
                <a:lnTo>
                  <a:pt x="103" y="4177"/>
                </a:lnTo>
                <a:lnTo>
                  <a:pt x="126" y="4159"/>
                </a:lnTo>
                <a:lnTo>
                  <a:pt x="150" y="4144"/>
                </a:lnTo>
                <a:lnTo>
                  <a:pt x="173" y="4130"/>
                </a:lnTo>
                <a:lnTo>
                  <a:pt x="190" y="4116"/>
                </a:lnTo>
                <a:lnTo>
                  <a:pt x="206" y="4095"/>
                </a:lnTo>
                <a:lnTo>
                  <a:pt x="220" y="4070"/>
                </a:lnTo>
                <a:lnTo>
                  <a:pt x="232" y="4044"/>
                </a:lnTo>
                <a:lnTo>
                  <a:pt x="243" y="4018"/>
                </a:lnTo>
                <a:lnTo>
                  <a:pt x="234" y="3992"/>
                </a:lnTo>
                <a:lnTo>
                  <a:pt x="229" y="3967"/>
                </a:lnTo>
                <a:lnTo>
                  <a:pt x="225" y="3946"/>
                </a:lnTo>
                <a:lnTo>
                  <a:pt x="220" y="3838"/>
                </a:lnTo>
                <a:lnTo>
                  <a:pt x="222" y="3733"/>
                </a:lnTo>
                <a:lnTo>
                  <a:pt x="232" y="3632"/>
                </a:lnTo>
                <a:lnTo>
                  <a:pt x="225" y="3634"/>
                </a:lnTo>
                <a:lnTo>
                  <a:pt x="216" y="3634"/>
                </a:lnTo>
                <a:lnTo>
                  <a:pt x="185" y="3630"/>
                </a:lnTo>
                <a:lnTo>
                  <a:pt x="155" y="3621"/>
                </a:lnTo>
                <a:lnTo>
                  <a:pt x="127" y="3607"/>
                </a:lnTo>
                <a:lnTo>
                  <a:pt x="105" y="3590"/>
                </a:lnTo>
                <a:lnTo>
                  <a:pt x="84" y="3569"/>
                </a:lnTo>
                <a:lnTo>
                  <a:pt x="70" y="3551"/>
                </a:lnTo>
                <a:lnTo>
                  <a:pt x="58" y="3534"/>
                </a:lnTo>
                <a:lnTo>
                  <a:pt x="49" y="3518"/>
                </a:lnTo>
                <a:lnTo>
                  <a:pt x="40" y="3499"/>
                </a:lnTo>
                <a:lnTo>
                  <a:pt x="33" y="3476"/>
                </a:lnTo>
                <a:lnTo>
                  <a:pt x="23" y="3450"/>
                </a:lnTo>
                <a:lnTo>
                  <a:pt x="9" y="3408"/>
                </a:lnTo>
                <a:lnTo>
                  <a:pt x="0" y="3370"/>
                </a:lnTo>
                <a:lnTo>
                  <a:pt x="2" y="3331"/>
                </a:lnTo>
                <a:lnTo>
                  <a:pt x="12" y="3296"/>
                </a:lnTo>
                <a:lnTo>
                  <a:pt x="28" y="3263"/>
                </a:lnTo>
                <a:lnTo>
                  <a:pt x="49" y="3232"/>
                </a:lnTo>
                <a:lnTo>
                  <a:pt x="72" y="3206"/>
                </a:lnTo>
                <a:lnTo>
                  <a:pt x="94" y="3181"/>
                </a:lnTo>
                <a:lnTo>
                  <a:pt x="115" y="3162"/>
                </a:lnTo>
                <a:lnTo>
                  <a:pt x="133" y="3146"/>
                </a:lnTo>
                <a:lnTo>
                  <a:pt x="157" y="3130"/>
                </a:lnTo>
                <a:lnTo>
                  <a:pt x="182" y="3122"/>
                </a:lnTo>
                <a:lnTo>
                  <a:pt x="204" y="3118"/>
                </a:lnTo>
                <a:lnTo>
                  <a:pt x="225" y="3120"/>
                </a:lnTo>
                <a:lnTo>
                  <a:pt x="244" y="3123"/>
                </a:lnTo>
                <a:lnTo>
                  <a:pt x="260" y="3129"/>
                </a:lnTo>
                <a:lnTo>
                  <a:pt x="271" y="3139"/>
                </a:lnTo>
                <a:lnTo>
                  <a:pt x="278" y="3153"/>
                </a:lnTo>
                <a:lnTo>
                  <a:pt x="278" y="3169"/>
                </a:lnTo>
                <a:lnTo>
                  <a:pt x="264" y="3240"/>
                </a:lnTo>
                <a:lnTo>
                  <a:pt x="250" y="3300"/>
                </a:lnTo>
                <a:lnTo>
                  <a:pt x="236" y="3351"/>
                </a:lnTo>
                <a:lnTo>
                  <a:pt x="223" y="3391"/>
                </a:lnTo>
                <a:lnTo>
                  <a:pt x="211" y="3424"/>
                </a:lnTo>
                <a:lnTo>
                  <a:pt x="199" y="3447"/>
                </a:lnTo>
                <a:lnTo>
                  <a:pt x="202" y="3447"/>
                </a:lnTo>
                <a:lnTo>
                  <a:pt x="211" y="3443"/>
                </a:lnTo>
                <a:lnTo>
                  <a:pt x="225" y="3433"/>
                </a:lnTo>
                <a:lnTo>
                  <a:pt x="243" y="3420"/>
                </a:lnTo>
                <a:lnTo>
                  <a:pt x="264" y="3405"/>
                </a:lnTo>
                <a:lnTo>
                  <a:pt x="286" y="3385"/>
                </a:lnTo>
                <a:lnTo>
                  <a:pt x="311" y="3366"/>
                </a:lnTo>
                <a:lnTo>
                  <a:pt x="342" y="3303"/>
                </a:lnTo>
                <a:lnTo>
                  <a:pt x="379" y="3244"/>
                </a:lnTo>
                <a:lnTo>
                  <a:pt x="419" y="3188"/>
                </a:lnTo>
                <a:lnTo>
                  <a:pt x="466" y="3139"/>
                </a:lnTo>
                <a:lnTo>
                  <a:pt x="517" y="3094"/>
                </a:lnTo>
                <a:lnTo>
                  <a:pt x="569" y="3054"/>
                </a:lnTo>
                <a:lnTo>
                  <a:pt x="625" y="3017"/>
                </a:lnTo>
                <a:lnTo>
                  <a:pt x="682" y="2987"/>
                </a:lnTo>
                <a:lnTo>
                  <a:pt x="738" y="2959"/>
                </a:lnTo>
                <a:lnTo>
                  <a:pt x="794" y="2937"/>
                </a:lnTo>
                <a:lnTo>
                  <a:pt x="848" y="2917"/>
                </a:lnTo>
                <a:lnTo>
                  <a:pt x="848" y="2868"/>
                </a:lnTo>
                <a:lnTo>
                  <a:pt x="848" y="2818"/>
                </a:lnTo>
                <a:lnTo>
                  <a:pt x="848" y="2769"/>
                </a:lnTo>
                <a:lnTo>
                  <a:pt x="848" y="2722"/>
                </a:lnTo>
                <a:lnTo>
                  <a:pt x="850" y="2678"/>
                </a:lnTo>
                <a:lnTo>
                  <a:pt x="850" y="2640"/>
                </a:lnTo>
                <a:lnTo>
                  <a:pt x="850" y="2608"/>
                </a:lnTo>
                <a:lnTo>
                  <a:pt x="852" y="2582"/>
                </a:lnTo>
                <a:lnTo>
                  <a:pt x="852" y="2566"/>
                </a:lnTo>
                <a:lnTo>
                  <a:pt x="852" y="2561"/>
                </a:lnTo>
                <a:lnTo>
                  <a:pt x="855" y="2540"/>
                </a:lnTo>
                <a:lnTo>
                  <a:pt x="867" y="2522"/>
                </a:lnTo>
                <a:lnTo>
                  <a:pt x="883" y="2510"/>
                </a:lnTo>
                <a:lnTo>
                  <a:pt x="904" y="2503"/>
                </a:lnTo>
                <a:lnTo>
                  <a:pt x="925" y="2505"/>
                </a:lnTo>
                <a:lnTo>
                  <a:pt x="944" y="2514"/>
                </a:lnTo>
                <a:lnTo>
                  <a:pt x="958" y="2529"/>
                </a:lnTo>
                <a:lnTo>
                  <a:pt x="967" y="2549"/>
                </a:lnTo>
                <a:lnTo>
                  <a:pt x="979" y="2577"/>
                </a:lnTo>
                <a:lnTo>
                  <a:pt x="1000" y="2605"/>
                </a:lnTo>
                <a:lnTo>
                  <a:pt x="1032" y="2633"/>
                </a:lnTo>
                <a:lnTo>
                  <a:pt x="1072" y="2659"/>
                </a:lnTo>
                <a:lnTo>
                  <a:pt x="1122" y="2685"/>
                </a:lnTo>
                <a:lnTo>
                  <a:pt x="1182" y="2709"/>
                </a:lnTo>
                <a:lnTo>
                  <a:pt x="1250" y="2732"/>
                </a:lnTo>
                <a:lnTo>
                  <a:pt x="1255" y="2734"/>
                </a:lnTo>
                <a:lnTo>
                  <a:pt x="1258" y="2737"/>
                </a:lnTo>
                <a:lnTo>
                  <a:pt x="1300" y="2702"/>
                </a:lnTo>
                <a:lnTo>
                  <a:pt x="1344" y="2671"/>
                </a:lnTo>
                <a:lnTo>
                  <a:pt x="1391" y="2646"/>
                </a:lnTo>
                <a:lnTo>
                  <a:pt x="1440" y="2629"/>
                </a:lnTo>
                <a:lnTo>
                  <a:pt x="1454" y="2610"/>
                </a:lnTo>
                <a:lnTo>
                  <a:pt x="1475" y="2585"/>
                </a:lnTo>
                <a:lnTo>
                  <a:pt x="1503" y="2556"/>
                </a:lnTo>
                <a:lnTo>
                  <a:pt x="1534" y="2522"/>
                </a:lnTo>
                <a:lnTo>
                  <a:pt x="1571" y="2489"/>
                </a:lnTo>
                <a:lnTo>
                  <a:pt x="1519" y="2481"/>
                </a:lnTo>
                <a:lnTo>
                  <a:pt x="1464" y="2470"/>
                </a:lnTo>
                <a:lnTo>
                  <a:pt x="1407" y="2458"/>
                </a:lnTo>
                <a:lnTo>
                  <a:pt x="1347" y="2442"/>
                </a:lnTo>
                <a:lnTo>
                  <a:pt x="1286" y="2426"/>
                </a:lnTo>
                <a:lnTo>
                  <a:pt x="1227" y="2407"/>
                </a:lnTo>
                <a:lnTo>
                  <a:pt x="1168" y="2388"/>
                </a:lnTo>
                <a:lnTo>
                  <a:pt x="1110" y="2365"/>
                </a:lnTo>
                <a:lnTo>
                  <a:pt x="1056" y="2341"/>
                </a:lnTo>
                <a:lnTo>
                  <a:pt x="1007" y="2313"/>
                </a:lnTo>
                <a:lnTo>
                  <a:pt x="962" y="2283"/>
                </a:lnTo>
                <a:lnTo>
                  <a:pt x="923" y="2252"/>
                </a:lnTo>
                <a:lnTo>
                  <a:pt x="892" y="2217"/>
                </a:lnTo>
                <a:lnTo>
                  <a:pt x="867" y="2178"/>
                </a:lnTo>
                <a:lnTo>
                  <a:pt x="854" y="2138"/>
                </a:lnTo>
                <a:lnTo>
                  <a:pt x="854" y="2136"/>
                </a:lnTo>
                <a:lnTo>
                  <a:pt x="852" y="2135"/>
                </a:lnTo>
                <a:lnTo>
                  <a:pt x="852" y="2131"/>
                </a:lnTo>
                <a:lnTo>
                  <a:pt x="852" y="2124"/>
                </a:lnTo>
                <a:lnTo>
                  <a:pt x="852" y="2114"/>
                </a:lnTo>
                <a:lnTo>
                  <a:pt x="852" y="2100"/>
                </a:lnTo>
                <a:lnTo>
                  <a:pt x="850" y="2082"/>
                </a:lnTo>
                <a:lnTo>
                  <a:pt x="850" y="2058"/>
                </a:lnTo>
                <a:lnTo>
                  <a:pt x="850" y="2026"/>
                </a:lnTo>
                <a:lnTo>
                  <a:pt x="850" y="1990"/>
                </a:lnTo>
                <a:lnTo>
                  <a:pt x="850" y="1942"/>
                </a:lnTo>
                <a:lnTo>
                  <a:pt x="850" y="1888"/>
                </a:lnTo>
                <a:lnTo>
                  <a:pt x="850" y="1824"/>
                </a:lnTo>
                <a:lnTo>
                  <a:pt x="850" y="1749"/>
                </a:lnTo>
                <a:lnTo>
                  <a:pt x="852" y="1661"/>
                </a:lnTo>
                <a:lnTo>
                  <a:pt x="852" y="1563"/>
                </a:lnTo>
                <a:lnTo>
                  <a:pt x="855" y="1542"/>
                </a:lnTo>
                <a:lnTo>
                  <a:pt x="866" y="1525"/>
                </a:lnTo>
                <a:lnTo>
                  <a:pt x="883" y="1511"/>
                </a:lnTo>
                <a:lnTo>
                  <a:pt x="902" y="1506"/>
                </a:lnTo>
                <a:close/>
                <a:moveTo>
                  <a:pt x="969" y="634"/>
                </a:moveTo>
                <a:lnTo>
                  <a:pt x="969" y="697"/>
                </a:lnTo>
                <a:lnTo>
                  <a:pt x="969" y="758"/>
                </a:lnTo>
                <a:lnTo>
                  <a:pt x="967" y="817"/>
                </a:lnTo>
                <a:lnTo>
                  <a:pt x="967" y="875"/>
                </a:lnTo>
                <a:lnTo>
                  <a:pt x="967" y="926"/>
                </a:lnTo>
                <a:lnTo>
                  <a:pt x="967" y="971"/>
                </a:lnTo>
                <a:lnTo>
                  <a:pt x="969" y="1008"/>
                </a:lnTo>
                <a:lnTo>
                  <a:pt x="969" y="1037"/>
                </a:lnTo>
                <a:lnTo>
                  <a:pt x="969" y="1055"/>
                </a:lnTo>
                <a:lnTo>
                  <a:pt x="983" y="1081"/>
                </a:lnTo>
                <a:lnTo>
                  <a:pt x="1007" y="1109"/>
                </a:lnTo>
                <a:lnTo>
                  <a:pt x="1046" y="1139"/>
                </a:lnTo>
                <a:lnTo>
                  <a:pt x="1093" y="1167"/>
                </a:lnTo>
                <a:lnTo>
                  <a:pt x="1150" y="1195"/>
                </a:lnTo>
                <a:lnTo>
                  <a:pt x="1220" y="1223"/>
                </a:lnTo>
                <a:lnTo>
                  <a:pt x="1299" y="1249"/>
                </a:lnTo>
                <a:lnTo>
                  <a:pt x="1389" y="1273"/>
                </a:lnTo>
                <a:lnTo>
                  <a:pt x="1489" y="1296"/>
                </a:lnTo>
                <a:lnTo>
                  <a:pt x="1599" y="1315"/>
                </a:lnTo>
                <a:lnTo>
                  <a:pt x="1718" y="1333"/>
                </a:lnTo>
                <a:lnTo>
                  <a:pt x="1847" y="1348"/>
                </a:lnTo>
                <a:lnTo>
                  <a:pt x="1985" y="1359"/>
                </a:lnTo>
                <a:lnTo>
                  <a:pt x="2131" y="1366"/>
                </a:lnTo>
                <a:lnTo>
                  <a:pt x="2287" y="1368"/>
                </a:lnTo>
                <a:lnTo>
                  <a:pt x="2431" y="1366"/>
                </a:lnTo>
                <a:lnTo>
                  <a:pt x="2569" y="1359"/>
                </a:lnTo>
                <a:lnTo>
                  <a:pt x="2700" y="1350"/>
                </a:lnTo>
                <a:lnTo>
                  <a:pt x="2826" y="1336"/>
                </a:lnTo>
                <a:lnTo>
                  <a:pt x="2943" y="1320"/>
                </a:lnTo>
                <a:lnTo>
                  <a:pt x="3053" y="1301"/>
                </a:lnTo>
                <a:lnTo>
                  <a:pt x="3156" y="1279"/>
                </a:lnTo>
                <a:lnTo>
                  <a:pt x="3248" y="1256"/>
                </a:lnTo>
                <a:lnTo>
                  <a:pt x="3332" y="1230"/>
                </a:lnTo>
                <a:lnTo>
                  <a:pt x="3405" y="1203"/>
                </a:lnTo>
                <a:lnTo>
                  <a:pt x="3468" y="1174"/>
                </a:lnTo>
                <a:lnTo>
                  <a:pt x="3521" y="1144"/>
                </a:lnTo>
                <a:lnTo>
                  <a:pt x="3561" y="1114"/>
                </a:lnTo>
                <a:lnTo>
                  <a:pt x="3590" y="1085"/>
                </a:lnTo>
                <a:lnTo>
                  <a:pt x="3606" y="1055"/>
                </a:lnTo>
                <a:lnTo>
                  <a:pt x="3608" y="1046"/>
                </a:lnTo>
                <a:lnTo>
                  <a:pt x="3610" y="1037"/>
                </a:lnTo>
                <a:lnTo>
                  <a:pt x="3610" y="636"/>
                </a:lnTo>
                <a:lnTo>
                  <a:pt x="3555" y="671"/>
                </a:lnTo>
                <a:lnTo>
                  <a:pt x="3491" y="702"/>
                </a:lnTo>
                <a:lnTo>
                  <a:pt x="3419" y="733"/>
                </a:lnTo>
                <a:lnTo>
                  <a:pt x="3341" y="761"/>
                </a:lnTo>
                <a:lnTo>
                  <a:pt x="3255" y="786"/>
                </a:lnTo>
                <a:lnTo>
                  <a:pt x="3163" y="809"/>
                </a:lnTo>
                <a:lnTo>
                  <a:pt x="3065" y="828"/>
                </a:lnTo>
                <a:lnTo>
                  <a:pt x="2962" y="845"/>
                </a:lnTo>
                <a:lnTo>
                  <a:pt x="2857" y="861"/>
                </a:lnTo>
                <a:lnTo>
                  <a:pt x="2747" y="871"/>
                </a:lnTo>
                <a:lnTo>
                  <a:pt x="2636" y="882"/>
                </a:lnTo>
                <a:lnTo>
                  <a:pt x="2520" y="889"/>
                </a:lnTo>
                <a:lnTo>
                  <a:pt x="2405" y="892"/>
                </a:lnTo>
                <a:lnTo>
                  <a:pt x="2290" y="894"/>
                </a:lnTo>
                <a:lnTo>
                  <a:pt x="2173" y="892"/>
                </a:lnTo>
                <a:lnTo>
                  <a:pt x="2058" y="889"/>
                </a:lnTo>
                <a:lnTo>
                  <a:pt x="1943" y="882"/>
                </a:lnTo>
                <a:lnTo>
                  <a:pt x="1831" y="871"/>
                </a:lnTo>
                <a:lnTo>
                  <a:pt x="1721" y="859"/>
                </a:lnTo>
                <a:lnTo>
                  <a:pt x="1615" y="845"/>
                </a:lnTo>
                <a:lnTo>
                  <a:pt x="1513" y="828"/>
                </a:lnTo>
                <a:lnTo>
                  <a:pt x="1416" y="809"/>
                </a:lnTo>
                <a:lnTo>
                  <a:pt x="1323" y="786"/>
                </a:lnTo>
                <a:lnTo>
                  <a:pt x="1238" y="760"/>
                </a:lnTo>
                <a:lnTo>
                  <a:pt x="1157" y="732"/>
                </a:lnTo>
                <a:lnTo>
                  <a:pt x="1086" y="702"/>
                </a:lnTo>
                <a:lnTo>
                  <a:pt x="1023" y="669"/>
                </a:lnTo>
                <a:lnTo>
                  <a:pt x="969" y="634"/>
                </a:lnTo>
                <a:close/>
                <a:moveTo>
                  <a:pt x="2290" y="117"/>
                </a:moveTo>
                <a:lnTo>
                  <a:pt x="2140" y="119"/>
                </a:lnTo>
                <a:lnTo>
                  <a:pt x="1999" y="126"/>
                </a:lnTo>
                <a:lnTo>
                  <a:pt x="1864" y="136"/>
                </a:lnTo>
                <a:lnTo>
                  <a:pt x="1738" y="148"/>
                </a:lnTo>
                <a:lnTo>
                  <a:pt x="1622" y="166"/>
                </a:lnTo>
                <a:lnTo>
                  <a:pt x="1512" y="185"/>
                </a:lnTo>
                <a:lnTo>
                  <a:pt x="1412" y="206"/>
                </a:lnTo>
                <a:lnTo>
                  <a:pt x="1323" y="230"/>
                </a:lnTo>
                <a:lnTo>
                  <a:pt x="1243" y="255"/>
                </a:lnTo>
                <a:lnTo>
                  <a:pt x="1171" y="281"/>
                </a:lnTo>
                <a:lnTo>
                  <a:pt x="1110" y="309"/>
                </a:lnTo>
                <a:lnTo>
                  <a:pt x="1061" y="337"/>
                </a:lnTo>
                <a:lnTo>
                  <a:pt x="1021" y="365"/>
                </a:lnTo>
                <a:lnTo>
                  <a:pt x="993" y="393"/>
                </a:lnTo>
                <a:lnTo>
                  <a:pt x="976" y="421"/>
                </a:lnTo>
                <a:lnTo>
                  <a:pt x="969" y="447"/>
                </a:lnTo>
                <a:lnTo>
                  <a:pt x="976" y="473"/>
                </a:lnTo>
                <a:lnTo>
                  <a:pt x="993" y="501"/>
                </a:lnTo>
                <a:lnTo>
                  <a:pt x="1021" y="529"/>
                </a:lnTo>
                <a:lnTo>
                  <a:pt x="1061" y="557"/>
                </a:lnTo>
                <a:lnTo>
                  <a:pt x="1110" y="585"/>
                </a:lnTo>
                <a:lnTo>
                  <a:pt x="1171" y="611"/>
                </a:lnTo>
                <a:lnTo>
                  <a:pt x="1243" y="637"/>
                </a:lnTo>
                <a:lnTo>
                  <a:pt x="1323" y="664"/>
                </a:lnTo>
                <a:lnTo>
                  <a:pt x="1412" y="686"/>
                </a:lnTo>
                <a:lnTo>
                  <a:pt x="1512" y="709"/>
                </a:lnTo>
                <a:lnTo>
                  <a:pt x="1622" y="728"/>
                </a:lnTo>
                <a:lnTo>
                  <a:pt x="1738" y="744"/>
                </a:lnTo>
                <a:lnTo>
                  <a:pt x="1864" y="758"/>
                </a:lnTo>
                <a:lnTo>
                  <a:pt x="1999" y="768"/>
                </a:lnTo>
                <a:lnTo>
                  <a:pt x="2140" y="774"/>
                </a:lnTo>
                <a:lnTo>
                  <a:pt x="2290" y="777"/>
                </a:lnTo>
                <a:lnTo>
                  <a:pt x="2438" y="774"/>
                </a:lnTo>
                <a:lnTo>
                  <a:pt x="2582" y="768"/>
                </a:lnTo>
                <a:lnTo>
                  <a:pt x="2714" y="758"/>
                </a:lnTo>
                <a:lnTo>
                  <a:pt x="2840" y="744"/>
                </a:lnTo>
                <a:lnTo>
                  <a:pt x="2959" y="728"/>
                </a:lnTo>
                <a:lnTo>
                  <a:pt x="3067" y="709"/>
                </a:lnTo>
                <a:lnTo>
                  <a:pt x="3166" y="686"/>
                </a:lnTo>
                <a:lnTo>
                  <a:pt x="3255" y="664"/>
                </a:lnTo>
                <a:lnTo>
                  <a:pt x="3337" y="637"/>
                </a:lnTo>
                <a:lnTo>
                  <a:pt x="3407" y="611"/>
                </a:lnTo>
                <a:lnTo>
                  <a:pt x="3468" y="585"/>
                </a:lnTo>
                <a:lnTo>
                  <a:pt x="3519" y="557"/>
                </a:lnTo>
                <a:lnTo>
                  <a:pt x="3557" y="529"/>
                </a:lnTo>
                <a:lnTo>
                  <a:pt x="3587" y="501"/>
                </a:lnTo>
                <a:lnTo>
                  <a:pt x="3603" y="473"/>
                </a:lnTo>
                <a:lnTo>
                  <a:pt x="3610" y="447"/>
                </a:lnTo>
                <a:lnTo>
                  <a:pt x="3603" y="421"/>
                </a:lnTo>
                <a:lnTo>
                  <a:pt x="3587" y="393"/>
                </a:lnTo>
                <a:lnTo>
                  <a:pt x="3557" y="365"/>
                </a:lnTo>
                <a:lnTo>
                  <a:pt x="3519" y="337"/>
                </a:lnTo>
                <a:lnTo>
                  <a:pt x="3468" y="309"/>
                </a:lnTo>
                <a:lnTo>
                  <a:pt x="3407" y="281"/>
                </a:lnTo>
                <a:lnTo>
                  <a:pt x="3337" y="255"/>
                </a:lnTo>
                <a:lnTo>
                  <a:pt x="3255" y="230"/>
                </a:lnTo>
                <a:lnTo>
                  <a:pt x="3166" y="206"/>
                </a:lnTo>
                <a:lnTo>
                  <a:pt x="3067" y="185"/>
                </a:lnTo>
                <a:lnTo>
                  <a:pt x="2959" y="166"/>
                </a:lnTo>
                <a:lnTo>
                  <a:pt x="2840" y="148"/>
                </a:lnTo>
                <a:lnTo>
                  <a:pt x="2714" y="136"/>
                </a:lnTo>
                <a:lnTo>
                  <a:pt x="2582" y="126"/>
                </a:lnTo>
                <a:lnTo>
                  <a:pt x="2438" y="119"/>
                </a:lnTo>
                <a:lnTo>
                  <a:pt x="2290" y="117"/>
                </a:lnTo>
                <a:close/>
                <a:moveTo>
                  <a:pt x="2290" y="0"/>
                </a:moveTo>
                <a:lnTo>
                  <a:pt x="2397" y="1"/>
                </a:lnTo>
                <a:lnTo>
                  <a:pt x="2503" y="5"/>
                </a:lnTo>
                <a:lnTo>
                  <a:pt x="2609" y="10"/>
                </a:lnTo>
                <a:lnTo>
                  <a:pt x="2712" y="17"/>
                </a:lnTo>
                <a:lnTo>
                  <a:pt x="2815" y="28"/>
                </a:lnTo>
                <a:lnTo>
                  <a:pt x="2915" y="40"/>
                </a:lnTo>
                <a:lnTo>
                  <a:pt x="3011" y="56"/>
                </a:lnTo>
                <a:lnTo>
                  <a:pt x="3103" y="73"/>
                </a:lnTo>
                <a:lnTo>
                  <a:pt x="3192" y="92"/>
                </a:lnTo>
                <a:lnTo>
                  <a:pt x="3276" y="113"/>
                </a:lnTo>
                <a:lnTo>
                  <a:pt x="3353" y="136"/>
                </a:lnTo>
                <a:lnTo>
                  <a:pt x="3426" y="162"/>
                </a:lnTo>
                <a:lnTo>
                  <a:pt x="3493" y="190"/>
                </a:lnTo>
                <a:lnTo>
                  <a:pt x="3550" y="220"/>
                </a:lnTo>
                <a:lnTo>
                  <a:pt x="3603" y="253"/>
                </a:lnTo>
                <a:lnTo>
                  <a:pt x="3645" y="288"/>
                </a:lnTo>
                <a:lnTo>
                  <a:pt x="3679" y="325"/>
                </a:lnTo>
                <a:lnTo>
                  <a:pt x="3706" y="363"/>
                </a:lnTo>
                <a:lnTo>
                  <a:pt x="3721" y="403"/>
                </a:lnTo>
                <a:lnTo>
                  <a:pt x="3727" y="447"/>
                </a:lnTo>
                <a:lnTo>
                  <a:pt x="3727" y="454"/>
                </a:lnTo>
                <a:lnTo>
                  <a:pt x="3727" y="456"/>
                </a:lnTo>
                <a:lnTo>
                  <a:pt x="3727" y="459"/>
                </a:lnTo>
                <a:lnTo>
                  <a:pt x="3727" y="1037"/>
                </a:lnTo>
                <a:lnTo>
                  <a:pt x="3725" y="1064"/>
                </a:lnTo>
                <a:lnTo>
                  <a:pt x="3718" y="1090"/>
                </a:lnTo>
                <a:lnTo>
                  <a:pt x="3699" y="1132"/>
                </a:lnTo>
                <a:lnTo>
                  <a:pt x="3669" y="1172"/>
                </a:lnTo>
                <a:lnTo>
                  <a:pt x="3629" y="1209"/>
                </a:lnTo>
                <a:lnTo>
                  <a:pt x="3580" y="1244"/>
                </a:lnTo>
                <a:lnTo>
                  <a:pt x="3521" y="1277"/>
                </a:lnTo>
                <a:lnTo>
                  <a:pt x="3454" y="1307"/>
                </a:lnTo>
                <a:lnTo>
                  <a:pt x="3381" y="1336"/>
                </a:lnTo>
                <a:lnTo>
                  <a:pt x="3301" y="1361"/>
                </a:lnTo>
                <a:lnTo>
                  <a:pt x="3215" y="1385"/>
                </a:lnTo>
                <a:lnTo>
                  <a:pt x="3124" y="1406"/>
                </a:lnTo>
                <a:lnTo>
                  <a:pt x="3028" y="1424"/>
                </a:lnTo>
                <a:lnTo>
                  <a:pt x="2929" y="1439"/>
                </a:lnTo>
                <a:lnTo>
                  <a:pt x="2826" y="1453"/>
                </a:lnTo>
                <a:lnTo>
                  <a:pt x="2719" y="1465"/>
                </a:lnTo>
                <a:lnTo>
                  <a:pt x="2613" y="1474"/>
                </a:lnTo>
                <a:lnTo>
                  <a:pt x="2505" y="1479"/>
                </a:lnTo>
                <a:lnTo>
                  <a:pt x="2397" y="1483"/>
                </a:lnTo>
                <a:lnTo>
                  <a:pt x="2287" y="1485"/>
                </a:lnTo>
                <a:lnTo>
                  <a:pt x="2182" y="1483"/>
                </a:lnTo>
                <a:lnTo>
                  <a:pt x="2077" y="1479"/>
                </a:lnTo>
                <a:lnTo>
                  <a:pt x="1972" y="1474"/>
                </a:lnTo>
                <a:lnTo>
                  <a:pt x="1869" y="1465"/>
                </a:lnTo>
                <a:lnTo>
                  <a:pt x="1768" y="1457"/>
                </a:lnTo>
                <a:lnTo>
                  <a:pt x="1667" y="1443"/>
                </a:lnTo>
                <a:lnTo>
                  <a:pt x="1571" y="1429"/>
                </a:lnTo>
                <a:lnTo>
                  <a:pt x="1478" y="1411"/>
                </a:lnTo>
                <a:lnTo>
                  <a:pt x="1389" y="1392"/>
                </a:lnTo>
                <a:lnTo>
                  <a:pt x="1304" y="1371"/>
                </a:lnTo>
                <a:lnTo>
                  <a:pt x="1225" y="1347"/>
                </a:lnTo>
                <a:lnTo>
                  <a:pt x="1152" y="1320"/>
                </a:lnTo>
                <a:lnTo>
                  <a:pt x="1086" y="1293"/>
                </a:lnTo>
                <a:lnTo>
                  <a:pt x="1025" y="1263"/>
                </a:lnTo>
                <a:lnTo>
                  <a:pt x="974" y="1230"/>
                </a:lnTo>
                <a:lnTo>
                  <a:pt x="929" y="1195"/>
                </a:lnTo>
                <a:lnTo>
                  <a:pt x="894" y="1158"/>
                </a:lnTo>
                <a:lnTo>
                  <a:pt x="869" y="1120"/>
                </a:lnTo>
                <a:lnTo>
                  <a:pt x="854" y="1078"/>
                </a:lnTo>
                <a:lnTo>
                  <a:pt x="854" y="1076"/>
                </a:lnTo>
                <a:lnTo>
                  <a:pt x="852" y="1074"/>
                </a:lnTo>
                <a:lnTo>
                  <a:pt x="852" y="1069"/>
                </a:lnTo>
                <a:lnTo>
                  <a:pt x="852" y="1062"/>
                </a:lnTo>
                <a:lnTo>
                  <a:pt x="852" y="1051"/>
                </a:lnTo>
                <a:lnTo>
                  <a:pt x="852" y="1037"/>
                </a:lnTo>
                <a:lnTo>
                  <a:pt x="850" y="1018"/>
                </a:lnTo>
                <a:lnTo>
                  <a:pt x="850" y="992"/>
                </a:lnTo>
                <a:lnTo>
                  <a:pt x="850" y="961"/>
                </a:lnTo>
                <a:lnTo>
                  <a:pt x="850" y="920"/>
                </a:lnTo>
                <a:lnTo>
                  <a:pt x="850" y="871"/>
                </a:lnTo>
                <a:lnTo>
                  <a:pt x="850" y="814"/>
                </a:lnTo>
                <a:lnTo>
                  <a:pt x="850" y="746"/>
                </a:lnTo>
                <a:lnTo>
                  <a:pt x="850" y="665"/>
                </a:lnTo>
                <a:lnTo>
                  <a:pt x="852" y="575"/>
                </a:lnTo>
                <a:lnTo>
                  <a:pt x="852" y="471"/>
                </a:lnTo>
                <a:lnTo>
                  <a:pt x="852" y="466"/>
                </a:lnTo>
                <a:lnTo>
                  <a:pt x="854" y="461"/>
                </a:lnTo>
                <a:lnTo>
                  <a:pt x="854" y="454"/>
                </a:lnTo>
                <a:lnTo>
                  <a:pt x="852" y="447"/>
                </a:lnTo>
                <a:lnTo>
                  <a:pt x="857" y="403"/>
                </a:lnTo>
                <a:lnTo>
                  <a:pt x="873" y="363"/>
                </a:lnTo>
                <a:lnTo>
                  <a:pt x="899" y="325"/>
                </a:lnTo>
                <a:lnTo>
                  <a:pt x="934" y="288"/>
                </a:lnTo>
                <a:lnTo>
                  <a:pt x="976" y="253"/>
                </a:lnTo>
                <a:lnTo>
                  <a:pt x="1028" y="220"/>
                </a:lnTo>
                <a:lnTo>
                  <a:pt x="1087" y="190"/>
                </a:lnTo>
                <a:lnTo>
                  <a:pt x="1152" y="162"/>
                </a:lnTo>
                <a:lnTo>
                  <a:pt x="1225" y="136"/>
                </a:lnTo>
                <a:lnTo>
                  <a:pt x="1304" y="113"/>
                </a:lnTo>
                <a:lnTo>
                  <a:pt x="1386" y="92"/>
                </a:lnTo>
                <a:lnTo>
                  <a:pt x="1475" y="73"/>
                </a:lnTo>
                <a:lnTo>
                  <a:pt x="1567" y="56"/>
                </a:lnTo>
                <a:lnTo>
                  <a:pt x="1663" y="40"/>
                </a:lnTo>
                <a:lnTo>
                  <a:pt x="1763" y="28"/>
                </a:lnTo>
                <a:lnTo>
                  <a:pt x="1866" y="17"/>
                </a:lnTo>
                <a:lnTo>
                  <a:pt x="1971" y="10"/>
                </a:lnTo>
                <a:lnTo>
                  <a:pt x="2075" y="5"/>
                </a:lnTo>
                <a:lnTo>
                  <a:pt x="2182" y="1"/>
                </a:lnTo>
                <a:lnTo>
                  <a:pt x="2290"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825" b="0" i="0" u="none" strike="noStrike" kern="1200" cap="none" spc="0" normalizeH="0" baseline="0" noProof="0">
              <a:ln>
                <a:noFill/>
              </a:ln>
              <a:solidFill>
                <a:srgbClr val="FFFFFF"/>
              </a:solidFill>
              <a:effectLst/>
              <a:uLnTx/>
              <a:uFillTx/>
              <a:latin typeface="Calibri Light"/>
              <a:ea typeface="+mn-ea"/>
              <a:cs typeface="+mn-cs"/>
            </a:endParaRPr>
          </a:p>
        </p:txBody>
      </p:sp>
      <p:sp>
        <p:nvSpPr>
          <p:cNvPr id="171" name="Freeform 6">
            <a:extLst>
              <a:ext uri="{FF2B5EF4-FFF2-40B4-BE49-F238E27FC236}">
                <a16:creationId xmlns:a16="http://schemas.microsoft.com/office/drawing/2014/main" id="{DE528188-5DD5-4617-A019-BE8C9CD85BB3}"/>
              </a:ext>
            </a:extLst>
          </p:cNvPr>
          <p:cNvSpPr>
            <a:spLocks noChangeAspect="1" noEditPoints="1"/>
          </p:cNvSpPr>
          <p:nvPr/>
        </p:nvSpPr>
        <p:spPr bwMode="auto">
          <a:xfrm>
            <a:off x="5699592" y="3678086"/>
            <a:ext cx="211460" cy="192133"/>
          </a:xfrm>
          <a:custGeom>
            <a:avLst/>
            <a:gdLst>
              <a:gd name="T0" fmla="*/ 1764 w 3453"/>
              <a:gd name="T1" fmla="*/ 413 h 3456"/>
              <a:gd name="T2" fmla="*/ 2042 w 3453"/>
              <a:gd name="T3" fmla="*/ 994 h 3456"/>
              <a:gd name="T4" fmla="*/ 2090 w 3453"/>
              <a:gd name="T5" fmla="*/ 969 h 3456"/>
              <a:gd name="T6" fmla="*/ 2130 w 3453"/>
              <a:gd name="T7" fmla="*/ 1007 h 3456"/>
              <a:gd name="T8" fmla="*/ 1760 w 3453"/>
              <a:gd name="T9" fmla="*/ 1760 h 3456"/>
              <a:gd name="T10" fmla="*/ 1721 w 3453"/>
              <a:gd name="T11" fmla="*/ 1774 h 3456"/>
              <a:gd name="T12" fmla="*/ 1682 w 3453"/>
              <a:gd name="T13" fmla="*/ 1744 h 3456"/>
              <a:gd name="T14" fmla="*/ 1688 w 3453"/>
              <a:gd name="T15" fmla="*/ 413 h 3456"/>
              <a:gd name="T16" fmla="*/ 1726 w 3453"/>
              <a:gd name="T17" fmla="*/ 93 h 3456"/>
              <a:gd name="T18" fmla="*/ 1325 w 3453"/>
              <a:gd name="T19" fmla="*/ 143 h 3456"/>
              <a:gd name="T20" fmla="*/ 959 w 3453"/>
              <a:gd name="T21" fmla="*/ 285 h 3456"/>
              <a:gd name="T22" fmla="*/ 642 w 3453"/>
              <a:gd name="T23" fmla="*/ 506 h 3456"/>
              <a:gd name="T24" fmla="*/ 386 w 3453"/>
              <a:gd name="T25" fmla="*/ 794 h 3456"/>
              <a:gd name="T26" fmla="*/ 204 w 3453"/>
              <a:gd name="T27" fmla="*/ 1138 h 3456"/>
              <a:gd name="T28" fmla="*/ 106 w 3453"/>
              <a:gd name="T29" fmla="*/ 1523 h 3456"/>
              <a:gd name="T30" fmla="*/ 106 w 3453"/>
              <a:gd name="T31" fmla="*/ 1933 h 3456"/>
              <a:gd name="T32" fmla="*/ 204 w 3453"/>
              <a:gd name="T33" fmla="*/ 2318 h 3456"/>
              <a:gd name="T34" fmla="*/ 386 w 3453"/>
              <a:gd name="T35" fmla="*/ 2662 h 3456"/>
              <a:gd name="T36" fmla="*/ 642 w 3453"/>
              <a:gd name="T37" fmla="*/ 2950 h 3456"/>
              <a:gd name="T38" fmla="*/ 959 w 3453"/>
              <a:gd name="T39" fmla="*/ 3171 h 3456"/>
              <a:gd name="T40" fmla="*/ 1325 w 3453"/>
              <a:gd name="T41" fmla="*/ 3313 h 3456"/>
              <a:gd name="T42" fmla="*/ 1726 w 3453"/>
              <a:gd name="T43" fmla="*/ 3363 h 3456"/>
              <a:gd name="T44" fmla="*/ 2128 w 3453"/>
              <a:gd name="T45" fmla="*/ 3313 h 3456"/>
              <a:gd name="T46" fmla="*/ 2493 w 3453"/>
              <a:gd name="T47" fmla="*/ 3171 h 3456"/>
              <a:gd name="T48" fmla="*/ 2811 w 3453"/>
              <a:gd name="T49" fmla="*/ 2950 h 3456"/>
              <a:gd name="T50" fmla="*/ 3066 w 3453"/>
              <a:gd name="T51" fmla="*/ 2662 h 3456"/>
              <a:gd name="T52" fmla="*/ 3249 w 3453"/>
              <a:gd name="T53" fmla="*/ 2318 h 3456"/>
              <a:gd name="T54" fmla="*/ 3347 w 3453"/>
              <a:gd name="T55" fmla="*/ 1933 h 3456"/>
              <a:gd name="T56" fmla="*/ 3347 w 3453"/>
              <a:gd name="T57" fmla="*/ 1523 h 3456"/>
              <a:gd name="T58" fmla="*/ 3249 w 3453"/>
              <a:gd name="T59" fmla="*/ 1138 h 3456"/>
              <a:gd name="T60" fmla="*/ 3066 w 3453"/>
              <a:gd name="T61" fmla="*/ 794 h 3456"/>
              <a:gd name="T62" fmla="*/ 2811 w 3453"/>
              <a:gd name="T63" fmla="*/ 506 h 3456"/>
              <a:gd name="T64" fmla="*/ 2493 w 3453"/>
              <a:gd name="T65" fmla="*/ 285 h 3456"/>
              <a:gd name="T66" fmla="*/ 2128 w 3453"/>
              <a:gd name="T67" fmla="*/ 143 h 3456"/>
              <a:gd name="T68" fmla="*/ 1726 w 3453"/>
              <a:gd name="T69" fmla="*/ 93 h 3456"/>
              <a:gd name="T70" fmla="*/ 2036 w 3453"/>
              <a:gd name="T71" fmla="*/ 27 h 3456"/>
              <a:gd name="T72" fmla="*/ 2420 w 3453"/>
              <a:gd name="T73" fmla="*/ 146 h 3456"/>
              <a:gd name="T74" fmla="*/ 2761 w 3453"/>
              <a:gd name="T75" fmla="*/ 346 h 3456"/>
              <a:gd name="T76" fmla="*/ 3046 w 3453"/>
              <a:gd name="T77" fmla="*/ 615 h 3456"/>
              <a:gd name="T78" fmla="*/ 3264 w 3453"/>
              <a:gd name="T79" fmla="*/ 943 h 3456"/>
              <a:gd name="T80" fmla="*/ 3403 w 3453"/>
              <a:gd name="T81" fmla="*/ 1318 h 3456"/>
              <a:gd name="T82" fmla="*/ 3453 w 3453"/>
              <a:gd name="T83" fmla="*/ 1728 h 3456"/>
              <a:gd name="T84" fmla="*/ 3403 w 3453"/>
              <a:gd name="T85" fmla="*/ 2138 h 3456"/>
              <a:gd name="T86" fmla="*/ 3264 w 3453"/>
              <a:gd name="T87" fmla="*/ 2513 h 3456"/>
              <a:gd name="T88" fmla="*/ 3046 w 3453"/>
              <a:gd name="T89" fmla="*/ 2841 h 3456"/>
              <a:gd name="T90" fmla="*/ 2761 w 3453"/>
              <a:gd name="T91" fmla="*/ 3110 h 3456"/>
              <a:gd name="T92" fmla="*/ 2420 w 3453"/>
              <a:gd name="T93" fmla="*/ 3311 h 3456"/>
              <a:gd name="T94" fmla="*/ 2036 w 3453"/>
              <a:gd name="T95" fmla="*/ 3429 h 3456"/>
              <a:gd name="T96" fmla="*/ 1621 w 3453"/>
              <a:gd name="T97" fmla="*/ 3453 h 3456"/>
              <a:gd name="T98" fmla="*/ 1219 w 3453"/>
              <a:gd name="T99" fmla="*/ 3380 h 3456"/>
              <a:gd name="T100" fmla="*/ 856 w 3453"/>
              <a:gd name="T101" fmla="*/ 3220 h 3456"/>
              <a:gd name="T102" fmla="*/ 541 w 3453"/>
              <a:gd name="T103" fmla="*/ 2984 h 3456"/>
              <a:gd name="T104" fmla="*/ 289 w 3453"/>
              <a:gd name="T105" fmla="*/ 2684 h 3456"/>
              <a:gd name="T106" fmla="*/ 108 w 3453"/>
              <a:gd name="T107" fmla="*/ 2331 h 3456"/>
              <a:gd name="T108" fmla="*/ 13 w 3453"/>
              <a:gd name="T109" fmla="*/ 1937 h 3456"/>
              <a:gd name="T110" fmla="*/ 3 w 3453"/>
              <a:gd name="T111" fmla="*/ 1623 h 3456"/>
              <a:gd name="T112" fmla="*/ 76 w 3453"/>
              <a:gd name="T113" fmla="*/ 1221 h 3456"/>
              <a:gd name="T114" fmla="*/ 236 w 3453"/>
              <a:gd name="T115" fmla="*/ 856 h 3456"/>
              <a:gd name="T116" fmla="*/ 472 w 3453"/>
              <a:gd name="T117" fmla="*/ 542 h 3456"/>
              <a:gd name="T118" fmla="*/ 772 w 3453"/>
              <a:gd name="T119" fmla="*/ 288 h 3456"/>
              <a:gd name="T120" fmla="*/ 1125 w 3453"/>
              <a:gd name="T121" fmla="*/ 108 h 3456"/>
              <a:gd name="T122" fmla="*/ 1518 w 3453"/>
              <a:gd name="T123" fmla="*/ 12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53" h="3456">
                <a:moveTo>
                  <a:pt x="1726" y="394"/>
                </a:moveTo>
                <a:lnTo>
                  <a:pt x="1741" y="396"/>
                </a:lnTo>
                <a:lnTo>
                  <a:pt x="1754" y="403"/>
                </a:lnTo>
                <a:lnTo>
                  <a:pt x="1764" y="413"/>
                </a:lnTo>
                <a:lnTo>
                  <a:pt x="1771" y="426"/>
                </a:lnTo>
                <a:lnTo>
                  <a:pt x="1773" y="441"/>
                </a:lnTo>
                <a:lnTo>
                  <a:pt x="1773" y="1531"/>
                </a:lnTo>
                <a:lnTo>
                  <a:pt x="2042" y="994"/>
                </a:lnTo>
                <a:lnTo>
                  <a:pt x="2051" y="982"/>
                </a:lnTo>
                <a:lnTo>
                  <a:pt x="2063" y="974"/>
                </a:lnTo>
                <a:lnTo>
                  <a:pt x="2076" y="969"/>
                </a:lnTo>
                <a:lnTo>
                  <a:pt x="2090" y="969"/>
                </a:lnTo>
                <a:lnTo>
                  <a:pt x="2104" y="974"/>
                </a:lnTo>
                <a:lnTo>
                  <a:pt x="2117" y="982"/>
                </a:lnTo>
                <a:lnTo>
                  <a:pt x="2125" y="994"/>
                </a:lnTo>
                <a:lnTo>
                  <a:pt x="2130" y="1007"/>
                </a:lnTo>
                <a:lnTo>
                  <a:pt x="2130" y="1022"/>
                </a:lnTo>
                <a:lnTo>
                  <a:pt x="2125" y="1036"/>
                </a:lnTo>
                <a:lnTo>
                  <a:pt x="1768" y="1749"/>
                </a:lnTo>
                <a:lnTo>
                  <a:pt x="1760" y="1760"/>
                </a:lnTo>
                <a:lnTo>
                  <a:pt x="1751" y="1768"/>
                </a:lnTo>
                <a:lnTo>
                  <a:pt x="1739" y="1773"/>
                </a:lnTo>
                <a:lnTo>
                  <a:pt x="1726" y="1775"/>
                </a:lnTo>
                <a:lnTo>
                  <a:pt x="1721" y="1774"/>
                </a:lnTo>
                <a:lnTo>
                  <a:pt x="1715" y="1773"/>
                </a:lnTo>
                <a:lnTo>
                  <a:pt x="1701" y="1768"/>
                </a:lnTo>
                <a:lnTo>
                  <a:pt x="1689" y="1757"/>
                </a:lnTo>
                <a:lnTo>
                  <a:pt x="1682" y="1744"/>
                </a:lnTo>
                <a:lnTo>
                  <a:pt x="1680" y="1728"/>
                </a:lnTo>
                <a:lnTo>
                  <a:pt x="1680" y="441"/>
                </a:lnTo>
                <a:lnTo>
                  <a:pt x="1682" y="426"/>
                </a:lnTo>
                <a:lnTo>
                  <a:pt x="1688" y="413"/>
                </a:lnTo>
                <a:lnTo>
                  <a:pt x="1698" y="403"/>
                </a:lnTo>
                <a:lnTo>
                  <a:pt x="1711" y="396"/>
                </a:lnTo>
                <a:lnTo>
                  <a:pt x="1726" y="394"/>
                </a:lnTo>
                <a:close/>
                <a:moveTo>
                  <a:pt x="1726" y="93"/>
                </a:moveTo>
                <a:lnTo>
                  <a:pt x="1623" y="97"/>
                </a:lnTo>
                <a:lnTo>
                  <a:pt x="1521" y="106"/>
                </a:lnTo>
                <a:lnTo>
                  <a:pt x="1423" y="122"/>
                </a:lnTo>
                <a:lnTo>
                  <a:pt x="1325" y="143"/>
                </a:lnTo>
                <a:lnTo>
                  <a:pt x="1230" y="170"/>
                </a:lnTo>
                <a:lnTo>
                  <a:pt x="1137" y="204"/>
                </a:lnTo>
                <a:lnTo>
                  <a:pt x="1047" y="242"/>
                </a:lnTo>
                <a:lnTo>
                  <a:pt x="959" y="285"/>
                </a:lnTo>
                <a:lnTo>
                  <a:pt x="875" y="333"/>
                </a:lnTo>
                <a:lnTo>
                  <a:pt x="794" y="387"/>
                </a:lnTo>
                <a:lnTo>
                  <a:pt x="717" y="444"/>
                </a:lnTo>
                <a:lnTo>
                  <a:pt x="642" y="506"/>
                </a:lnTo>
                <a:lnTo>
                  <a:pt x="572" y="572"/>
                </a:lnTo>
                <a:lnTo>
                  <a:pt x="506" y="643"/>
                </a:lnTo>
                <a:lnTo>
                  <a:pt x="444" y="716"/>
                </a:lnTo>
                <a:lnTo>
                  <a:pt x="386" y="794"/>
                </a:lnTo>
                <a:lnTo>
                  <a:pt x="334" y="876"/>
                </a:lnTo>
                <a:lnTo>
                  <a:pt x="285" y="960"/>
                </a:lnTo>
                <a:lnTo>
                  <a:pt x="241" y="1047"/>
                </a:lnTo>
                <a:lnTo>
                  <a:pt x="204" y="1138"/>
                </a:lnTo>
                <a:lnTo>
                  <a:pt x="171" y="1231"/>
                </a:lnTo>
                <a:lnTo>
                  <a:pt x="144" y="1326"/>
                </a:lnTo>
                <a:lnTo>
                  <a:pt x="122" y="1423"/>
                </a:lnTo>
                <a:lnTo>
                  <a:pt x="106" y="1523"/>
                </a:lnTo>
                <a:lnTo>
                  <a:pt x="97" y="1625"/>
                </a:lnTo>
                <a:lnTo>
                  <a:pt x="93" y="1728"/>
                </a:lnTo>
                <a:lnTo>
                  <a:pt x="97" y="1831"/>
                </a:lnTo>
                <a:lnTo>
                  <a:pt x="106" y="1933"/>
                </a:lnTo>
                <a:lnTo>
                  <a:pt x="122" y="2033"/>
                </a:lnTo>
                <a:lnTo>
                  <a:pt x="144" y="2130"/>
                </a:lnTo>
                <a:lnTo>
                  <a:pt x="171" y="2226"/>
                </a:lnTo>
                <a:lnTo>
                  <a:pt x="204" y="2318"/>
                </a:lnTo>
                <a:lnTo>
                  <a:pt x="241" y="2409"/>
                </a:lnTo>
                <a:lnTo>
                  <a:pt x="285" y="2496"/>
                </a:lnTo>
                <a:lnTo>
                  <a:pt x="334" y="2580"/>
                </a:lnTo>
                <a:lnTo>
                  <a:pt x="386" y="2662"/>
                </a:lnTo>
                <a:lnTo>
                  <a:pt x="444" y="2740"/>
                </a:lnTo>
                <a:lnTo>
                  <a:pt x="506" y="2813"/>
                </a:lnTo>
                <a:lnTo>
                  <a:pt x="572" y="2884"/>
                </a:lnTo>
                <a:lnTo>
                  <a:pt x="642" y="2950"/>
                </a:lnTo>
                <a:lnTo>
                  <a:pt x="717" y="3012"/>
                </a:lnTo>
                <a:lnTo>
                  <a:pt x="794" y="3069"/>
                </a:lnTo>
                <a:lnTo>
                  <a:pt x="875" y="3123"/>
                </a:lnTo>
                <a:lnTo>
                  <a:pt x="959" y="3171"/>
                </a:lnTo>
                <a:lnTo>
                  <a:pt x="1047" y="3214"/>
                </a:lnTo>
                <a:lnTo>
                  <a:pt x="1137" y="3252"/>
                </a:lnTo>
                <a:lnTo>
                  <a:pt x="1230" y="3286"/>
                </a:lnTo>
                <a:lnTo>
                  <a:pt x="1325" y="3313"/>
                </a:lnTo>
                <a:lnTo>
                  <a:pt x="1423" y="3334"/>
                </a:lnTo>
                <a:lnTo>
                  <a:pt x="1521" y="3350"/>
                </a:lnTo>
                <a:lnTo>
                  <a:pt x="1623" y="3359"/>
                </a:lnTo>
                <a:lnTo>
                  <a:pt x="1726" y="3363"/>
                </a:lnTo>
                <a:lnTo>
                  <a:pt x="1830" y="3359"/>
                </a:lnTo>
                <a:lnTo>
                  <a:pt x="1930" y="3350"/>
                </a:lnTo>
                <a:lnTo>
                  <a:pt x="2030" y="3334"/>
                </a:lnTo>
                <a:lnTo>
                  <a:pt x="2128" y="3313"/>
                </a:lnTo>
                <a:lnTo>
                  <a:pt x="2223" y="3286"/>
                </a:lnTo>
                <a:lnTo>
                  <a:pt x="2315" y="3252"/>
                </a:lnTo>
                <a:lnTo>
                  <a:pt x="2406" y="3214"/>
                </a:lnTo>
                <a:lnTo>
                  <a:pt x="2493" y="3171"/>
                </a:lnTo>
                <a:lnTo>
                  <a:pt x="2578" y="3123"/>
                </a:lnTo>
                <a:lnTo>
                  <a:pt x="2658" y="3069"/>
                </a:lnTo>
                <a:lnTo>
                  <a:pt x="2736" y="3012"/>
                </a:lnTo>
                <a:lnTo>
                  <a:pt x="2811" y="2950"/>
                </a:lnTo>
                <a:lnTo>
                  <a:pt x="2880" y="2884"/>
                </a:lnTo>
                <a:lnTo>
                  <a:pt x="2947" y="2813"/>
                </a:lnTo>
                <a:lnTo>
                  <a:pt x="3009" y="2740"/>
                </a:lnTo>
                <a:lnTo>
                  <a:pt x="3066" y="2662"/>
                </a:lnTo>
                <a:lnTo>
                  <a:pt x="3119" y="2580"/>
                </a:lnTo>
                <a:lnTo>
                  <a:pt x="3167" y="2496"/>
                </a:lnTo>
                <a:lnTo>
                  <a:pt x="3210" y="2409"/>
                </a:lnTo>
                <a:lnTo>
                  <a:pt x="3249" y="2318"/>
                </a:lnTo>
                <a:lnTo>
                  <a:pt x="3282" y="2226"/>
                </a:lnTo>
                <a:lnTo>
                  <a:pt x="3309" y="2130"/>
                </a:lnTo>
                <a:lnTo>
                  <a:pt x="3331" y="2033"/>
                </a:lnTo>
                <a:lnTo>
                  <a:pt x="3347" y="1933"/>
                </a:lnTo>
                <a:lnTo>
                  <a:pt x="3356" y="1831"/>
                </a:lnTo>
                <a:lnTo>
                  <a:pt x="3359" y="1728"/>
                </a:lnTo>
                <a:lnTo>
                  <a:pt x="3356" y="1625"/>
                </a:lnTo>
                <a:lnTo>
                  <a:pt x="3347" y="1523"/>
                </a:lnTo>
                <a:lnTo>
                  <a:pt x="3331" y="1423"/>
                </a:lnTo>
                <a:lnTo>
                  <a:pt x="3309" y="1326"/>
                </a:lnTo>
                <a:lnTo>
                  <a:pt x="3282" y="1231"/>
                </a:lnTo>
                <a:lnTo>
                  <a:pt x="3249" y="1138"/>
                </a:lnTo>
                <a:lnTo>
                  <a:pt x="3210" y="1047"/>
                </a:lnTo>
                <a:lnTo>
                  <a:pt x="3167" y="960"/>
                </a:lnTo>
                <a:lnTo>
                  <a:pt x="3119" y="876"/>
                </a:lnTo>
                <a:lnTo>
                  <a:pt x="3066" y="794"/>
                </a:lnTo>
                <a:lnTo>
                  <a:pt x="3009" y="716"/>
                </a:lnTo>
                <a:lnTo>
                  <a:pt x="2947" y="643"/>
                </a:lnTo>
                <a:lnTo>
                  <a:pt x="2880" y="572"/>
                </a:lnTo>
                <a:lnTo>
                  <a:pt x="2811" y="506"/>
                </a:lnTo>
                <a:lnTo>
                  <a:pt x="2736" y="444"/>
                </a:lnTo>
                <a:lnTo>
                  <a:pt x="2658" y="387"/>
                </a:lnTo>
                <a:lnTo>
                  <a:pt x="2578" y="333"/>
                </a:lnTo>
                <a:lnTo>
                  <a:pt x="2493" y="285"/>
                </a:lnTo>
                <a:lnTo>
                  <a:pt x="2406" y="242"/>
                </a:lnTo>
                <a:lnTo>
                  <a:pt x="2315" y="204"/>
                </a:lnTo>
                <a:lnTo>
                  <a:pt x="2223" y="170"/>
                </a:lnTo>
                <a:lnTo>
                  <a:pt x="2128" y="143"/>
                </a:lnTo>
                <a:lnTo>
                  <a:pt x="2030" y="122"/>
                </a:lnTo>
                <a:lnTo>
                  <a:pt x="1930" y="106"/>
                </a:lnTo>
                <a:lnTo>
                  <a:pt x="1830" y="97"/>
                </a:lnTo>
                <a:lnTo>
                  <a:pt x="1726" y="93"/>
                </a:lnTo>
                <a:close/>
                <a:moveTo>
                  <a:pt x="1726" y="0"/>
                </a:moveTo>
                <a:lnTo>
                  <a:pt x="1832" y="3"/>
                </a:lnTo>
                <a:lnTo>
                  <a:pt x="1935" y="12"/>
                </a:lnTo>
                <a:lnTo>
                  <a:pt x="2036" y="27"/>
                </a:lnTo>
                <a:lnTo>
                  <a:pt x="2136" y="48"/>
                </a:lnTo>
                <a:lnTo>
                  <a:pt x="2232" y="76"/>
                </a:lnTo>
                <a:lnTo>
                  <a:pt x="2328" y="108"/>
                </a:lnTo>
                <a:lnTo>
                  <a:pt x="2420" y="146"/>
                </a:lnTo>
                <a:lnTo>
                  <a:pt x="2510" y="188"/>
                </a:lnTo>
                <a:lnTo>
                  <a:pt x="2597" y="236"/>
                </a:lnTo>
                <a:lnTo>
                  <a:pt x="2680" y="288"/>
                </a:lnTo>
                <a:lnTo>
                  <a:pt x="2761" y="346"/>
                </a:lnTo>
                <a:lnTo>
                  <a:pt x="2838" y="407"/>
                </a:lnTo>
                <a:lnTo>
                  <a:pt x="2911" y="472"/>
                </a:lnTo>
                <a:lnTo>
                  <a:pt x="2980" y="542"/>
                </a:lnTo>
                <a:lnTo>
                  <a:pt x="3046" y="615"/>
                </a:lnTo>
                <a:lnTo>
                  <a:pt x="3107" y="692"/>
                </a:lnTo>
                <a:lnTo>
                  <a:pt x="3164" y="772"/>
                </a:lnTo>
                <a:lnTo>
                  <a:pt x="3217" y="856"/>
                </a:lnTo>
                <a:lnTo>
                  <a:pt x="3264" y="943"/>
                </a:lnTo>
                <a:lnTo>
                  <a:pt x="3307" y="1033"/>
                </a:lnTo>
                <a:lnTo>
                  <a:pt x="3345" y="1125"/>
                </a:lnTo>
                <a:lnTo>
                  <a:pt x="3377" y="1221"/>
                </a:lnTo>
                <a:lnTo>
                  <a:pt x="3403" y="1318"/>
                </a:lnTo>
                <a:lnTo>
                  <a:pt x="3424" y="1418"/>
                </a:lnTo>
                <a:lnTo>
                  <a:pt x="3440" y="1519"/>
                </a:lnTo>
                <a:lnTo>
                  <a:pt x="3449" y="1623"/>
                </a:lnTo>
                <a:lnTo>
                  <a:pt x="3453" y="1728"/>
                </a:lnTo>
                <a:lnTo>
                  <a:pt x="3449" y="1833"/>
                </a:lnTo>
                <a:lnTo>
                  <a:pt x="3440" y="1937"/>
                </a:lnTo>
                <a:lnTo>
                  <a:pt x="3424" y="2038"/>
                </a:lnTo>
                <a:lnTo>
                  <a:pt x="3403" y="2138"/>
                </a:lnTo>
                <a:lnTo>
                  <a:pt x="3377" y="2235"/>
                </a:lnTo>
                <a:lnTo>
                  <a:pt x="3345" y="2331"/>
                </a:lnTo>
                <a:lnTo>
                  <a:pt x="3307" y="2423"/>
                </a:lnTo>
                <a:lnTo>
                  <a:pt x="3264" y="2513"/>
                </a:lnTo>
                <a:lnTo>
                  <a:pt x="3217" y="2600"/>
                </a:lnTo>
                <a:lnTo>
                  <a:pt x="3164" y="2684"/>
                </a:lnTo>
                <a:lnTo>
                  <a:pt x="3107" y="2764"/>
                </a:lnTo>
                <a:lnTo>
                  <a:pt x="3046" y="2841"/>
                </a:lnTo>
                <a:lnTo>
                  <a:pt x="2980" y="2914"/>
                </a:lnTo>
                <a:lnTo>
                  <a:pt x="2911" y="2984"/>
                </a:lnTo>
                <a:lnTo>
                  <a:pt x="2838" y="3049"/>
                </a:lnTo>
                <a:lnTo>
                  <a:pt x="2761" y="3110"/>
                </a:lnTo>
                <a:lnTo>
                  <a:pt x="2680" y="3168"/>
                </a:lnTo>
                <a:lnTo>
                  <a:pt x="2597" y="3220"/>
                </a:lnTo>
                <a:lnTo>
                  <a:pt x="2510" y="3268"/>
                </a:lnTo>
                <a:lnTo>
                  <a:pt x="2420" y="3311"/>
                </a:lnTo>
                <a:lnTo>
                  <a:pt x="2328" y="3348"/>
                </a:lnTo>
                <a:lnTo>
                  <a:pt x="2232" y="3380"/>
                </a:lnTo>
                <a:lnTo>
                  <a:pt x="2136" y="3408"/>
                </a:lnTo>
                <a:lnTo>
                  <a:pt x="2036" y="3429"/>
                </a:lnTo>
                <a:lnTo>
                  <a:pt x="1935" y="3444"/>
                </a:lnTo>
                <a:lnTo>
                  <a:pt x="1832" y="3453"/>
                </a:lnTo>
                <a:lnTo>
                  <a:pt x="1726" y="3456"/>
                </a:lnTo>
                <a:lnTo>
                  <a:pt x="1621" y="3453"/>
                </a:lnTo>
                <a:lnTo>
                  <a:pt x="1518" y="3444"/>
                </a:lnTo>
                <a:lnTo>
                  <a:pt x="1416" y="3429"/>
                </a:lnTo>
                <a:lnTo>
                  <a:pt x="1317" y="3408"/>
                </a:lnTo>
                <a:lnTo>
                  <a:pt x="1219" y="3380"/>
                </a:lnTo>
                <a:lnTo>
                  <a:pt x="1125" y="3348"/>
                </a:lnTo>
                <a:lnTo>
                  <a:pt x="1032" y="3311"/>
                </a:lnTo>
                <a:lnTo>
                  <a:pt x="942" y="3268"/>
                </a:lnTo>
                <a:lnTo>
                  <a:pt x="856" y="3220"/>
                </a:lnTo>
                <a:lnTo>
                  <a:pt x="772" y="3168"/>
                </a:lnTo>
                <a:lnTo>
                  <a:pt x="691" y="3110"/>
                </a:lnTo>
                <a:lnTo>
                  <a:pt x="615" y="3049"/>
                </a:lnTo>
                <a:lnTo>
                  <a:pt x="541" y="2984"/>
                </a:lnTo>
                <a:lnTo>
                  <a:pt x="472" y="2914"/>
                </a:lnTo>
                <a:lnTo>
                  <a:pt x="406" y="2841"/>
                </a:lnTo>
                <a:lnTo>
                  <a:pt x="345" y="2764"/>
                </a:lnTo>
                <a:lnTo>
                  <a:pt x="289" y="2684"/>
                </a:lnTo>
                <a:lnTo>
                  <a:pt x="236" y="2600"/>
                </a:lnTo>
                <a:lnTo>
                  <a:pt x="189" y="2513"/>
                </a:lnTo>
                <a:lnTo>
                  <a:pt x="146" y="2423"/>
                </a:lnTo>
                <a:lnTo>
                  <a:pt x="108" y="2331"/>
                </a:lnTo>
                <a:lnTo>
                  <a:pt x="76" y="2235"/>
                </a:lnTo>
                <a:lnTo>
                  <a:pt x="49" y="2138"/>
                </a:lnTo>
                <a:lnTo>
                  <a:pt x="28" y="2038"/>
                </a:lnTo>
                <a:lnTo>
                  <a:pt x="13" y="1937"/>
                </a:lnTo>
                <a:lnTo>
                  <a:pt x="3" y="1833"/>
                </a:lnTo>
                <a:lnTo>
                  <a:pt x="0" y="1728"/>
                </a:lnTo>
                <a:lnTo>
                  <a:pt x="0" y="1727"/>
                </a:lnTo>
                <a:lnTo>
                  <a:pt x="3" y="1623"/>
                </a:lnTo>
                <a:lnTo>
                  <a:pt x="13" y="1519"/>
                </a:lnTo>
                <a:lnTo>
                  <a:pt x="28" y="1418"/>
                </a:lnTo>
                <a:lnTo>
                  <a:pt x="49" y="1318"/>
                </a:lnTo>
                <a:lnTo>
                  <a:pt x="76" y="1221"/>
                </a:lnTo>
                <a:lnTo>
                  <a:pt x="108" y="1125"/>
                </a:lnTo>
                <a:lnTo>
                  <a:pt x="146" y="1033"/>
                </a:lnTo>
                <a:lnTo>
                  <a:pt x="189" y="943"/>
                </a:lnTo>
                <a:lnTo>
                  <a:pt x="236" y="856"/>
                </a:lnTo>
                <a:lnTo>
                  <a:pt x="289" y="772"/>
                </a:lnTo>
                <a:lnTo>
                  <a:pt x="345" y="692"/>
                </a:lnTo>
                <a:lnTo>
                  <a:pt x="406" y="615"/>
                </a:lnTo>
                <a:lnTo>
                  <a:pt x="472" y="542"/>
                </a:lnTo>
                <a:lnTo>
                  <a:pt x="541" y="472"/>
                </a:lnTo>
                <a:lnTo>
                  <a:pt x="615" y="407"/>
                </a:lnTo>
                <a:lnTo>
                  <a:pt x="691" y="346"/>
                </a:lnTo>
                <a:lnTo>
                  <a:pt x="772" y="288"/>
                </a:lnTo>
                <a:lnTo>
                  <a:pt x="856" y="236"/>
                </a:lnTo>
                <a:lnTo>
                  <a:pt x="942" y="188"/>
                </a:lnTo>
                <a:lnTo>
                  <a:pt x="1032" y="146"/>
                </a:lnTo>
                <a:lnTo>
                  <a:pt x="1125" y="108"/>
                </a:lnTo>
                <a:lnTo>
                  <a:pt x="1219" y="76"/>
                </a:lnTo>
                <a:lnTo>
                  <a:pt x="1317" y="48"/>
                </a:lnTo>
                <a:lnTo>
                  <a:pt x="1416" y="27"/>
                </a:lnTo>
                <a:lnTo>
                  <a:pt x="1518" y="12"/>
                </a:lnTo>
                <a:lnTo>
                  <a:pt x="1621" y="3"/>
                </a:lnTo>
                <a:lnTo>
                  <a:pt x="1726"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Light"/>
              <a:ea typeface="+mn-ea"/>
              <a:cs typeface="+mn-cs"/>
            </a:endParaRPr>
          </a:p>
        </p:txBody>
      </p:sp>
      <p:sp>
        <p:nvSpPr>
          <p:cNvPr id="179" name="Freeform 17">
            <a:extLst>
              <a:ext uri="{FF2B5EF4-FFF2-40B4-BE49-F238E27FC236}">
                <a16:creationId xmlns:a16="http://schemas.microsoft.com/office/drawing/2014/main" id="{7318798E-2075-4ECC-ABFB-CEEDD80143A6}"/>
              </a:ext>
            </a:extLst>
          </p:cNvPr>
          <p:cNvSpPr>
            <a:spLocks noChangeAspect="1" noEditPoints="1"/>
          </p:cNvSpPr>
          <p:nvPr/>
        </p:nvSpPr>
        <p:spPr bwMode="auto">
          <a:xfrm>
            <a:off x="6845748" y="3686078"/>
            <a:ext cx="272511" cy="181810"/>
          </a:xfrm>
          <a:custGeom>
            <a:avLst/>
            <a:gdLst>
              <a:gd name="T0" fmla="*/ 4799 w 4799"/>
              <a:gd name="T1" fmla="*/ 1627 h 3527"/>
              <a:gd name="T2" fmla="*/ 4220 w 4799"/>
              <a:gd name="T3" fmla="*/ 1560 h 3527"/>
              <a:gd name="T4" fmla="*/ 2461 w 4799"/>
              <a:gd name="T5" fmla="*/ 1627 h 3527"/>
              <a:gd name="T6" fmla="*/ 4220 w 4799"/>
              <a:gd name="T7" fmla="*/ 1694 h 3527"/>
              <a:gd name="T8" fmla="*/ 4799 w 4799"/>
              <a:gd name="T9" fmla="*/ 1627 h 3527"/>
              <a:gd name="T10" fmla="*/ 2057 w 4799"/>
              <a:gd name="T11" fmla="*/ 3125 h 3527"/>
              <a:gd name="T12" fmla="*/ 933 w 4799"/>
              <a:gd name="T13" fmla="*/ 3125 h 3527"/>
              <a:gd name="T14" fmla="*/ 933 w 4799"/>
              <a:gd name="T15" fmla="*/ 3259 h 3527"/>
              <a:gd name="T16" fmla="*/ 2057 w 4799"/>
              <a:gd name="T17" fmla="*/ 3527 h 3527"/>
              <a:gd name="T18" fmla="*/ 2057 w 4799"/>
              <a:gd name="T19" fmla="*/ 2857 h 3527"/>
              <a:gd name="T20" fmla="*/ 2057 w 4799"/>
              <a:gd name="T21" fmla="*/ 3125 h 3527"/>
              <a:gd name="T22" fmla="*/ 3116 w 4799"/>
              <a:gd name="T23" fmla="*/ 2140 h 3527"/>
              <a:gd name="T24" fmla="*/ 1925 w 4799"/>
              <a:gd name="T25" fmla="*/ 2207 h 3527"/>
              <a:gd name="T26" fmla="*/ 3116 w 4799"/>
              <a:gd name="T27" fmla="*/ 2274 h 3527"/>
              <a:gd name="T28" fmla="*/ 3695 w 4799"/>
              <a:gd name="T29" fmla="*/ 2207 h 3527"/>
              <a:gd name="T30" fmla="*/ 3116 w 4799"/>
              <a:gd name="T31" fmla="*/ 2140 h 3527"/>
              <a:gd name="T32" fmla="*/ 2078 w 4799"/>
              <a:gd name="T33" fmla="*/ 402 h 3527"/>
              <a:gd name="T34" fmla="*/ 3137 w 4799"/>
              <a:gd name="T35" fmla="*/ 402 h 3527"/>
              <a:gd name="T36" fmla="*/ 3717 w 4799"/>
              <a:gd name="T37" fmla="*/ 335 h 3527"/>
              <a:gd name="T38" fmla="*/ 3137 w 4799"/>
              <a:gd name="T39" fmla="*/ 268 h 3527"/>
              <a:gd name="T40" fmla="*/ 2010 w 4799"/>
              <a:gd name="T41" fmla="*/ 335 h 3527"/>
              <a:gd name="T42" fmla="*/ 2078 w 4799"/>
              <a:gd name="T43" fmla="*/ 402 h 3527"/>
              <a:gd name="T44" fmla="*/ 1421 w 4799"/>
              <a:gd name="T45" fmla="*/ 1154 h 3527"/>
              <a:gd name="T46" fmla="*/ 2480 w 4799"/>
              <a:gd name="T47" fmla="*/ 1422 h 3527"/>
              <a:gd name="T48" fmla="*/ 2480 w 4799"/>
              <a:gd name="T49" fmla="*/ 752 h 3527"/>
              <a:gd name="T50" fmla="*/ 1421 w 4799"/>
              <a:gd name="T51" fmla="*/ 1020 h 3527"/>
              <a:gd name="T52" fmla="*/ 1421 w 4799"/>
              <a:gd name="T53" fmla="*/ 1154 h 3527"/>
              <a:gd name="T54" fmla="*/ 627 w 4799"/>
              <a:gd name="T55" fmla="*/ 1153 h 3527"/>
              <a:gd name="T56" fmla="*/ 1130 w 4799"/>
              <a:gd name="T57" fmla="*/ 1153 h 3527"/>
              <a:gd name="T58" fmla="*/ 1130 w 4799"/>
              <a:gd name="T59" fmla="*/ 1019 h 3527"/>
              <a:gd name="T60" fmla="*/ 559 w 4799"/>
              <a:gd name="T61" fmla="*/ 1086 h 3527"/>
              <a:gd name="T62" fmla="*/ 627 w 4799"/>
              <a:gd name="T63" fmla="*/ 1153 h 3527"/>
              <a:gd name="T64" fmla="*/ 1029 w 4799"/>
              <a:gd name="T65" fmla="*/ 2202 h 3527"/>
              <a:gd name="T66" fmla="*/ 676 w 4799"/>
              <a:gd name="T67" fmla="*/ 2135 h 3527"/>
              <a:gd name="T68" fmla="*/ 676 w 4799"/>
              <a:gd name="T69" fmla="*/ 2269 h 3527"/>
              <a:gd name="T70" fmla="*/ 1029 w 4799"/>
              <a:gd name="T71" fmla="*/ 2202 h 3527"/>
              <a:gd name="T72" fmla="*/ 1192 w 4799"/>
              <a:gd name="T73" fmla="*/ 2135 h 3527"/>
              <a:gd name="T74" fmla="*/ 1125 w 4799"/>
              <a:gd name="T75" fmla="*/ 2202 h 3527"/>
              <a:gd name="T76" fmla="*/ 1784 w 4799"/>
              <a:gd name="T77" fmla="*/ 2269 h 3527"/>
              <a:gd name="T78" fmla="*/ 1784 w 4799"/>
              <a:gd name="T79" fmla="*/ 2135 h 3527"/>
              <a:gd name="T80" fmla="*/ 1192 w 4799"/>
              <a:gd name="T81" fmla="*/ 2135 h 3527"/>
              <a:gd name="T82" fmla="*/ 727 w 4799"/>
              <a:gd name="T83" fmla="*/ 1619 h 3527"/>
              <a:gd name="T84" fmla="*/ 67 w 4799"/>
              <a:gd name="T85" fmla="*/ 1552 h 3527"/>
              <a:gd name="T86" fmla="*/ 67 w 4799"/>
              <a:gd name="T87" fmla="*/ 1686 h 3527"/>
              <a:gd name="T88" fmla="*/ 727 w 4799"/>
              <a:gd name="T89" fmla="*/ 1619 h 3527"/>
              <a:gd name="T90" fmla="*/ 2377 w 4799"/>
              <a:gd name="T91" fmla="*/ 1619 h 3527"/>
              <a:gd name="T92" fmla="*/ 1797 w 4799"/>
              <a:gd name="T93" fmla="*/ 1954 h 3527"/>
              <a:gd name="T94" fmla="*/ 854 w 4799"/>
              <a:gd name="T95" fmla="*/ 1686 h 3527"/>
              <a:gd name="T96" fmla="*/ 854 w 4799"/>
              <a:gd name="T97" fmla="*/ 1552 h 3527"/>
              <a:gd name="T98" fmla="*/ 1797 w 4799"/>
              <a:gd name="T99" fmla="*/ 1284 h 3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9" h="3527">
                <a:moveTo>
                  <a:pt x="4799" y="1627"/>
                </a:moveTo>
                <a:lnTo>
                  <a:pt x="4799" y="1627"/>
                </a:lnTo>
                <a:lnTo>
                  <a:pt x="4220" y="1292"/>
                </a:lnTo>
                <a:lnTo>
                  <a:pt x="4220" y="1560"/>
                </a:lnTo>
                <a:lnTo>
                  <a:pt x="2528" y="1560"/>
                </a:lnTo>
                <a:cubicBezTo>
                  <a:pt x="2491" y="1560"/>
                  <a:pt x="2461" y="1590"/>
                  <a:pt x="2461" y="1627"/>
                </a:cubicBezTo>
                <a:cubicBezTo>
                  <a:pt x="2461" y="1664"/>
                  <a:pt x="2491" y="1694"/>
                  <a:pt x="2528" y="1694"/>
                </a:cubicBezTo>
                <a:lnTo>
                  <a:pt x="4220" y="1694"/>
                </a:lnTo>
                <a:lnTo>
                  <a:pt x="4220" y="1962"/>
                </a:lnTo>
                <a:lnTo>
                  <a:pt x="4799" y="1627"/>
                </a:lnTo>
                <a:lnTo>
                  <a:pt x="4799" y="1627"/>
                </a:lnTo>
                <a:close/>
                <a:moveTo>
                  <a:pt x="2057" y="3125"/>
                </a:moveTo>
                <a:lnTo>
                  <a:pt x="2057" y="3125"/>
                </a:lnTo>
                <a:lnTo>
                  <a:pt x="933" y="3125"/>
                </a:lnTo>
                <a:cubicBezTo>
                  <a:pt x="896" y="3125"/>
                  <a:pt x="866" y="3155"/>
                  <a:pt x="866" y="3192"/>
                </a:cubicBezTo>
                <a:cubicBezTo>
                  <a:pt x="866" y="3229"/>
                  <a:pt x="896" y="3259"/>
                  <a:pt x="933" y="3259"/>
                </a:cubicBezTo>
                <a:lnTo>
                  <a:pt x="2057" y="3259"/>
                </a:lnTo>
                <a:lnTo>
                  <a:pt x="2057" y="3527"/>
                </a:lnTo>
                <a:lnTo>
                  <a:pt x="2636" y="3192"/>
                </a:lnTo>
                <a:lnTo>
                  <a:pt x="2057" y="2857"/>
                </a:lnTo>
                <a:lnTo>
                  <a:pt x="2057" y="3125"/>
                </a:lnTo>
                <a:lnTo>
                  <a:pt x="2057" y="3125"/>
                </a:lnTo>
                <a:close/>
                <a:moveTo>
                  <a:pt x="3116" y="2140"/>
                </a:moveTo>
                <a:lnTo>
                  <a:pt x="3116" y="2140"/>
                </a:lnTo>
                <a:lnTo>
                  <a:pt x="1992" y="2140"/>
                </a:lnTo>
                <a:cubicBezTo>
                  <a:pt x="1955" y="2140"/>
                  <a:pt x="1925" y="2170"/>
                  <a:pt x="1925" y="2207"/>
                </a:cubicBezTo>
                <a:cubicBezTo>
                  <a:pt x="1925" y="2244"/>
                  <a:pt x="1955" y="2274"/>
                  <a:pt x="1992" y="2274"/>
                </a:cubicBezTo>
                <a:lnTo>
                  <a:pt x="3116" y="2274"/>
                </a:lnTo>
                <a:lnTo>
                  <a:pt x="3116" y="2542"/>
                </a:lnTo>
                <a:lnTo>
                  <a:pt x="3695" y="2207"/>
                </a:lnTo>
                <a:lnTo>
                  <a:pt x="3116" y="1872"/>
                </a:lnTo>
                <a:lnTo>
                  <a:pt x="3116" y="2140"/>
                </a:lnTo>
                <a:lnTo>
                  <a:pt x="3116" y="2140"/>
                </a:lnTo>
                <a:close/>
                <a:moveTo>
                  <a:pt x="2078" y="402"/>
                </a:moveTo>
                <a:lnTo>
                  <a:pt x="2078" y="402"/>
                </a:lnTo>
                <a:lnTo>
                  <a:pt x="3137" y="402"/>
                </a:lnTo>
                <a:lnTo>
                  <a:pt x="3137" y="670"/>
                </a:lnTo>
                <a:lnTo>
                  <a:pt x="3717" y="335"/>
                </a:lnTo>
                <a:lnTo>
                  <a:pt x="3137" y="0"/>
                </a:lnTo>
                <a:lnTo>
                  <a:pt x="3137" y="268"/>
                </a:lnTo>
                <a:lnTo>
                  <a:pt x="2078" y="268"/>
                </a:lnTo>
                <a:cubicBezTo>
                  <a:pt x="2041" y="268"/>
                  <a:pt x="2010" y="298"/>
                  <a:pt x="2010" y="335"/>
                </a:cubicBezTo>
                <a:cubicBezTo>
                  <a:pt x="2010" y="372"/>
                  <a:pt x="2041" y="402"/>
                  <a:pt x="2078" y="402"/>
                </a:cubicBezTo>
                <a:lnTo>
                  <a:pt x="2078" y="402"/>
                </a:lnTo>
                <a:close/>
                <a:moveTo>
                  <a:pt x="1421" y="1154"/>
                </a:moveTo>
                <a:lnTo>
                  <a:pt x="1421" y="1154"/>
                </a:lnTo>
                <a:lnTo>
                  <a:pt x="2480" y="1154"/>
                </a:lnTo>
                <a:lnTo>
                  <a:pt x="2480" y="1422"/>
                </a:lnTo>
                <a:lnTo>
                  <a:pt x="3060" y="1087"/>
                </a:lnTo>
                <a:lnTo>
                  <a:pt x="2480" y="752"/>
                </a:lnTo>
                <a:lnTo>
                  <a:pt x="2480" y="1020"/>
                </a:lnTo>
                <a:lnTo>
                  <a:pt x="1421" y="1020"/>
                </a:lnTo>
                <a:cubicBezTo>
                  <a:pt x="1384" y="1020"/>
                  <a:pt x="1354" y="1050"/>
                  <a:pt x="1354" y="1087"/>
                </a:cubicBezTo>
                <a:cubicBezTo>
                  <a:pt x="1354" y="1124"/>
                  <a:pt x="1384" y="1154"/>
                  <a:pt x="1421" y="1154"/>
                </a:cubicBezTo>
                <a:lnTo>
                  <a:pt x="1421" y="1154"/>
                </a:lnTo>
                <a:close/>
                <a:moveTo>
                  <a:pt x="627" y="1153"/>
                </a:moveTo>
                <a:lnTo>
                  <a:pt x="627" y="1153"/>
                </a:lnTo>
                <a:lnTo>
                  <a:pt x="1130" y="1153"/>
                </a:lnTo>
                <a:cubicBezTo>
                  <a:pt x="1167" y="1153"/>
                  <a:pt x="1197" y="1123"/>
                  <a:pt x="1197" y="1086"/>
                </a:cubicBezTo>
                <a:cubicBezTo>
                  <a:pt x="1197" y="1049"/>
                  <a:pt x="1167" y="1019"/>
                  <a:pt x="1130" y="1019"/>
                </a:cubicBezTo>
                <a:lnTo>
                  <a:pt x="627" y="1019"/>
                </a:lnTo>
                <a:cubicBezTo>
                  <a:pt x="589" y="1019"/>
                  <a:pt x="559" y="1049"/>
                  <a:pt x="559" y="1086"/>
                </a:cubicBezTo>
                <a:cubicBezTo>
                  <a:pt x="559" y="1123"/>
                  <a:pt x="589" y="1153"/>
                  <a:pt x="627" y="1153"/>
                </a:cubicBezTo>
                <a:lnTo>
                  <a:pt x="627" y="1153"/>
                </a:lnTo>
                <a:close/>
                <a:moveTo>
                  <a:pt x="1029" y="2202"/>
                </a:moveTo>
                <a:lnTo>
                  <a:pt x="1029" y="2202"/>
                </a:lnTo>
                <a:cubicBezTo>
                  <a:pt x="1029" y="2165"/>
                  <a:pt x="999" y="2135"/>
                  <a:pt x="962" y="2135"/>
                </a:cubicBezTo>
                <a:lnTo>
                  <a:pt x="676" y="2135"/>
                </a:lnTo>
                <a:cubicBezTo>
                  <a:pt x="639" y="2135"/>
                  <a:pt x="609" y="2165"/>
                  <a:pt x="609" y="2202"/>
                </a:cubicBezTo>
                <a:cubicBezTo>
                  <a:pt x="609" y="2239"/>
                  <a:pt x="639" y="2269"/>
                  <a:pt x="676" y="2269"/>
                </a:cubicBezTo>
                <a:lnTo>
                  <a:pt x="962" y="2269"/>
                </a:lnTo>
                <a:cubicBezTo>
                  <a:pt x="999" y="2269"/>
                  <a:pt x="1029" y="2239"/>
                  <a:pt x="1029" y="2202"/>
                </a:cubicBezTo>
                <a:lnTo>
                  <a:pt x="1029" y="2202"/>
                </a:lnTo>
                <a:close/>
                <a:moveTo>
                  <a:pt x="1192" y="2135"/>
                </a:moveTo>
                <a:lnTo>
                  <a:pt x="1192" y="2135"/>
                </a:lnTo>
                <a:cubicBezTo>
                  <a:pt x="1155" y="2135"/>
                  <a:pt x="1125" y="2165"/>
                  <a:pt x="1125" y="2202"/>
                </a:cubicBezTo>
                <a:cubicBezTo>
                  <a:pt x="1125" y="2239"/>
                  <a:pt x="1155" y="2269"/>
                  <a:pt x="1192" y="2269"/>
                </a:cubicBezTo>
                <a:lnTo>
                  <a:pt x="1784" y="2269"/>
                </a:lnTo>
                <a:cubicBezTo>
                  <a:pt x="1822" y="2269"/>
                  <a:pt x="1852" y="2239"/>
                  <a:pt x="1852" y="2202"/>
                </a:cubicBezTo>
                <a:cubicBezTo>
                  <a:pt x="1852" y="2165"/>
                  <a:pt x="1822" y="2135"/>
                  <a:pt x="1784" y="2135"/>
                </a:cubicBezTo>
                <a:lnTo>
                  <a:pt x="1192" y="2135"/>
                </a:lnTo>
                <a:lnTo>
                  <a:pt x="1192" y="2135"/>
                </a:lnTo>
                <a:close/>
                <a:moveTo>
                  <a:pt x="727" y="1619"/>
                </a:moveTo>
                <a:lnTo>
                  <a:pt x="727" y="1619"/>
                </a:lnTo>
                <a:cubicBezTo>
                  <a:pt x="727" y="1582"/>
                  <a:pt x="697" y="1552"/>
                  <a:pt x="659" y="1552"/>
                </a:cubicBezTo>
                <a:lnTo>
                  <a:pt x="67" y="1552"/>
                </a:lnTo>
                <a:cubicBezTo>
                  <a:pt x="30" y="1552"/>
                  <a:pt x="0" y="1582"/>
                  <a:pt x="0" y="1619"/>
                </a:cubicBezTo>
                <a:cubicBezTo>
                  <a:pt x="0" y="1656"/>
                  <a:pt x="30" y="1686"/>
                  <a:pt x="67" y="1686"/>
                </a:cubicBezTo>
                <a:lnTo>
                  <a:pt x="659" y="1686"/>
                </a:lnTo>
                <a:cubicBezTo>
                  <a:pt x="697" y="1686"/>
                  <a:pt x="727" y="1656"/>
                  <a:pt x="727" y="1619"/>
                </a:cubicBezTo>
                <a:lnTo>
                  <a:pt x="727" y="1619"/>
                </a:lnTo>
                <a:close/>
                <a:moveTo>
                  <a:pt x="2377" y="1619"/>
                </a:moveTo>
                <a:lnTo>
                  <a:pt x="2377" y="1619"/>
                </a:lnTo>
                <a:lnTo>
                  <a:pt x="1797" y="1954"/>
                </a:lnTo>
                <a:lnTo>
                  <a:pt x="1797" y="1686"/>
                </a:lnTo>
                <a:lnTo>
                  <a:pt x="854" y="1686"/>
                </a:lnTo>
                <a:cubicBezTo>
                  <a:pt x="816" y="1686"/>
                  <a:pt x="786" y="1656"/>
                  <a:pt x="786" y="1619"/>
                </a:cubicBezTo>
                <a:cubicBezTo>
                  <a:pt x="786" y="1582"/>
                  <a:pt x="816" y="1552"/>
                  <a:pt x="854" y="1552"/>
                </a:cubicBezTo>
                <a:lnTo>
                  <a:pt x="1797" y="1552"/>
                </a:lnTo>
                <a:lnTo>
                  <a:pt x="1797" y="1284"/>
                </a:lnTo>
                <a:lnTo>
                  <a:pt x="2377" y="161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alibri Light"/>
              <a:ea typeface="+mn-ea"/>
              <a:cs typeface="+mn-cs"/>
            </a:endParaRPr>
          </a:p>
        </p:txBody>
      </p:sp>
      <p:grpSp>
        <p:nvGrpSpPr>
          <p:cNvPr id="180" name="Group 179">
            <a:extLst>
              <a:ext uri="{FF2B5EF4-FFF2-40B4-BE49-F238E27FC236}">
                <a16:creationId xmlns:a16="http://schemas.microsoft.com/office/drawing/2014/main" id="{910F3087-F193-44FF-BFA2-F6DBDEA10C8E}"/>
              </a:ext>
            </a:extLst>
          </p:cNvPr>
          <p:cNvGrpSpPr>
            <a:grpSpLocks noChangeAspect="1"/>
          </p:cNvGrpSpPr>
          <p:nvPr/>
        </p:nvGrpSpPr>
        <p:grpSpPr>
          <a:xfrm>
            <a:off x="7926075" y="1531382"/>
            <a:ext cx="789448" cy="2776320"/>
            <a:chOff x="9695380" y="1471143"/>
            <a:chExt cx="1021999" cy="4227136"/>
          </a:xfrm>
        </p:grpSpPr>
        <p:sp>
          <p:nvSpPr>
            <p:cNvPr id="181" name="Rectangle: Rounded Corners 180">
              <a:extLst>
                <a:ext uri="{FF2B5EF4-FFF2-40B4-BE49-F238E27FC236}">
                  <a16:creationId xmlns:a16="http://schemas.microsoft.com/office/drawing/2014/main" id="{5649E4E8-E30A-4E12-B5B4-6C17436266F3}"/>
                </a:ext>
              </a:extLst>
            </p:cNvPr>
            <p:cNvSpPr/>
            <p:nvPr/>
          </p:nvSpPr>
          <p:spPr>
            <a:xfrm>
              <a:off x="9775036" y="1471143"/>
              <a:ext cx="861306" cy="4227136"/>
            </a:xfrm>
            <a:prstGeom prst="roundRect">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74BE"/>
                </a:solidFill>
                <a:effectLst/>
                <a:uLnTx/>
                <a:uFillTx/>
                <a:latin typeface="Calibri Light"/>
                <a:ea typeface="+mn-ea"/>
                <a:cs typeface="+mn-cs"/>
              </a:endParaRPr>
            </a:p>
          </p:txBody>
        </p:sp>
        <p:sp>
          <p:nvSpPr>
            <p:cNvPr id="182" name="TextBox 181">
              <a:extLst>
                <a:ext uri="{FF2B5EF4-FFF2-40B4-BE49-F238E27FC236}">
                  <a16:creationId xmlns:a16="http://schemas.microsoft.com/office/drawing/2014/main" id="{B0808C37-7297-49F5-9834-4EAF47498A59}"/>
                </a:ext>
              </a:extLst>
            </p:cNvPr>
            <p:cNvSpPr txBox="1"/>
            <p:nvPr/>
          </p:nvSpPr>
          <p:spPr>
            <a:xfrm>
              <a:off x="9695380" y="1573510"/>
              <a:ext cx="1021999" cy="562333"/>
            </a:xfrm>
            <a:prstGeom prst="rect">
              <a:avLst/>
            </a:prstGeom>
            <a:noFill/>
          </p:spPr>
          <p:txBody>
            <a:bodyPr wrap="square" rtlCol="0">
              <a:spAutoFit/>
            </a:bodyPr>
            <a:lstStyle/>
            <a:p>
              <a:pPr algn="ctr" defTabSz="457189"/>
              <a:r>
                <a:rPr lang="fr-CA" sz="900" b="1">
                  <a:solidFill>
                    <a:srgbClr val="FFFFFF"/>
                  </a:solidFill>
                  <a:latin typeface="Calibri Light" panose="020F0302020204030204"/>
                </a:rPr>
                <a:t>Expériences utilisateur</a:t>
              </a:r>
            </a:p>
          </p:txBody>
        </p:sp>
        <p:grpSp>
          <p:nvGrpSpPr>
            <p:cNvPr id="183" name="Group 182">
              <a:extLst>
                <a:ext uri="{FF2B5EF4-FFF2-40B4-BE49-F238E27FC236}">
                  <a16:creationId xmlns:a16="http://schemas.microsoft.com/office/drawing/2014/main" id="{E72D14D1-9489-49E3-A6DD-7EF98876C577}"/>
                </a:ext>
              </a:extLst>
            </p:cNvPr>
            <p:cNvGrpSpPr/>
            <p:nvPr/>
          </p:nvGrpSpPr>
          <p:grpSpPr>
            <a:xfrm>
              <a:off x="9785910" y="4844706"/>
              <a:ext cx="800715" cy="610268"/>
              <a:chOff x="9712345" y="4668126"/>
              <a:chExt cx="911554" cy="747507"/>
            </a:xfrm>
          </p:grpSpPr>
          <p:sp>
            <p:nvSpPr>
              <p:cNvPr id="203" name="Freeform 17">
                <a:extLst>
                  <a:ext uri="{FF2B5EF4-FFF2-40B4-BE49-F238E27FC236}">
                    <a16:creationId xmlns:a16="http://schemas.microsoft.com/office/drawing/2014/main" id="{9E46B575-009F-4434-807C-6936C5A71DB3}"/>
                  </a:ext>
                </a:extLst>
              </p:cNvPr>
              <p:cNvSpPr>
                <a:spLocks noChangeAspect="1" noEditPoints="1"/>
              </p:cNvSpPr>
              <p:nvPr/>
            </p:nvSpPr>
            <p:spPr bwMode="auto">
              <a:xfrm>
                <a:off x="9943314" y="4668126"/>
                <a:ext cx="457200" cy="352663"/>
              </a:xfrm>
              <a:custGeom>
                <a:avLst/>
                <a:gdLst>
                  <a:gd name="T0" fmla="*/ 3360 w 4799"/>
                  <a:gd name="T1" fmla="*/ 2528 h 3691"/>
                  <a:gd name="T2" fmla="*/ 3360 w 4799"/>
                  <a:gd name="T3" fmla="*/ 2528 h 3691"/>
                  <a:gd name="T4" fmla="*/ 1431 w 4799"/>
                  <a:gd name="T5" fmla="*/ 2528 h 3691"/>
                  <a:gd name="T6" fmla="*/ 1367 w 4799"/>
                  <a:gd name="T7" fmla="*/ 2593 h 3691"/>
                  <a:gd name="T8" fmla="*/ 1431 w 4799"/>
                  <a:gd name="T9" fmla="*/ 2657 h 3691"/>
                  <a:gd name="T10" fmla="*/ 3360 w 4799"/>
                  <a:gd name="T11" fmla="*/ 2657 h 3691"/>
                  <a:gd name="T12" fmla="*/ 3425 w 4799"/>
                  <a:gd name="T13" fmla="*/ 2593 h 3691"/>
                  <a:gd name="T14" fmla="*/ 3360 w 4799"/>
                  <a:gd name="T15" fmla="*/ 2528 h 3691"/>
                  <a:gd name="T16" fmla="*/ 3360 w 4799"/>
                  <a:gd name="T17" fmla="*/ 2528 h 3691"/>
                  <a:gd name="T18" fmla="*/ 4670 w 4799"/>
                  <a:gd name="T19" fmla="*/ 3383 h 3691"/>
                  <a:gd name="T20" fmla="*/ 4670 w 4799"/>
                  <a:gd name="T21" fmla="*/ 3383 h 3691"/>
                  <a:gd name="T22" fmla="*/ 4670 w 4799"/>
                  <a:gd name="T23" fmla="*/ 820 h 3691"/>
                  <a:gd name="T24" fmla="*/ 129 w 4799"/>
                  <a:gd name="T25" fmla="*/ 820 h 3691"/>
                  <a:gd name="T26" fmla="*/ 129 w 4799"/>
                  <a:gd name="T27" fmla="*/ 3383 h 3691"/>
                  <a:gd name="T28" fmla="*/ 307 w 4799"/>
                  <a:gd name="T29" fmla="*/ 3561 h 3691"/>
                  <a:gd name="T30" fmla="*/ 4492 w 4799"/>
                  <a:gd name="T31" fmla="*/ 3561 h 3691"/>
                  <a:gd name="T32" fmla="*/ 4670 w 4799"/>
                  <a:gd name="T33" fmla="*/ 3383 h 3691"/>
                  <a:gd name="T34" fmla="*/ 4670 w 4799"/>
                  <a:gd name="T35" fmla="*/ 3383 h 3691"/>
                  <a:gd name="T36" fmla="*/ 129 w 4799"/>
                  <a:gd name="T37" fmla="*/ 307 h 3691"/>
                  <a:gd name="T38" fmla="*/ 129 w 4799"/>
                  <a:gd name="T39" fmla="*/ 307 h 3691"/>
                  <a:gd name="T40" fmla="*/ 129 w 4799"/>
                  <a:gd name="T41" fmla="*/ 691 h 3691"/>
                  <a:gd name="T42" fmla="*/ 4670 w 4799"/>
                  <a:gd name="T43" fmla="*/ 691 h 3691"/>
                  <a:gd name="T44" fmla="*/ 4670 w 4799"/>
                  <a:gd name="T45" fmla="*/ 307 h 3691"/>
                  <a:gd name="T46" fmla="*/ 4492 w 4799"/>
                  <a:gd name="T47" fmla="*/ 128 h 3691"/>
                  <a:gd name="T48" fmla="*/ 307 w 4799"/>
                  <a:gd name="T49" fmla="*/ 128 h 3691"/>
                  <a:gd name="T50" fmla="*/ 129 w 4799"/>
                  <a:gd name="T51" fmla="*/ 307 h 3691"/>
                  <a:gd name="T52" fmla="*/ 129 w 4799"/>
                  <a:gd name="T53" fmla="*/ 307 h 3691"/>
                  <a:gd name="T54" fmla="*/ 4799 w 4799"/>
                  <a:gd name="T55" fmla="*/ 307 h 3691"/>
                  <a:gd name="T56" fmla="*/ 4799 w 4799"/>
                  <a:gd name="T57" fmla="*/ 307 h 3691"/>
                  <a:gd name="T58" fmla="*/ 4799 w 4799"/>
                  <a:gd name="T59" fmla="*/ 3383 h 3691"/>
                  <a:gd name="T60" fmla="*/ 4492 w 4799"/>
                  <a:gd name="T61" fmla="*/ 3691 h 3691"/>
                  <a:gd name="T62" fmla="*/ 307 w 4799"/>
                  <a:gd name="T63" fmla="*/ 3691 h 3691"/>
                  <a:gd name="T64" fmla="*/ 0 w 4799"/>
                  <a:gd name="T65" fmla="*/ 3383 h 3691"/>
                  <a:gd name="T66" fmla="*/ 0 w 4799"/>
                  <a:gd name="T67" fmla="*/ 307 h 3691"/>
                  <a:gd name="T68" fmla="*/ 307 w 4799"/>
                  <a:gd name="T69" fmla="*/ 0 h 3691"/>
                  <a:gd name="T70" fmla="*/ 4492 w 4799"/>
                  <a:gd name="T71" fmla="*/ 0 h 3691"/>
                  <a:gd name="T72" fmla="*/ 4799 w 4799"/>
                  <a:gd name="T73" fmla="*/ 307 h 3691"/>
                  <a:gd name="T74" fmla="*/ 4799 w 4799"/>
                  <a:gd name="T75" fmla="*/ 307 h 3691"/>
                  <a:gd name="T76" fmla="*/ 1691 w 4799"/>
                  <a:gd name="T77" fmla="*/ 1896 h 3691"/>
                  <a:gd name="T78" fmla="*/ 1691 w 4799"/>
                  <a:gd name="T79" fmla="*/ 1896 h 3691"/>
                  <a:gd name="T80" fmla="*/ 938 w 4799"/>
                  <a:gd name="T81" fmla="*/ 2455 h 3691"/>
                  <a:gd name="T82" fmla="*/ 900 w 4799"/>
                  <a:gd name="T83" fmla="*/ 2468 h 3691"/>
                  <a:gd name="T84" fmla="*/ 848 w 4799"/>
                  <a:gd name="T85" fmla="*/ 2442 h 3691"/>
                  <a:gd name="T86" fmla="*/ 861 w 4799"/>
                  <a:gd name="T87" fmla="*/ 2351 h 3691"/>
                  <a:gd name="T88" fmla="*/ 1545 w 4799"/>
                  <a:gd name="T89" fmla="*/ 1843 h 3691"/>
                  <a:gd name="T90" fmla="*/ 902 w 4799"/>
                  <a:gd name="T91" fmla="*/ 1353 h 3691"/>
                  <a:gd name="T92" fmla="*/ 890 w 4799"/>
                  <a:gd name="T93" fmla="*/ 1263 h 3691"/>
                  <a:gd name="T94" fmla="*/ 981 w 4799"/>
                  <a:gd name="T95" fmla="*/ 1250 h 3691"/>
                  <a:gd name="T96" fmla="*/ 1692 w 4799"/>
                  <a:gd name="T97" fmla="*/ 1793 h 3691"/>
                  <a:gd name="T98" fmla="*/ 1717 w 4799"/>
                  <a:gd name="T99" fmla="*/ 1844 h 3691"/>
                  <a:gd name="T100" fmla="*/ 1691 w 4799"/>
                  <a:gd name="T101" fmla="*/ 1896 h 3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99" h="3691">
                    <a:moveTo>
                      <a:pt x="3360" y="2528"/>
                    </a:moveTo>
                    <a:lnTo>
                      <a:pt x="3360" y="2528"/>
                    </a:lnTo>
                    <a:lnTo>
                      <a:pt x="1431" y="2528"/>
                    </a:lnTo>
                    <a:cubicBezTo>
                      <a:pt x="1396" y="2528"/>
                      <a:pt x="1367" y="2557"/>
                      <a:pt x="1367" y="2593"/>
                    </a:cubicBezTo>
                    <a:cubicBezTo>
                      <a:pt x="1367" y="2628"/>
                      <a:pt x="1396" y="2657"/>
                      <a:pt x="1431" y="2657"/>
                    </a:cubicBezTo>
                    <a:lnTo>
                      <a:pt x="3360" y="2657"/>
                    </a:lnTo>
                    <a:cubicBezTo>
                      <a:pt x="3396" y="2657"/>
                      <a:pt x="3425" y="2628"/>
                      <a:pt x="3425" y="2593"/>
                    </a:cubicBezTo>
                    <a:cubicBezTo>
                      <a:pt x="3425" y="2557"/>
                      <a:pt x="3396" y="2528"/>
                      <a:pt x="3360" y="2528"/>
                    </a:cubicBezTo>
                    <a:lnTo>
                      <a:pt x="3360" y="2528"/>
                    </a:lnTo>
                    <a:close/>
                    <a:moveTo>
                      <a:pt x="4670" y="3383"/>
                    </a:moveTo>
                    <a:lnTo>
                      <a:pt x="4670" y="3383"/>
                    </a:lnTo>
                    <a:lnTo>
                      <a:pt x="4670" y="820"/>
                    </a:lnTo>
                    <a:lnTo>
                      <a:pt x="129" y="820"/>
                    </a:lnTo>
                    <a:lnTo>
                      <a:pt x="129" y="3383"/>
                    </a:lnTo>
                    <a:cubicBezTo>
                      <a:pt x="129" y="3481"/>
                      <a:pt x="209" y="3561"/>
                      <a:pt x="307" y="3561"/>
                    </a:cubicBezTo>
                    <a:lnTo>
                      <a:pt x="4492" y="3561"/>
                    </a:lnTo>
                    <a:cubicBezTo>
                      <a:pt x="4590" y="3561"/>
                      <a:pt x="4670" y="3481"/>
                      <a:pt x="4670" y="3383"/>
                    </a:cubicBezTo>
                    <a:lnTo>
                      <a:pt x="4670" y="3383"/>
                    </a:lnTo>
                    <a:close/>
                    <a:moveTo>
                      <a:pt x="129" y="307"/>
                    </a:moveTo>
                    <a:lnTo>
                      <a:pt x="129" y="307"/>
                    </a:lnTo>
                    <a:lnTo>
                      <a:pt x="129" y="691"/>
                    </a:lnTo>
                    <a:lnTo>
                      <a:pt x="4670" y="691"/>
                    </a:lnTo>
                    <a:lnTo>
                      <a:pt x="4670" y="307"/>
                    </a:lnTo>
                    <a:cubicBezTo>
                      <a:pt x="4670" y="209"/>
                      <a:pt x="4590" y="128"/>
                      <a:pt x="4492" y="128"/>
                    </a:cubicBezTo>
                    <a:lnTo>
                      <a:pt x="307" y="128"/>
                    </a:lnTo>
                    <a:cubicBezTo>
                      <a:pt x="209" y="128"/>
                      <a:pt x="129" y="209"/>
                      <a:pt x="129" y="307"/>
                    </a:cubicBezTo>
                    <a:lnTo>
                      <a:pt x="129" y="307"/>
                    </a:lnTo>
                    <a:close/>
                    <a:moveTo>
                      <a:pt x="4799" y="307"/>
                    </a:moveTo>
                    <a:lnTo>
                      <a:pt x="4799" y="307"/>
                    </a:lnTo>
                    <a:lnTo>
                      <a:pt x="4799" y="3383"/>
                    </a:lnTo>
                    <a:cubicBezTo>
                      <a:pt x="4799" y="3553"/>
                      <a:pt x="4661" y="3691"/>
                      <a:pt x="4492" y="3691"/>
                    </a:cubicBezTo>
                    <a:lnTo>
                      <a:pt x="307" y="3691"/>
                    </a:lnTo>
                    <a:cubicBezTo>
                      <a:pt x="138" y="3691"/>
                      <a:pt x="0" y="3553"/>
                      <a:pt x="0" y="3383"/>
                    </a:cubicBezTo>
                    <a:lnTo>
                      <a:pt x="0" y="307"/>
                    </a:lnTo>
                    <a:cubicBezTo>
                      <a:pt x="0" y="137"/>
                      <a:pt x="138" y="0"/>
                      <a:pt x="307" y="0"/>
                    </a:cubicBezTo>
                    <a:lnTo>
                      <a:pt x="4492" y="0"/>
                    </a:lnTo>
                    <a:cubicBezTo>
                      <a:pt x="4661" y="0"/>
                      <a:pt x="4799" y="137"/>
                      <a:pt x="4799" y="307"/>
                    </a:cubicBezTo>
                    <a:lnTo>
                      <a:pt x="4799" y="307"/>
                    </a:lnTo>
                    <a:close/>
                    <a:moveTo>
                      <a:pt x="1691" y="1896"/>
                    </a:moveTo>
                    <a:lnTo>
                      <a:pt x="1691" y="1896"/>
                    </a:lnTo>
                    <a:lnTo>
                      <a:pt x="938" y="2455"/>
                    </a:lnTo>
                    <a:cubicBezTo>
                      <a:pt x="926" y="2464"/>
                      <a:pt x="913" y="2468"/>
                      <a:pt x="900" y="2468"/>
                    </a:cubicBezTo>
                    <a:cubicBezTo>
                      <a:pt x="880" y="2468"/>
                      <a:pt x="860" y="2459"/>
                      <a:pt x="848" y="2442"/>
                    </a:cubicBezTo>
                    <a:cubicBezTo>
                      <a:pt x="826" y="2413"/>
                      <a:pt x="832" y="2373"/>
                      <a:pt x="861" y="2351"/>
                    </a:cubicBezTo>
                    <a:lnTo>
                      <a:pt x="1545" y="1843"/>
                    </a:lnTo>
                    <a:lnTo>
                      <a:pt x="902" y="1353"/>
                    </a:lnTo>
                    <a:cubicBezTo>
                      <a:pt x="874" y="1331"/>
                      <a:pt x="869" y="1291"/>
                      <a:pt x="890" y="1263"/>
                    </a:cubicBezTo>
                    <a:cubicBezTo>
                      <a:pt x="912" y="1234"/>
                      <a:pt x="952" y="1229"/>
                      <a:pt x="981" y="1250"/>
                    </a:cubicBezTo>
                    <a:lnTo>
                      <a:pt x="1692" y="1793"/>
                    </a:lnTo>
                    <a:cubicBezTo>
                      <a:pt x="1708" y="1805"/>
                      <a:pt x="1717" y="1824"/>
                      <a:pt x="1717" y="1844"/>
                    </a:cubicBezTo>
                    <a:cubicBezTo>
                      <a:pt x="1717" y="1865"/>
                      <a:pt x="1707" y="1884"/>
                      <a:pt x="1691" y="189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Calibri Light"/>
                  <a:ea typeface="+mn-ea"/>
                  <a:cs typeface="+mn-cs"/>
                </a:endParaRPr>
              </a:p>
            </p:txBody>
          </p:sp>
          <p:sp>
            <p:nvSpPr>
              <p:cNvPr id="204" name="Rectangle 203">
                <a:extLst>
                  <a:ext uri="{FF2B5EF4-FFF2-40B4-BE49-F238E27FC236}">
                    <a16:creationId xmlns:a16="http://schemas.microsoft.com/office/drawing/2014/main" id="{59B26148-68F5-431E-9E1F-4E6EEC5D90B1}"/>
                  </a:ext>
                </a:extLst>
              </p:cNvPr>
              <p:cNvSpPr/>
              <p:nvPr/>
            </p:nvSpPr>
            <p:spPr>
              <a:xfrm>
                <a:off x="9712345" y="5028188"/>
                <a:ext cx="911554" cy="387445"/>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FFFFFF"/>
                    </a:solidFill>
                    <a:effectLst/>
                    <a:uLnTx/>
                    <a:uFillTx/>
                    <a:latin typeface="Calibri Light"/>
                    <a:ea typeface="+mn-ea"/>
                    <a:cs typeface="+mn-cs"/>
                  </a:rPr>
                  <a:t>RESTful API</a:t>
                </a:r>
              </a:p>
            </p:txBody>
          </p:sp>
        </p:grpSp>
        <p:grpSp>
          <p:nvGrpSpPr>
            <p:cNvPr id="184" name="Group 183">
              <a:extLst>
                <a:ext uri="{FF2B5EF4-FFF2-40B4-BE49-F238E27FC236}">
                  <a16:creationId xmlns:a16="http://schemas.microsoft.com/office/drawing/2014/main" id="{279C6639-2B56-4CDA-B455-951CE9546C29}"/>
                </a:ext>
              </a:extLst>
            </p:cNvPr>
            <p:cNvGrpSpPr/>
            <p:nvPr/>
          </p:nvGrpSpPr>
          <p:grpSpPr>
            <a:xfrm>
              <a:off x="9879098" y="2327239"/>
              <a:ext cx="659684" cy="622581"/>
              <a:chOff x="9804874" y="1353088"/>
              <a:chExt cx="751001" cy="762589"/>
            </a:xfrm>
          </p:grpSpPr>
          <p:sp>
            <p:nvSpPr>
              <p:cNvPr id="201" name="Freeform 17">
                <a:extLst>
                  <a:ext uri="{FF2B5EF4-FFF2-40B4-BE49-F238E27FC236}">
                    <a16:creationId xmlns:a16="http://schemas.microsoft.com/office/drawing/2014/main" id="{20F6D915-9709-45A7-AC39-6B60E619BAEF}"/>
                  </a:ext>
                </a:extLst>
              </p:cNvPr>
              <p:cNvSpPr>
                <a:spLocks noChangeAspect="1" noEditPoints="1"/>
              </p:cNvSpPr>
              <p:nvPr/>
            </p:nvSpPr>
            <p:spPr bwMode="auto">
              <a:xfrm>
                <a:off x="9954645" y="1353088"/>
                <a:ext cx="447496" cy="371482"/>
              </a:xfrm>
              <a:custGeom>
                <a:avLst/>
                <a:gdLst>
                  <a:gd name="T0" fmla="*/ 3185 w 4799"/>
                  <a:gd name="T1" fmla="*/ 1250 h 3979"/>
                  <a:gd name="T2" fmla="*/ 2338 w 4799"/>
                  <a:gd name="T3" fmla="*/ 1173 h 3979"/>
                  <a:gd name="T4" fmla="*/ 3223 w 4799"/>
                  <a:gd name="T5" fmla="*/ 1211 h 3979"/>
                  <a:gd name="T6" fmla="*/ 3185 w 4799"/>
                  <a:gd name="T7" fmla="*/ 1026 h 3979"/>
                  <a:gd name="T8" fmla="*/ 2338 w 4799"/>
                  <a:gd name="T9" fmla="*/ 948 h 3979"/>
                  <a:gd name="T10" fmla="*/ 3223 w 4799"/>
                  <a:gd name="T11" fmla="*/ 987 h 3979"/>
                  <a:gd name="T12" fmla="*/ 3235 w 4799"/>
                  <a:gd name="T13" fmla="*/ 1547 h 3979"/>
                  <a:gd name="T14" fmla="*/ 2490 w 4799"/>
                  <a:gd name="T15" fmla="*/ 1845 h 3979"/>
                  <a:gd name="T16" fmla="*/ 2275 w 4799"/>
                  <a:gd name="T17" fmla="*/ 1547 h 3979"/>
                  <a:gd name="T18" fmla="*/ 2275 w 4799"/>
                  <a:gd name="T19" fmla="*/ 677 h 3979"/>
                  <a:gd name="T20" fmla="*/ 3342 w 4799"/>
                  <a:gd name="T21" fmla="*/ 1440 h 3979"/>
                  <a:gd name="T22" fmla="*/ 3235 w 4799"/>
                  <a:gd name="T23" fmla="*/ 600 h 3979"/>
                  <a:gd name="T24" fmla="*/ 2091 w 4799"/>
                  <a:gd name="T25" fmla="*/ 1440 h 3979"/>
                  <a:gd name="T26" fmla="*/ 2413 w 4799"/>
                  <a:gd name="T27" fmla="*/ 1938 h 3979"/>
                  <a:gd name="T28" fmla="*/ 2479 w 4799"/>
                  <a:gd name="T29" fmla="*/ 1966 h 3979"/>
                  <a:gd name="T30" fmla="*/ 3419 w 4799"/>
                  <a:gd name="T31" fmla="*/ 1440 h 3979"/>
                  <a:gd name="T32" fmla="*/ 3235 w 4799"/>
                  <a:gd name="T33" fmla="*/ 600 h 3979"/>
                  <a:gd name="T34" fmla="*/ 2313 w 4799"/>
                  <a:gd name="T35" fmla="*/ 3310 h 3979"/>
                  <a:gd name="T36" fmla="*/ 2399 w 4799"/>
                  <a:gd name="T37" fmla="*/ 3396 h 3979"/>
                  <a:gd name="T38" fmla="*/ 2399 w 4799"/>
                  <a:gd name="T39" fmla="*/ 3147 h 3979"/>
                  <a:gd name="T40" fmla="*/ 2562 w 4799"/>
                  <a:gd name="T41" fmla="*/ 3310 h 3979"/>
                  <a:gd name="T42" fmla="*/ 4317 w 4799"/>
                  <a:gd name="T43" fmla="*/ 2816 h 3979"/>
                  <a:gd name="T44" fmla="*/ 602 w 4799"/>
                  <a:gd name="T45" fmla="*/ 2940 h 3979"/>
                  <a:gd name="T46" fmla="*/ 602 w 4799"/>
                  <a:gd name="T47" fmla="*/ 498 h 3979"/>
                  <a:gd name="T48" fmla="*/ 4317 w 4799"/>
                  <a:gd name="T49" fmla="*/ 2816 h 3979"/>
                  <a:gd name="T50" fmla="*/ 4193 w 4799"/>
                  <a:gd name="T51" fmla="*/ 363 h 3979"/>
                  <a:gd name="T52" fmla="*/ 343 w 4799"/>
                  <a:gd name="T53" fmla="*/ 2816 h 3979"/>
                  <a:gd name="T54" fmla="*/ 4452 w 4799"/>
                  <a:gd name="T55" fmla="*/ 2816 h 3979"/>
                  <a:gd name="T56" fmla="*/ 4193 w 4799"/>
                  <a:gd name="T57" fmla="*/ 363 h 3979"/>
                  <a:gd name="T58" fmla="*/ 3564 w 4799"/>
                  <a:gd name="T59" fmla="*/ 3979 h 3979"/>
                  <a:gd name="T60" fmla="*/ 1157 w 4799"/>
                  <a:gd name="T61" fmla="*/ 3844 h 3979"/>
                  <a:gd name="T62" fmla="*/ 3632 w 4799"/>
                  <a:gd name="T63" fmla="*/ 3912 h 3979"/>
                  <a:gd name="T64" fmla="*/ 4487 w 4799"/>
                  <a:gd name="T65" fmla="*/ 3579 h 3979"/>
                  <a:gd name="T66" fmla="*/ 135 w 4799"/>
                  <a:gd name="T67" fmla="*/ 312 h 3979"/>
                  <a:gd name="T68" fmla="*/ 4664 w 4799"/>
                  <a:gd name="T69" fmla="*/ 312 h 3979"/>
                  <a:gd name="T70" fmla="*/ 4487 w 4799"/>
                  <a:gd name="T71" fmla="*/ 0 h 3979"/>
                  <a:gd name="T72" fmla="*/ 0 w 4799"/>
                  <a:gd name="T73" fmla="*/ 312 h 3979"/>
                  <a:gd name="T74" fmla="*/ 4487 w 4799"/>
                  <a:gd name="T75" fmla="*/ 3714 h 3979"/>
                  <a:gd name="T76" fmla="*/ 4487 w 4799"/>
                  <a:gd name="T77" fmla="*/ 0 h 3979"/>
                  <a:gd name="T78" fmla="*/ 1875 w 4799"/>
                  <a:gd name="T79" fmla="*/ 2313 h 3979"/>
                  <a:gd name="T80" fmla="*/ 1816 w 4799"/>
                  <a:gd name="T81" fmla="*/ 2254 h 3979"/>
                  <a:gd name="T82" fmla="*/ 1601 w 4799"/>
                  <a:gd name="T83" fmla="*/ 2313 h 3979"/>
                  <a:gd name="T84" fmla="*/ 1483 w 4799"/>
                  <a:gd name="T85" fmla="*/ 2313 h 3979"/>
                  <a:gd name="T86" fmla="*/ 1601 w 4799"/>
                  <a:gd name="T87" fmla="*/ 2313 h 3979"/>
                  <a:gd name="T88" fmla="*/ 1598 w 4799"/>
                  <a:gd name="T89" fmla="*/ 2745 h 3979"/>
                  <a:gd name="T90" fmla="*/ 1269 w 4799"/>
                  <a:gd name="T91" fmla="*/ 2158 h 3979"/>
                  <a:gd name="T92" fmla="*/ 2059 w 4799"/>
                  <a:gd name="T93" fmla="*/ 2284 h 3979"/>
                  <a:gd name="T94" fmla="*/ 982 w 4799"/>
                  <a:gd name="T95" fmla="*/ 2254 h 3979"/>
                  <a:gd name="T96" fmla="*/ 1080 w 4799"/>
                  <a:gd name="T97" fmla="*/ 1841 h 3979"/>
                  <a:gd name="T98" fmla="*/ 2104 w 4799"/>
                  <a:gd name="T99" fmla="*/ 1718 h 3979"/>
                  <a:gd name="T100" fmla="*/ 1228 w 4799"/>
                  <a:gd name="T101" fmla="*/ 2075 h 3979"/>
                  <a:gd name="T102" fmla="*/ 1105 w 4799"/>
                  <a:gd name="T103" fmla="*/ 2335 h 3979"/>
                  <a:gd name="T104" fmla="*/ 982 w 4799"/>
                  <a:gd name="T105" fmla="*/ 2254 h 3979"/>
                  <a:gd name="T106" fmla="*/ 1202 w 4799"/>
                  <a:gd name="T107" fmla="*/ 1635 h 3979"/>
                  <a:gd name="T108" fmla="*/ 899 w 4799"/>
                  <a:gd name="T109" fmla="*/ 2254 h 3979"/>
                  <a:gd name="T110" fmla="*/ 1598 w 4799"/>
                  <a:gd name="T111" fmla="*/ 2828 h 3979"/>
                  <a:gd name="T112" fmla="*/ 2187 w 4799"/>
                  <a:gd name="T113" fmla="*/ 1994 h 3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99" h="3979">
                    <a:moveTo>
                      <a:pt x="3223" y="1211"/>
                    </a:moveTo>
                    <a:lnTo>
                      <a:pt x="3223" y="1211"/>
                    </a:lnTo>
                    <a:cubicBezTo>
                      <a:pt x="3223" y="1233"/>
                      <a:pt x="3206" y="1250"/>
                      <a:pt x="3185" y="1250"/>
                    </a:cubicBezTo>
                    <a:lnTo>
                      <a:pt x="2338" y="1250"/>
                    </a:lnTo>
                    <a:cubicBezTo>
                      <a:pt x="2317" y="1250"/>
                      <a:pt x="2299" y="1233"/>
                      <a:pt x="2299" y="1211"/>
                    </a:cubicBezTo>
                    <a:cubicBezTo>
                      <a:pt x="2299" y="1190"/>
                      <a:pt x="2317" y="1173"/>
                      <a:pt x="2338" y="1173"/>
                    </a:cubicBezTo>
                    <a:lnTo>
                      <a:pt x="3185" y="1173"/>
                    </a:lnTo>
                    <a:cubicBezTo>
                      <a:pt x="3206" y="1173"/>
                      <a:pt x="3223" y="1190"/>
                      <a:pt x="3223" y="1211"/>
                    </a:cubicBezTo>
                    <a:lnTo>
                      <a:pt x="3223" y="1211"/>
                    </a:lnTo>
                    <a:close/>
                    <a:moveTo>
                      <a:pt x="3223" y="987"/>
                    </a:moveTo>
                    <a:lnTo>
                      <a:pt x="3223" y="987"/>
                    </a:lnTo>
                    <a:cubicBezTo>
                      <a:pt x="3223" y="1008"/>
                      <a:pt x="3206" y="1026"/>
                      <a:pt x="3185" y="1026"/>
                    </a:cubicBezTo>
                    <a:lnTo>
                      <a:pt x="2338" y="1026"/>
                    </a:lnTo>
                    <a:cubicBezTo>
                      <a:pt x="2317" y="1026"/>
                      <a:pt x="2299" y="1008"/>
                      <a:pt x="2299" y="987"/>
                    </a:cubicBezTo>
                    <a:cubicBezTo>
                      <a:pt x="2299" y="966"/>
                      <a:pt x="2317" y="948"/>
                      <a:pt x="2338" y="948"/>
                    </a:cubicBezTo>
                    <a:lnTo>
                      <a:pt x="3185" y="948"/>
                    </a:lnTo>
                    <a:cubicBezTo>
                      <a:pt x="3206" y="948"/>
                      <a:pt x="3223" y="966"/>
                      <a:pt x="3223" y="987"/>
                    </a:cubicBezTo>
                    <a:lnTo>
                      <a:pt x="3223" y="987"/>
                    </a:lnTo>
                    <a:close/>
                    <a:moveTo>
                      <a:pt x="3342" y="1440"/>
                    </a:moveTo>
                    <a:lnTo>
                      <a:pt x="3342" y="1440"/>
                    </a:lnTo>
                    <a:cubicBezTo>
                      <a:pt x="3342" y="1499"/>
                      <a:pt x="3294" y="1547"/>
                      <a:pt x="3235" y="1547"/>
                    </a:cubicBezTo>
                    <a:lnTo>
                      <a:pt x="2805" y="1547"/>
                    </a:lnTo>
                    <a:cubicBezTo>
                      <a:pt x="2795" y="1547"/>
                      <a:pt x="2785" y="1551"/>
                      <a:pt x="2778" y="1558"/>
                    </a:cubicBezTo>
                    <a:lnTo>
                      <a:pt x="2490" y="1845"/>
                    </a:lnTo>
                    <a:lnTo>
                      <a:pt x="2490" y="1586"/>
                    </a:lnTo>
                    <a:cubicBezTo>
                      <a:pt x="2490" y="1564"/>
                      <a:pt x="2473" y="1547"/>
                      <a:pt x="2452" y="1547"/>
                    </a:cubicBezTo>
                    <a:lnTo>
                      <a:pt x="2275" y="1547"/>
                    </a:lnTo>
                    <a:cubicBezTo>
                      <a:pt x="2216" y="1547"/>
                      <a:pt x="2168" y="1499"/>
                      <a:pt x="2168" y="1440"/>
                    </a:cubicBezTo>
                    <a:lnTo>
                      <a:pt x="2168" y="784"/>
                    </a:lnTo>
                    <a:cubicBezTo>
                      <a:pt x="2168" y="725"/>
                      <a:pt x="2216" y="677"/>
                      <a:pt x="2275" y="677"/>
                    </a:cubicBezTo>
                    <a:lnTo>
                      <a:pt x="3235" y="677"/>
                    </a:lnTo>
                    <a:cubicBezTo>
                      <a:pt x="3294" y="677"/>
                      <a:pt x="3342" y="725"/>
                      <a:pt x="3342" y="784"/>
                    </a:cubicBezTo>
                    <a:lnTo>
                      <a:pt x="3342" y="1440"/>
                    </a:lnTo>
                    <a:lnTo>
                      <a:pt x="3342" y="1440"/>
                    </a:lnTo>
                    <a:close/>
                    <a:moveTo>
                      <a:pt x="3235" y="600"/>
                    </a:moveTo>
                    <a:lnTo>
                      <a:pt x="3235" y="600"/>
                    </a:lnTo>
                    <a:lnTo>
                      <a:pt x="2275" y="600"/>
                    </a:lnTo>
                    <a:cubicBezTo>
                      <a:pt x="2174" y="600"/>
                      <a:pt x="2091" y="683"/>
                      <a:pt x="2091" y="784"/>
                    </a:cubicBezTo>
                    <a:lnTo>
                      <a:pt x="2091" y="1440"/>
                    </a:lnTo>
                    <a:cubicBezTo>
                      <a:pt x="2091" y="1542"/>
                      <a:pt x="2174" y="1624"/>
                      <a:pt x="2275" y="1624"/>
                    </a:cubicBezTo>
                    <a:lnTo>
                      <a:pt x="2413" y="1624"/>
                    </a:lnTo>
                    <a:lnTo>
                      <a:pt x="2413" y="1938"/>
                    </a:lnTo>
                    <a:cubicBezTo>
                      <a:pt x="2413" y="1954"/>
                      <a:pt x="2423" y="1968"/>
                      <a:pt x="2437" y="1974"/>
                    </a:cubicBezTo>
                    <a:cubicBezTo>
                      <a:pt x="2442" y="1976"/>
                      <a:pt x="2447" y="1977"/>
                      <a:pt x="2452" y="1977"/>
                    </a:cubicBezTo>
                    <a:cubicBezTo>
                      <a:pt x="2462" y="1977"/>
                      <a:pt x="2472" y="1973"/>
                      <a:pt x="2479" y="1966"/>
                    </a:cubicBezTo>
                    <a:lnTo>
                      <a:pt x="2821" y="1624"/>
                    </a:lnTo>
                    <a:lnTo>
                      <a:pt x="3235" y="1624"/>
                    </a:lnTo>
                    <a:cubicBezTo>
                      <a:pt x="3336" y="1624"/>
                      <a:pt x="3419" y="1542"/>
                      <a:pt x="3419" y="1440"/>
                    </a:cubicBezTo>
                    <a:lnTo>
                      <a:pt x="3419" y="784"/>
                    </a:lnTo>
                    <a:cubicBezTo>
                      <a:pt x="3419" y="683"/>
                      <a:pt x="3336" y="600"/>
                      <a:pt x="3235" y="600"/>
                    </a:cubicBezTo>
                    <a:lnTo>
                      <a:pt x="3235" y="600"/>
                    </a:lnTo>
                    <a:close/>
                    <a:moveTo>
                      <a:pt x="2399" y="3396"/>
                    </a:moveTo>
                    <a:lnTo>
                      <a:pt x="2399" y="3396"/>
                    </a:lnTo>
                    <a:cubicBezTo>
                      <a:pt x="2352" y="3396"/>
                      <a:pt x="2313" y="3357"/>
                      <a:pt x="2313" y="3310"/>
                    </a:cubicBezTo>
                    <a:cubicBezTo>
                      <a:pt x="2313" y="3262"/>
                      <a:pt x="2352" y="3224"/>
                      <a:pt x="2399" y="3224"/>
                    </a:cubicBezTo>
                    <a:cubicBezTo>
                      <a:pt x="2447" y="3224"/>
                      <a:pt x="2485" y="3262"/>
                      <a:pt x="2485" y="3310"/>
                    </a:cubicBezTo>
                    <a:cubicBezTo>
                      <a:pt x="2485" y="3357"/>
                      <a:pt x="2447" y="3396"/>
                      <a:pt x="2399" y="3396"/>
                    </a:cubicBezTo>
                    <a:lnTo>
                      <a:pt x="2399" y="3396"/>
                    </a:lnTo>
                    <a:close/>
                    <a:moveTo>
                      <a:pt x="2399" y="3147"/>
                    </a:moveTo>
                    <a:lnTo>
                      <a:pt x="2399" y="3147"/>
                    </a:lnTo>
                    <a:cubicBezTo>
                      <a:pt x="2309" y="3147"/>
                      <a:pt x="2237" y="3220"/>
                      <a:pt x="2237" y="3310"/>
                    </a:cubicBezTo>
                    <a:cubicBezTo>
                      <a:pt x="2237" y="3399"/>
                      <a:pt x="2309" y="3472"/>
                      <a:pt x="2399" y="3472"/>
                    </a:cubicBezTo>
                    <a:cubicBezTo>
                      <a:pt x="2489" y="3472"/>
                      <a:pt x="2562" y="3399"/>
                      <a:pt x="2562" y="3310"/>
                    </a:cubicBezTo>
                    <a:cubicBezTo>
                      <a:pt x="2562" y="3220"/>
                      <a:pt x="2489" y="3147"/>
                      <a:pt x="2399" y="3147"/>
                    </a:cubicBezTo>
                    <a:lnTo>
                      <a:pt x="2399" y="3147"/>
                    </a:lnTo>
                    <a:close/>
                    <a:moveTo>
                      <a:pt x="4317" y="2816"/>
                    </a:moveTo>
                    <a:lnTo>
                      <a:pt x="4317" y="2816"/>
                    </a:lnTo>
                    <a:cubicBezTo>
                      <a:pt x="4317" y="2884"/>
                      <a:pt x="4261" y="2940"/>
                      <a:pt x="4193" y="2940"/>
                    </a:cubicBezTo>
                    <a:lnTo>
                      <a:pt x="602" y="2940"/>
                    </a:lnTo>
                    <a:cubicBezTo>
                      <a:pt x="534" y="2940"/>
                      <a:pt x="478" y="2884"/>
                      <a:pt x="478" y="2816"/>
                    </a:cubicBezTo>
                    <a:lnTo>
                      <a:pt x="478" y="622"/>
                    </a:lnTo>
                    <a:cubicBezTo>
                      <a:pt x="478" y="554"/>
                      <a:pt x="534" y="498"/>
                      <a:pt x="602" y="498"/>
                    </a:cubicBezTo>
                    <a:lnTo>
                      <a:pt x="4193" y="498"/>
                    </a:lnTo>
                    <a:cubicBezTo>
                      <a:pt x="4261" y="498"/>
                      <a:pt x="4317" y="554"/>
                      <a:pt x="4317" y="622"/>
                    </a:cubicBezTo>
                    <a:lnTo>
                      <a:pt x="4317" y="2816"/>
                    </a:lnTo>
                    <a:lnTo>
                      <a:pt x="4317" y="2816"/>
                    </a:lnTo>
                    <a:close/>
                    <a:moveTo>
                      <a:pt x="4193" y="363"/>
                    </a:moveTo>
                    <a:lnTo>
                      <a:pt x="4193" y="363"/>
                    </a:lnTo>
                    <a:lnTo>
                      <a:pt x="602" y="363"/>
                    </a:lnTo>
                    <a:cubicBezTo>
                      <a:pt x="459" y="363"/>
                      <a:pt x="343" y="479"/>
                      <a:pt x="343" y="622"/>
                    </a:cubicBezTo>
                    <a:lnTo>
                      <a:pt x="343" y="2816"/>
                    </a:lnTo>
                    <a:cubicBezTo>
                      <a:pt x="343" y="2959"/>
                      <a:pt x="459" y="3075"/>
                      <a:pt x="602" y="3075"/>
                    </a:cubicBezTo>
                    <a:lnTo>
                      <a:pt x="4193" y="3075"/>
                    </a:lnTo>
                    <a:cubicBezTo>
                      <a:pt x="4336" y="3075"/>
                      <a:pt x="4452" y="2959"/>
                      <a:pt x="4452" y="2816"/>
                    </a:cubicBezTo>
                    <a:lnTo>
                      <a:pt x="4452" y="622"/>
                    </a:lnTo>
                    <a:cubicBezTo>
                      <a:pt x="4452" y="479"/>
                      <a:pt x="4336" y="363"/>
                      <a:pt x="4193" y="363"/>
                    </a:cubicBezTo>
                    <a:lnTo>
                      <a:pt x="4193" y="363"/>
                    </a:lnTo>
                    <a:close/>
                    <a:moveTo>
                      <a:pt x="3632" y="3912"/>
                    </a:moveTo>
                    <a:lnTo>
                      <a:pt x="3632" y="3912"/>
                    </a:lnTo>
                    <a:cubicBezTo>
                      <a:pt x="3632" y="3949"/>
                      <a:pt x="3601" y="3979"/>
                      <a:pt x="3564" y="3979"/>
                    </a:cubicBezTo>
                    <a:lnTo>
                      <a:pt x="1157" y="3979"/>
                    </a:lnTo>
                    <a:cubicBezTo>
                      <a:pt x="1120" y="3979"/>
                      <a:pt x="1089" y="3949"/>
                      <a:pt x="1089" y="3912"/>
                    </a:cubicBezTo>
                    <a:cubicBezTo>
                      <a:pt x="1089" y="3875"/>
                      <a:pt x="1120" y="3844"/>
                      <a:pt x="1157" y="3844"/>
                    </a:cubicBezTo>
                    <a:lnTo>
                      <a:pt x="3564" y="3844"/>
                    </a:lnTo>
                    <a:cubicBezTo>
                      <a:pt x="3601" y="3844"/>
                      <a:pt x="3632" y="3875"/>
                      <a:pt x="3632" y="3912"/>
                    </a:cubicBezTo>
                    <a:lnTo>
                      <a:pt x="3632" y="3912"/>
                    </a:lnTo>
                    <a:close/>
                    <a:moveTo>
                      <a:pt x="4664" y="3401"/>
                    </a:moveTo>
                    <a:lnTo>
                      <a:pt x="4664" y="3401"/>
                    </a:lnTo>
                    <a:cubicBezTo>
                      <a:pt x="4664" y="3499"/>
                      <a:pt x="4585" y="3579"/>
                      <a:pt x="4487" y="3579"/>
                    </a:cubicBezTo>
                    <a:lnTo>
                      <a:pt x="312" y="3579"/>
                    </a:lnTo>
                    <a:cubicBezTo>
                      <a:pt x="214" y="3579"/>
                      <a:pt x="135" y="3499"/>
                      <a:pt x="135" y="3401"/>
                    </a:cubicBezTo>
                    <a:lnTo>
                      <a:pt x="135" y="312"/>
                    </a:lnTo>
                    <a:cubicBezTo>
                      <a:pt x="135" y="214"/>
                      <a:pt x="214" y="135"/>
                      <a:pt x="312" y="135"/>
                    </a:cubicBezTo>
                    <a:lnTo>
                      <a:pt x="4487" y="135"/>
                    </a:lnTo>
                    <a:cubicBezTo>
                      <a:pt x="4585" y="135"/>
                      <a:pt x="4664" y="214"/>
                      <a:pt x="4664" y="312"/>
                    </a:cubicBezTo>
                    <a:lnTo>
                      <a:pt x="4664" y="3401"/>
                    </a:lnTo>
                    <a:lnTo>
                      <a:pt x="4664" y="3401"/>
                    </a:lnTo>
                    <a:close/>
                    <a:moveTo>
                      <a:pt x="4487" y="0"/>
                    </a:moveTo>
                    <a:lnTo>
                      <a:pt x="4487" y="0"/>
                    </a:lnTo>
                    <a:lnTo>
                      <a:pt x="312" y="0"/>
                    </a:lnTo>
                    <a:cubicBezTo>
                      <a:pt x="140" y="0"/>
                      <a:pt x="0" y="140"/>
                      <a:pt x="0" y="312"/>
                    </a:cubicBezTo>
                    <a:lnTo>
                      <a:pt x="0" y="3401"/>
                    </a:lnTo>
                    <a:cubicBezTo>
                      <a:pt x="0" y="3574"/>
                      <a:pt x="140" y="3714"/>
                      <a:pt x="312" y="3714"/>
                    </a:cubicBezTo>
                    <a:lnTo>
                      <a:pt x="4487" y="3714"/>
                    </a:lnTo>
                    <a:cubicBezTo>
                      <a:pt x="4659" y="3714"/>
                      <a:pt x="4799" y="3574"/>
                      <a:pt x="4799" y="3401"/>
                    </a:cubicBezTo>
                    <a:lnTo>
                      <a:pt x="4799" y="312"/>
                    </a:lnTo>
                    <a:cubicBezTo>
                      <a:pt x="4799" y="140"/>
                      <a:pt x="4659" y="0"/>
                      <a:pt x="4487" y="0"/>
                    </a:cubicBezTo>
                    <a:lnTo>
                      <a:pt x="4487" y="0"/>
                    </a:lnTo>
                    <a:close/>
                    <a:moveTo>
                      <a:pt x="1875" y="2313"/>
                    </a:moveTo>
                    <a:lnTo>
                      <a:pt x="1875" y="2313"/>
                    </a:lnTo>
                    <a:cubicBezTo>
                      <a:pt x="1875" y="2345"/>
                      <a:pt x="1849" y="2371"/>
                      <a:pt x="1816" y="2371"/>
                    </a:cubicBezTo>
                    <a:cubicBezTo>
                      <a:pt x="1784" y="2371"/>
                      <a:pt x="1757" y="2345"/>
                      <a:pt x="1757" y="2313"/>
                    </a:cubicBezTo>
                    <a:cubicBezTo>
                      <a:pt x="1757" y="2280"/>
                      <a:pt x="1784" y="2254"/>
                      <a:pt x="1816" y="2254"/>
                    </a:cubicBezTo>
                    <a:cubicBezTo>
                      <a:pt x="1849" y="2254"/>
                      <a:pt x="1875" y="2280"/>
                      <a:pt x="1875" y="2313"/>
                    </a:cubicBezTo>
                    <a:lnTo>
                      <a:pt x="1875" y="2313"/>
                    </a:lnTo>
                    <a:close/>
                    <a:moveTo>
                      <a:pt x="1601" y="2313"/>
                    </a:moveTo>
                    <a:lnTo>
                      <a:pt x="1601" y="2313"/>
                    </a:lnTo>
                    <a:cubicBezTo>
                      <a:pt x="1601" y="2345"/>
                      <a:pt x="1574" y="2371"/>
                      <a:pt x="1542" y="2371"/>
                    </a:cubicBezTo>
                    <a:cubicBezTo>
                      <a:pt x="1510" y="2371"/>
                      <a:pt x="1483" y="2345"/>
                      <a:pt x="1483" y="2313"/>
                    </a:cubicBezTo>
                    <a:cubicBezTo>
                      <a:pt x="1483" y="2280"/>
                      <a:pt x="1510" y="2254"/>
                      <a:pt x="1542" y="2254"/>
                    </a:cubicBezTo>
                    <a:cubicBezTo>
                      <a:pt x="1574" y="2254"/>
                      <a:pt x="1601" y="2280"/>
                      <a:pt x="1601" y="2313"/>
                    </a:cubicBezTo>
                    <a:lnTo>
                      <a:pt x="1601" y="2313"/>
                    </a:lnTo>
                    <a:close/>
                    <a:moveTo>
                      <a:pt x="2059" y="2284"/>
                    </a:moveTo>
                    <a:lnTo>
                      <a:pt x="2059" y="2284"/>
                    </a:lnTo>
                    <a:cubicBezTo>
                      <a:pt x="2059" y="2538"/>
                      <a:pt x="1852" y="2745"/>
                      <a:pt x="1598" y="2745"/>
                    </a:cubicBezTo>
                    <a:cubicBezTo>
                      <a:pt x="1392" y="2745"/>
                      <a:pt x="1212" y="2605"/>
                      <a:pt x="1157" y="2409"/>
                    </a:cubicBezTo>
                    <a:cubicBezTo>
                      <a:pt x="1222" y="2388"/>
                      <a:pt x="1269" y="2327"/>
                      <a:pt x="1269" y="2254"/>
                    </a:cubicBezTo>
                    <a:lnTo>
                      <a:pt x="1269" y="2158"/>
                    </a:lnTo>
                    <a:lnTo>
                      <a:pt x="2023" y="2158"/>
                    </a:lnTo>
                    <a:cubicBezTo>
                      <a:pt x="2029" y="2158"/>
                      <a:pt x="2034" y="2157"/>
                      <a:pt x="2039" y="2156"/>
                    </a:cubicBezTo>
                    <a:cubicBezTo>
                      <a:pt x="2051" y="2198"/>
                      <a:pt x="2059" y="2241"/>
                      <a:pt x="2059" y="2284"/>
                    </a:cubicBezTo>
                    <a:lnTo>
                      <a:pt x="2059" y="2284"/>
                    </a:lnTo>
                    <a:close/>
                    <a:moveTo>
                      <a:pt x="982" y="2254"/>
                    </a:moveTo>
                    <a:lnTo>
                      <a:pt x="982" y="2254"/>
                    </a:lnTo>
                    <a:lnTo>
                      <a:pt x="982" y="1922"/>
                    </a:lnTo>
                    <a:cubicBezTo>
                      <a:pt x="982" y="1878"/>
                      <a:pt x="1018" y="1841"/>
                      <a:pt x="1063" y="1841"/>
                    </a:cubicBezTo>
                    <a:lnTo>
                      <a:pt x="1080" y="1841"/>
                    </a:lnTo>
                    <a:cubicBezTo>
                      <a:pt x="1103" y="1841"/>
                      <a:pt x="1121" y="1822"/>
                      <a:pt x="1121" y="1799"/>
                    </a:cubicBezTo>
                    <a:cubicBezTo>
                      <a:pt x="1121" y="1754"/>
                      <a:pt x="1158" y="1718"/>
                      <a:pt x="1202" y="1718"/>
                    </a:cubicBezTo>
                    <a:lnTo>
                      <a:pt x="2104" y="1718"/>
                    </a:lnTo>
                    <a:lnTo>
                      <a:pt x="2104" y="1994"/>
                    </a:lnTo>
                    <a:cubicBezTo>
                      <a:pt x="2104" y="2039"/>
                      <a:pt x="2068" y="2075"/>
                      <a:pt x="2023" y="2075"/>
                    </a:cubicBezTo>
                    <a:lnTo>
                      <a:pt x="1228" y="2075"/>
                    </a:lnTo>
                    <a:cubicBezTo>
                      <a:pt x="1205" y="2075"/>
                      <a:pt x="1186" y="2094"/>
                      <a:pt x="1186" y="2117"/>
                    </a:cubicBezTo>
                    <a:lnTo>
                      <a:pt x="1186" y="2254"/>
                    </a:lnTo>
                    <a:cubicBezTo>
                      <a:pt x="1186" y="2299"/>
                      <a:pt x="1150" y="2335"/>
                      <a:pt x="1105" y="2335"/>
                    </a:cubicBezTo>
                    <a:lnTo>
                      <a:pt x="1063" y="2335"/>
                    </a:lnTo>
                    <a:cubicBezTo>
                      <a:pt x="1018" y="2335"/>
                      <a:pt x="982" y="2299"/>
                      <a:pt x="982" y="2254"/>
                    </a:cubicBezTo>
                    <a:lnTo>
                      <a:pt x="982" y="2254"/>
                    </a:lnTo>
                    <a:close/>
                    <a:moveTo>
                      <a:pt x="2142" y="1635"/>
                    </a:moveTo>
                    <a:lnTo>
                      <a:pt x="2142" y="1635"/>
                    </a:lnTo>
                    <a:lnTo>
                      <a:pt x="1202" y="1635"/>
                    </a:lnTo>
                    <a:cubicBezTo>
                      <a:pt x="1126" y="1635"/>
                      <a:pt x="1061" y="1688"/>
                      <a:pt x="1043" y="1759"/>
                    </a:cubicBezTo>
                    <a:cubicBezTo>
                      <a:pt x="962" y="1769"/>
                      <a:pt x="899" y="1839"/>
                      <a:pt x="899" y="1922"/>
                    </a:cubicBezTo>
                    <a:lnTo>
                      <a:pt x="899" y="2254"/>
                    </a:lnTo>
                    <a:cubicBezTo>
                      <a:pt x="899" y="2345"/>
                      <a:pt x="973" y="2418"/>
                      <a:pt x="1063" y="2418"/>
                    </a:cubicBezTo>
                    <a:lnTo>
                      <a:pt x="1072" y="2418"/>
                    </a:lnTo>
                    <a:cubicBezTo>
                      <a:pt x="1133" y="2657"/>
                      <a:pt x="1350" y="2828"/>
                      <a:pt x="1598" y="2828"/>
                    </a:cubicBezTo>
                    <a:cubicBezTo>
                      <a:pt x="1898" y="2828"/>
                      <a:pt x="2142" y="2584"/>
                      <a:pt x="2142" y="2284"/>
                    </a:cubicBezTo>
                    <a:cubicBezTo>
                      <a:pt x="2142" y="2231"/>
                      <a:pt x="2134" y="2178"/>
                      <a:pt x="2118" y="2127"/>
                    </a:cubicBezTo>
                    <a:cubicBezTo>
                      <a:pt x="2160" y="2097"/>
                      <a:pt x="2187" y="2049"/>
                      <a:pt x="2187" y="1994"/>
                    </a:cubicBezTo>
                    <a:lnTo>
                      <a:pt x="2187" y="1680"/>
                    </a:lnTo>
                    <a:cubicBezTo>
                      <a:pt x="2187" y="1657"/>
                      <a:pt x="2165" y="1635"/>
                      <a:pt x="2142" y="1635"/>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000000"/>
                  </a:solidFill>
                  <a:effectLst/>
                  <a:uLnTx/>
                  <a:uFillTx/>
                  <a:latin typeface="Calibri Light"/>
                  <a:ea typeface="+mn-ea"/>
                  <a:cs typeface="+mn-cs"/>
                </a:endParaRPr>
              </a:p>
            </p:txBody>
          </p:sp>
          <p:sp>
            <p:nvSpPr>
              <p:cNvPr id="202" name="Rectangle 201">
                <a:extLst>
                  <a:ext uri="{FF2B5EF4-FFF2-40B4-BE49-F238E27FC236}">
                    <a16:creationId xmlns:a16="http://schemas.microsoft.com/office/drawing/2014/main" id="{572A83A0-99AA-411C-A4DA-0AF39A4904C4}"/>
                  </a:ext>
                </a:extLst>
              </p:cNvPr>
              <p:cNvSpPr/>
              <p:nvPr/>
            </p:nvSpPr>
            <p:spPr>
              <a:xfrm>
                <a:off x="9804874" y="1728231"/>
                <a:ext cx="751001" cy="387446"/>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err="1">
                    <a:ln>
                      <a:noFill/>
                    </a:ln>
                    <a:solidFill>
                      <a:srgbClr val="FFFFFF"/>
                    </a:solidFill>
                    <a:effectLst/>
                    <a:uLnTx/>
                    <a:uFillTx/>
                    <a:latin typeface="Calibri Light"/>
                    <a:ea typeface="+mn-ea"/>
                    <a:cs typeface="+mn-cs"/>
                  </a:rPr>
                  <a:t>Visu</a:t>
                </a:r>
                <a:r>
                  <a:rPr kumimoji="0" lang="pl-PL" sz="750" b="1" i="0" u="none" strike="noStrike" kern="1200" cap="none" spc="0" normalizeH="0" baseline="0" noProof="0">
                    <a:ln>
                      <a:noFill/>
                    </a:ln>
                    <a:solidFill>
                      <a:srgbClr val="FFFFFF"/>
                    </a:solidFill>
                    <a:effectLst/>
                    <a:uLnTx/>
                    <a:uFillTx/>
                    <a:latin typeface="Calibri Light"/>
                    <a:ea typeface="+mn-ea"/>
                    <a:cs typeface="+mn-cs"/>
                  </a:rPr>
                  <a:t>e</a:t>
                </a:r>
                <a:r>
                  <a:rPr kumimoji="0" lang="en-US" sz="750" b="1" i="0" u="none" strike="noStrike" kern="1200" cap="none" spc="0" normalizeH="0" baseline="0" noProof="0">
                    <a:ln>
                      <a:noFill/>
                    </a:ln>
                    <a:solidFill>
                      <a:srgbClr val="FFFFFF"/>
                    </a:solidFill>
                    <a:effectLst/>
                    <a:uLnTx/>
                    <a:uFillTx/>
                    <a:latin typeface="Calibri Light"/>
                    <a:ea typeface="+mn-ea"/>
                    <a:cs typeface="+mn-cs"/>
                  </a:rPr>
                  <a:t>l</a:t>
                </a:r>
              </a:p>
            </p:txBody>
          </p:sp>
        </p:grpSp>
        <p:grpSp>
          <p:nvGrpSpPr>
            <p:cNvPr id="185" name="Group 184">
              <a:extLst>
                <a:ext uri="{FF2B5EF4-FFF2-40B4-BE49-F238E27FC236}">
                  <a16:creationId xmlns:a16="http://schemas.microsoft.com/office/drawing/2014/main" id="{FD0983E1-AAAE-4448-A166-521CF33FBDAB}"/>
                </a:ext>
              </a:extLst>
            </p:cNvPr>
            <p:cNvGrpSpPr/>
            <p:nvPr/>
          </p:nvGrpSpPr>
          <p:grpSpPr>
            <a:xfrm>
              <a:off x="9872451" y="3192886"/>
              <a:ext cx="647743" cy="1296662"/>
              <a:chOff x="9624153" y="3328901"/>
              <a:chExt cx="647743" cy="1252319"/>
            </a:xfrm>
          </p:grpSpPr>
          <p:grpSp>
            <p:nvGrpSpPr>
              <p:cNvPr id="188" name="Group 187">
                <a:extLst>
                  <a:ext uri="{FF2B5EF4-FFF2-40B4-BE49-F238E27FC236}">
                    <a16:creationId xmlns:a16="http://schemas.microsoft.com/office/drawing/2014/main" id="{CCA48D07-9DD2-45FF-8478-2F6F0470340A}"/>
                  </a:ext>
                </a:extLst>
              </p:cNvPr>
              <p:cNvGrpSpPr/>
              <p:nvPr/>
            </p:nvGrpSpPr>
            <p:grpSpPr>
              <a:xfrm>
                <a:off x="9624153" y="3328901"/>
                <a:ext cx="647743" cy="609632"/>
                <a:chOff x="9617329" y="3363021"/>
                <a:chExt cx="647743" cy="609632"/>
              </a:xfrm>
            </p:grpSpPr>
            <p:sp>
              <p:nvSpPr>
                <p:cNvPr id="199" name="Rectangle 198">
                  <a:extLst>
                    <a:ext uri="{FF2B5EF4-FFF2-40B4-BE49-F238E27FC236}">
                      <a16:creationId xmlns:a16="http://schemas.microsoft.com/office/drawing/2014/main" id="{94B56F9F-E43D-414E-9D6B-1782D2D4C5B7}"/>
                    </a:ext>
                  </a:extLst>
                </p:cNvPr>
                <p:cNvSpPr/>
                <p:nvPr/>
              </p:nvSpPr>
              <p:spPr>
                <a:xfrm>
                  <a:off x="9617329" y="3667158"/>
                  <a:ext cx="647743" cy="305495"/>
                </a:xfrm>
                <a:prstGeom prst="rect">
                  <a:avLst/>
                </a:prstGeom>
                <a:noFill/>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750" b="1" i="0" u="none" strike="noStrike" kern="1200" cap="none" spc="0" normalizeH="0" baseline="0" noProof="0">
                      <a:ln>
                        <a:noFill/>
                      </a:ln>
                      <a:solidFill>
                        <a:srgbClr val="FFFFFF"/>
                      </a:solidFill>
                      <a:effectLst/>
                      <a:uLnTx/>
                      <a:uFillTx/>
                      <a:latin typeface="Calibri Light"/>
                      <a:ea typeface="+mn-ea"/>
                      <a:cs typeface="+mn-cs"/>
                    </a:rPr>
                    <a:t>Code</a:t>
                  </a:r>
                </a:p>
              </p:txBody>
            </p:sp>
            <p:sp>
              <p:nvSpPr>
                <p:cNvPr id="200" name="Freeform 13">
                  <a:extLst>
                    <a:ext uri="{FF2B5EF4-FFF2-40B4-BE49-F238E27FC236}">
                      <a16:creationId xmlns:a16="http://schemas.microsoft.com/office/drawing/2014/main" id="{2FDB6E5C-E487-404E-85FF-8BE234E998BD}"/>
                    </a:ext>
                  </a:extLst>
                </p:cNvPr>
                <p:cNvSpPr>
                  <a:spLocks noChangeAspect="1" noEditPoints="1"/>
                </p:cNvSpPr>
                <p:nvPr/>
              </p:nvSpPr>
              <p:spPr bwMode="auto">
                <a:xfrm>
                  <a:off x="9764870" y="3363021"/>
                  <a:ext cx="395552" cy="297603"/>
                </a:xfrm>
                <a:custGeom>
                  <a:avLst/>
                  <a:gdLst>
                    <a:gd name="T0" fmla="*/ 3562 w 4799"/>
                    <a:gd name="T1" fmla="*/ 2023 h 4016"/>
                    <a:gd name="T2" fmla="*/ 2523 w 4799"/>
                    <a:gd name="T3" fmla="*/ 1653 h 4016"/>
                    <a:gd name="T4" fmla="*/ 3573 w 4799"/>
                    <a:gd name="T5" fmla="*/ 1653 h 4016"/>
                    <a:gd name="T6" fmla="*/ 2523 w 4799"/>
                    <a:gd name="T7" fmla="*/ 2327 h 4016"/>
                    <a:gd name="T8" fmla="*/ 3562 w 4799"/>
                    <a:gd name="T9" fmla="*/ 2316 h 4016"/>
                    <a:gd name="T10" fmla="*/ 3562 w 4799"/>
                    <a:gd name="T11" fmla="*/ 2697 h 4016"/>
                    <a:gd name="T12" fmla="*/ 2523 w 4799"/>
                    <a:gd name="T13" fmla="*/ 2327 h 4016"/>
                    <a:gd name="T14" fmla="*/ 1164 w 4799"/>
                    <a:gd name="T15" fmla="*/ 1113 h 4016"/>
                    <a:gd name="T16" fmla="*/ 2203 w 4799"/>
                    <a:gd name="T17" fmla="*/ 743 h 4016"/>
                    <a:gd name="T18" fmla="*/ 2203 w 4799"/>
                    <a:gd name="T19" fmla="*/ 1124 h 4016"/>
                    <a:gd name="T20" fmla="*/ 1164 w 4799"/>
                    <a:gd name="T21" fmla="*/ 1113 h 4016"/>
                    <a:gd name="T22" fmla="*/ 2534 w 4799"/>
                    <a:gd name="T23" fmla="*/ 1541 h 4016"/>
                    <a:gd name="T24" fmla="*/ 1738 w 4799"/>
                    <a:gd name="T25" fmla="*/ 1790 h 4016"/>
                    <a:gd name="T26" fmla="*/ 2315 w 4799"/>
                    <a:gd name="T27" fmla="*/ 1113 h 4016"/>
                    <a:gd name="T28" fmla="*/ 1175 w 4799"/>
                    <a:gd name="T29" fmla="*/ 642 h 4016"/>
                    <a:gd name="T30" fmla="*/ 1175 w 4799"/>
                    <a:gd name="T31" fmla="*/ 1224 h 4016"/>
                    <a:gd name="T32" fmla="*/ 1688 w 4799"/>
                    <a:gd name="T33" fmla="*/ 2564 h 4016"/>
                    <a:gd name="T34" fmla="*/ 2534 w 4799"/>
                    <a:gd name="T35" fmla="*/ 2798 h 4016"/>
                    <a:gd name="T36" fmla="*/ 3674 w 4799"/>
                    <a:gd name="T37" fmla="*/ 2327 h 4016"/>
                    <a:gd name="T38" fmla="*/ 2423 w 4799"/>
                    <a:gd name="T39" fmla="*/ 2327 h 4016"/>
                    <a:gd name="T40" fmla="*/ 1738 w 4799"/>
                    <a:gd name="T41" fmla="*/ 1891 h 4016"/>
                    <a:gd name="T42" fmla="*/ 2534 w 4799"/>
                    <a:gd name="T43" fmla="*/ 2123 h 4016"/>
                    <a:gd name="T44" fmla="*/ 3674 w 4799"/>
                    <a:gd name="T45" fmla="*/ 1653 h 4016"/>
                    <a:gd name="T46" fmla="*/ 4799 w 4799"/>
                    <a:gd name="T47" fmla="*/ 312 h 4016"/>
                    <a:gd name="T48" fmla="*/ 4488 w 4799"/>
                    <a:gd name="T49" fmla="*/ 3714 h 4016"/>
                    <a:gd name="T50" fmla="*/ 2827 w 4799"/>
                    <a:gd name="T51" fmla="*/ 3882 h 4016"/>
                    <a:gd name="T52" fmla="*/ 3691 w 4799"/>
                    <a:gd name="T53" fmla="*/ 4016 h 4016"/>
                    <a:gd name="T54" fmla="*/ 2827 w 4799"/>
                    <a:gd name="T55" fmla="*/ 3580 h 4016"/>
                    <a:gd name="T56" fmla="*/ 4665 w 4799"/>
                    <a:gd name="T57" fmla="*/ 3402 h 4016"/>
                    <a:gd name="T58" fmla="*/ 311 w 4799"/>
                    <a:gd name="T59" fmla="*/ 135 h 4016"/>
                    <a:gd name="T60" fmla="*/ 311 w 4799"/>
                    <a:gd name="T61" fmla="*/ 3580 h 4016"/>
                    <a:gd name="T62" fmla="*/ 2183 w 4799"/>
                    <a:gd name="T63" fmla="*/ 3798 h 4016"/>
                    <a:gd name="T64" fmla="*/ 1034 w 4799"/>
                    <a:gd name="T65" fmla="*/ 3949 h 4016"/>
                    <a:gd name="T66" fmla="*/ 2049 w 4799"/>
                    <a:gd name="T67" fmla="*/ 3798 h 4016"/>
                    <a:gd name="T68" fmla="*/ 311 w 4799"/>
                    <a:gd name="T69" fmla="*/ 3714 h 4016"/>
                    <a:gd name="T70" fmla="*/ 311 w 4799"/>
                    <a:gd name="T71" fmla="*/ 0 h 4016"/>
                    <a:gd name="T72" fmla="*/ 4799 w 4799"/>
                    <a:gd name="T73" fmla="*/ 312 h 4016"/>
                    <a:gd name="T74" fmla="*/ 2310 w 4799"/>
                    <a:gd name="T75" fmla="*/ 3322 h 4016"/>
                    <a:gd name="T76" fmla="*/ 2395 w 4799"/>
                    <a:gd name="T77" fmla="*/ 3408 h 4016"/>
                    <a:gd name="T78" fmla="*/ 2395 w 4799"/>
                    <a:gd name="T79" fmla="*/ 3160 h 4016"/>
                    <a:gd name="T80" fmla="*/ 2557 w 4799"/>
                    <a:gd name="T81" fmla="*/ 3322 h 4016"/>
                    <a:gd name="T82" fmla="*/ 477 w 4799"/>
                    <a:gd name="T83" fmla="*/ 2816 h 4016"/>
                    <a:gd name="T84" fmla="*/ 602 w 4799"/>
                    <a:gd name="T85" fmla="*/ 498 h 4016"/>
                    <a:gd name="T86" fmla="*/ 4318 w 4799"/>
                    <a:gd name="T87" fmla="*/ 2816 h 4016"/>
                    <a:gd name="T88" fmla="*/ 477 w 4799"/>
                    <a:gd name="T89" fmla="*/ 2816 h 4016"/>
                    <a:gd name="T90" fmla="*/ 4452 w 4799"/>
                    <a:gd name="T91" fmla="*/ 2816 h 4016"/>
                    <a:gd name="T92" fmla="*/ 602 w 4799"/>
                    <a:gd name="T93" fmla="*/ 364 h 4016"/>
                    <a:gd name="T94" fmla="*/ 602 w 4799"/>
                    <a:gd name="T95" fmla="*/ 3075 h 4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799" h="4016">
                      <a:moveTo>
                        <a:pt x="3573" y="2012"/>
                      </a:moveTo>
                      <a:lnTo>
                        <a:pt x="3573" y="2012"/>
                      </a:lnTo>
                      <a:cubicBezTo>
                        <a:pt x="3573" y="2018"/>
                        <a:pt x="3568" y="2023"/>
                        <a:pt x="3562" y="2023"/>
                      </a:cubicBezTo>
                      <a:lnTo>
                        <a:pt x="2534" y="2023"/>
                      </a:lnTo>
                      <a:cubicBezTo>
                        <a:pt x="2528" y="2023"/>
                        <a:pt x="2523" y="2018"/>
                        <a:pt x="2523" y="2012"/>
                      </a:cubicBezTo>
                      <a:lnTo>
                        <a:pt x="2523" y="1653"/>
                      </a:lnTo>
                      <a:cubicBezTo>
                        <a:pt x="2523" y="1647"/>
                        <a:pt x="2528" y="1642"/>
                        <a:pt x="2534" y="1642"/>
                      </a:cubicBezTo>
                      <a:lnTo>
                        <a:pt x="3562" y="1642"/>
                      </a:lnTo>
                      <a:cubicBezTo>
                        <a:pt x="3568" y="1642"/>
                        <a:pt x="3573" y="1647"/>
                        <a:pt x="3573" y="1653"/>
                      </a:cubicBezTo>
                      <a:lnTo>
                        <a:pt x="3573" y="2012"/>
                      </a:lnTo>
                      <a:lnTo>
                        <a:pt x="3573" y="2012"/>
                      </a:lnTo>
                      <a:close/>
                      <a:moveTo>
                        <a:pt x="2523" y="2327"/>
                      </a:moveTo>
                      <a:lnTo>
                        <a:pt x="2523" y="2327"/>
                      </a:lnTo>
                      <a:cubicBezTo>
                        <a:pt x="2523" y="2321"/>
                        <a:pt x="2528" y="2316"/>
                        <a:pt x="2534" y="2316"/>
                      </a:cubicBezTo>
                      <a:lnTo>
                        <a:pt x="3562" y="2316"/>
                      </a:lnTo>
                      <a:cubicBezTo>
                        <a:pt x="3568" y="2316"/>
                        <a:pt x="3573" y="2321"/>
                        <a:pt x="3573" y="2327"/>
                      </a:cubicBezTo>
                      <a:lnTo>
                        <a:pt x="3573" y="2686"/>
                      </a:lnTo>
                      <a:cubicBezTo>
                        <a:pt x="3573" y="2692"/>
                        <a:pt x="3568" y="2697"/>
                        <a:pt x="3562" y="2697"/>
                      </a:cubicBezTo>
                      <a:lnTo>
                        <a:pt x="2534" y="2697"/>
                      </a:lnTo>
                      <a:cubicBezTo>
                        <a:pt x="2528" y="2697"/>
                        <a:pt x="2523" y="2692"/>
                        <a:pt x="2523" y="2686"/>
                      </a:cubicBezTo>
                      <a:lnTo>
                        <a:pt x="2523" y="2327"/>
                      </a:lnTo>
                      <a:lnTo>
                        <a:pt x="2523" y="2327"/>
                      </a:lnTo>
                      <a:close/>
                      <a:moveTo>
                        <a:pt x="1164" y="1113"/>
                      </a:moveTo>
                      <a:lnTo>
                        <a:pt x="1164" y="1113"/>
                      </a:lnTo>
                      <a:lnTo>
                        <a:pt x="1164" y="754"/>
                      </a:lnTo>
                      <a:cubicBezTo>
                        <a:pt x="1164" y="748"/>
                        <a:pt x="1169" y="743"/>
                        <a:pt x="1175" y="743"/>
                      </a:cubicBezTo>
                      <a:lnTo>
                        <a:pt x="2203" y="743"/>
                      </a:lnTo>
                      <a:cubicBezTo>
                        <a:pt x="2209" y="743"/>
                        <a:pt x="2214" y="748"/>
                        <a:pt x="2214" y="754"/>
                      </a:cubicBezTo>
                      <a:lnTo>
                        <a:pt x="2214" y="1113"/>
                      </a:lnTo>
                      <a:cubicBezTo>
                        <a:pt x="2214" y="1119"/>
                        <a:pt x="2209" y="1124"/>
                        <a:pt x="2203" y="1124"/>
                      </a:cubicBezTo>
                      <a:lnTo>
                        <a:pt x="1175" y="1124"/>
                      </a:lnTo>
                      <a:cubicBezTo>
                        <a:pt x="1169" y="1124"/>
                        <a:pt x="1164" y="1119"/>
                        <a:pt x="1164" y="1113"/>
                      </a:cubicBezTo>
                      <a:lnTo>
                        <a:pt x="1164" y="1113"/>
                      </a:lnTo>
                      <a:close/>
                      <a:moveTo>
                        <a:pt x="3562" y="1541"/>
                      </a:moveTo>
                      <a:lnTo>
                        <a:pt x="3562" y="1541"/>
                      </a:lnTo>
                      <a:lnTo>
                        <a:pt x="2534" y="1541"/>
                      </a:lnTo>
                      <a:cubicBezTo>
                        <a:pt x="2473" y="1541"/>
                        <a:pt x="2423" y="1591"/>
                        <a:pt x="2423" y="1653"/>
                      </a:cubicBezTo>
                      <a:lnTo>
                        <a:pt x="2423" y="1790"/>
                      </a:lnTo>
                      <a:lnTo>
                        <a:pt x="1738" y="1790"/>
                      </a:lnTo>
                      <a:lnTo>
                        <a:pt x="1738" y="1224"/>
                      </a:lnTo>
                      <a:lnTo>
                        <a:pt x="2203" y="1224"/>
                      </a:lnTo>
                      <a:cubicBezTo>
                        <a:pt x="2265" y="1224"/>
                        <a:pt x="2315" y="1174"/>
                        <a:pt x="2315" y="1113"/>
                      </a:cubicBezTo>
                      <a:lnTo>
                        <a:pt x="2315" y="754"/>
                      </a:lnTo>
                      <a:cubicBezTo>
                        <a:pt x="2315" y="692"/>
                        <a:pt x="2265" y="642"/>
                        <a:pt x="2203" y="642"/>
                      </a:cubicBezTo>
                      <a:lnTo>
                        <a:pt x="1175" y="642"/>
                      </a:lnTo>
                      <a:cubicBezTo>
                        <a:pt x="1114" y="642"/>
                        <a:pt x="1064" y="692"/>
                        <a:pt x="1064" y="754"/>
                      </a:cubicBezTo>
                      <a:lnTo>
                        <a:pt x="1064" y="1113"/>
                      </a:lnTo>
                      <a:cubicBezTo>
                        <a:pt x="1064" y="1174"/>
                        <a:pt x="1114" y="1224"/>
                        <a:pt x="1175" y="1224"/>
                      </a:cubicBezTo>
                      <a:lnTo>
                        <a:pt x="1637" y="1224"/>
                      </a:lnTo>
                      <a:lnTo>
                        <a:pt x="1637" y="2514"/>
                      </a:lnTo>
                      <a:cubicBezTo>
                        <a:pt x="1637" y="2542"/>
                        <a:pt x="1660" y="2564"/>
                        <a:pt x="1688" y="2564"/>
                      </a:cubicBezTo>
                      <a:lnTo>
                        <a:pt x="2423" y="2564"/>
                      </a:lnTo>
                      <a:lnTo>
                        <a:pt x="2423" y="2686"/>
                      </a:lnTo>
                      <a:cubicBezTo>
                        <a:pt x="2423" y="2748"/>
                        <a:pt x="2473" y="2798"/>
                        <a:pt x="2534" y="2798"/>
                      </a:cubicBezTo>
                      <a:lnTo>
                        <a:pt x="3562" y="2798"/>
                      </a:lnTo>
                      <a:cubicBezTo>
                        <a:pt x="3624" y="2798"/>
                        <a:pt x="3674" y="2748"/>
                        <a:pt x="3674" y="2686"/>
                      </a:cubicBezTo>
                      <a:lnTo>
                        <a:pt x="3674" y="2327"/>
                      </a:lnTo>
                      <a:cubicBezTo>
                        <a:pt x="3674" y="2266"/>
                        <a:pt x="3624" y="2216"/>
                        <a:pt x="3562" y="2216"/>
                      </a:cubicBezTo>
                      <a:lnTo>
                        <a:pt x="2534" y="2216"/>
                      </a:lnTo>
                      <a:cubicBezTo>
                        <a:pt x="2473" y="2216"/>
                        <a:pt x="2423" y="2266"/>
                        <a:pt x="2423" y="2327"/>
                      </a:cubicBezTo>
                      <a:lnTo>
                        <a:pt x="2423" y="2464"/>
                      </a:lnTo>
                      <a:lnTo>
                        <a:pt x="1738" y="2464"/>
                      </a:lnTo>
                      <a:lnTo>
                        <a:pt x="1738" y="1891"/>
                      </a:lnTo>
                      <a:lnTo>
                        <a:pt x="2423" y="1891"/>
                      </a:lnTo>
                      <a:lnTo>
                        <a:pt x="2423" y="2012"/>
                      </a:lnTo>
                      <a:cubicBezTo>
                        <a:pt x="2423" y="2073"/>
                        <a:pt x="2473" y="2123"/>
                        <a:pt x="2534" y="2123"/>
                      </a:cubicBezTo>
                      <a:lnTo>
                        <a:pt x="3562" y="2123"/>
                      </a:lnTo>
                      <a:cubicBezTo>
                        <a:pt x="3624" y="2123"/>
                        <a:pt x="3674" y="2073"/>
                        <a:pt x="3674" y="2012"/>
                      </a:cubicBezTo>
                      <a:lnTo>
                        <a:pt x="3674" y="1653"/>
                      </a:lnTo>
                      <a:cubicBezTo>
                        <a:pt x="3674" y="1591"/>
                        <a:pt x="3624" y="1541"/>
                        <a:pt x="3562" y="1541"/>
                      </a:cubicBezTo>
                      <a:lnTo>
                        <a:pt x="3562" y="1541"/>
                      </a:lnTo>
                      <a:close/>
                      <a:moveTo>
                        <a:pt x="4799" y="312"/>
                      </a:moveTo>
                      <a:lnTo>
                        <a:pt x="4799" y="312"/>
                      </a:lnTo>
                      <a:lnTo>
                        <a:pt x="4799" y="3402"/>
                      </a:lnTo>
                      <a:cubicBezTo>
                        <a:pt x="4799" y="3574"/>
                        <a:pt x="4660" y="3714"/>
                        <a:pt x="4488" y="3714"/>
                      </a:cubicBezTo>
                      <a:lnTo>
                        <a:pt x="2827" y="3714"/>
                      </a:lnTo>
                      <a:cubicBezTo>
                        <a:pt x="2781" y="3714"/>
                        <a:pt x="2743" y="3752"/>
                        <a:pt x="2743" y="3798"/>
                      </a:cubicBezTo>
                      <a:cubicBezTo>
                        <a:pt x="2743" y="3845"/>
                        <a:pt x="2781" y="3882"/>
                        <a:pt x="2827" y="3882"/>
                      </a:cubicBezTo>
                      <a:lnTo>
                        <a:pt x="3691" y="3882"/>
                      </a:lnTo>
                      <a:cubicBezTo>
                        <a:pt x="3728" y="3882"/>
                        <a:pt x="3758" y="3912"/>
                        <a:pt x="3758" y="3949"/>
                      </a:cubicBezTo>
                      <a:cubicBezTo>
                        <a:pt x="3758" y="3986"/>
                        <a:pt x="3728" y="4016"/>
                        <a:pt x="3691" y="4016"/>
                      </a:cubicBezTo>
                      <a:lnTo>
                        <a:pt x="2834" y="4016"/>
                      </a:lnTo>
                      <a:cubicBezTo>
                        <a:pt x="2707" y="4016"/>
                        <a:pt x="2609" y="3919"/>
                        <a:pt x="2609" y="3798"/>
                      </a:cubicBezTo>
                      <a:cubicBezTo>
                        <a:pt x="2609" y="3678"/>
                        <a:pt x="2707" y="3580"/>
                        <a:pt x="2827" y="3580"/>
                      </a:cubicBezTo>
                      <a:lnTo>
                        <a:pt x="2836" y="3580"/>
                      </a:lnTo>
                      <a:lnTo>
                        <a:pt x="4488" y="3580"/>
                      </a:lnTo>
                      <a:cubicBezTo>
                        <a:pt x="4586" y="3580"/>
                        <a:pt x="4665" y="3500"/>
                        <a:pt x="4665" y="3402"/>
                      </a:cubicBezTo>
                      <a:lnTo>
                        <a:pt x="4665" y="312"/>
                      </a:lnTo>
                      <a:cubicBezTo>
                        <a:pt x="4665" y="214"/>
                        <a:pt x="4586" y="135"/>
                        <a:pt x="4488" y="135"/>
                      </a:cubicBezTo>
                      <a:lnTo>
                        <a:pt x="311" y="135"/>
                      </a:lnTo>
                      <a:cubicBezTo>
                        <a:pt x="213" y="135"/>
                        <a:pt x="134" y="214"/>
                        <a:pt x="134" y="312"/>
                      </a:cubicBezTo>
                      <a:lnTo>
                        <a:pt x="134" y="3402"/>
                      </a:lnTo>
                      <a:cubicBezTo>
                        <a:pt x="134" y="3500"/>
                        <a:pt x="213" y="3580"/>
                        <a:pt x="311" y="3580"/>
                      </a:cubicBezTo>
                      <a:lnTo>
                        <a:pt x="1960" y="3580"/>
                      </a:lnTo>
                      <a:cubicBezTo>
                        <a:pt x="1963" y="3580"/>
                        <a:pt x="1965" y="3580"/>
                        <a:pt x="1968" y="3580"/>
                      </a:cubicBezTo>
                      <a:cubicBezTo>
                        <a:pt x="2085" y="3581"/>
                        <a:pt x="2183" y="3678"/>
                        <a:pt x="2183" y="3798"/>
                      </a:cubicBezTo>
                      <a:cubicBezTo>
                        <a:pt x="2183" y="3919"/>
                        <a:pt x="2085" y="4016"/>
                        <a:pt x="1965" y="4016"/>
                      </a:cubicBezTo>
                      <a:lnTo>
                        <a:pt x="1101" y="4016"/>
                      </a:lnTo>
                      <a:cubicBezTo>
                        <a:pt x="1064" y="4016"/>
                        <a:pt x="1034" y="3986"/>
                        <a:pt x="1034" y="3949"/>
                      </a:cubicBezTo>
                      <a:cubicBezTo>
                        <a:pt x="1034" y="3912"/>
                        <a:pt x="1064" y="3882"/>
                        <a:pt x="1101" y="3882"/>
                      </a:cubicBezTo>
                      <a:lnTo>
                        <a:pt x="1958" y="3882"/>
                      </a:lnTo>
                      <a:cubicBezTo>
                        <a:pt x="2011" y="3882"/>
                        <a:pt x="2049" y="3845"/>
                        <a:pt x="2049" y="3798"/>
                      </a:cubicBezTo>
                      <a:cubicBezTo>
                        <a:pt x="2049" y="3752"/>
                        <a:pt x="2011" y="3715"/>
                        <a:pt x="1965" y="3715"/>
                      </a:cubicBezTo>
                      <a:cubicBezTo>
                        <a:pt x="1962" y="3715"/>
                        <a:pt x="1960" y="3715"/>
                        <a:pt x="1957" y="3714"/>
                      </a:cubicBezTo>
                      <a:lnTo>
                        <a:pt x="311" y="3714"/>
                      </a:lnTo>
                      <a:cubicBezTo>
                        <a:pt x="139" y="3714"/>
                        <a:pt x="0" y="3574"/>
                        <a:pt x="0" y="3402"/>
                      </a:cubicBezTo>
                      <a:lnTo>
                        <a:pt x="0" y="312"/>
                      </a:lnTo>
                      <a:cubicBezTo>
                        <a:pt x="0" y="140"/>
                        <a:pt x="139" y="0"/>
                        <a:pt x="311" y="0"/>
                      </a:cubicBezTo>
                      <a:lnTo>
                        <a:pt x="4488" y="0"/>
                      </a:lnTo>
                      <a:cubicBezTo>
                        <a:pt x="4660" y="0"/>
                        <a:pt x="4799" y="140"/>
                        <a:pt x="4799" y="312"/>
                      </a:cubicBezTo>
                      <a:lnTo>
                        <a:pt x="4799" y="312"/>
                      </a:lnTo>
                      <a:close/>
                      <a:moveTo>
                        <a:pt x="2395" y="3408"/>
                      </a:moveTo>
                      <a:lnTo>
                        <a:pt x="2395" y="3408"/>
                      </a:lnTo>
                      <a:cubicBezTo>
                        <a:pt x="2348" y="3408"/>
                        <a:pt x="2310" y="3369"/>
                        <a:pt x="2310" y="3322"/>
                      </a:cubicBezTo>
                      <a:cubicBezTo>
                        <a:pt x="2310" y="3275"/>
                        <a:pt x="2348" y="3236"/>
                        <a:pt x="2395" y="3236"/>
                      </a:cubicBezTo>
                      <a:cubicBezTo>
                        <a:pt x="2443" y="3236"/>
                        <a:pt x="2481" y="3275"/>
                        <a:pt x="2481" y="3322"/>
                      </a:cubicBezTo>
                      <a:cubicBezTo>
                        <a:pt x="2481" y="3369"/>
                        <a:pt x="2443" y="3408"/>
                        <a:pt x="2395" y="3408"/>
                      </a:cubicBezTo>
                      <a:lnTo>
                        <a:pt x="2395" y="3408"/>
                      </a:lnTo>
                      <a:close/>
                      <a:moveTo>
                        <a:pt x="2395" y="3160"/>
                      </a:moveTo>
                      <a:lnTo>
                        <a:pt x="2395" y="3160"/>
                      </a:lnTo>
                      <a:cubicBezTo>
                        <a:pt x="2306" y="3160"/>
                        <a:pt x="2233" y="3233"/>
                        <a:pt x="2233" y="3322"/>
                      </a:cubicBezTo>
                      <a:cubicBezTo>
                        <a:pt x="2233" y="3411"/>
                        <a:pt x="2306" y="3484"/>
                        <a:pt x="2395" y="3484"/>
                      </a:cubicBezTo>
                      <a:cubicBezTo>
                        <a:pt x="2485" y="3484"/>
                        <a:pt x="2557" y="3411"/>
                        <a:pt x="2557" y="3322"/>
                      </a:cubicBezTo>
                      <a:cubicBezTo>
                        <a:pt x="2557" y="3233"/>
                        <a:pt x="2485" y="3160"/>
                        <a:pt x="2395" y="3160"/>
                      </a:cubicBezTo>
                      <a:lnTo>
                        <a:pt x="2395" y="3160"/>
                      </a:lnTo>
                      <a:close/>
                      <a:moveTo>
                        <a:pt x="477" y="2816"/>
                      </a:moveTo>
                      <a:lnTo>
                        <a:pt x="477" y="2816"/>
                      </a:lnTo>
                      <a:lnTo>
                        <a:pt x="477" y="622"/>
                      </a:lnTo>
                      <a:cubicBezTo>
                        <a:pt x="477" y="554"/>
                        <a:pt x="533" y="498"/>
                        <a:pt x="602" y="498"/>
                      </a:cubicBezTo>
                      <a:lnTo>
                        <a:pt x="4193" y="498"/>
                      </a:lnTo>
                      <a:cubicBezTo>
                        <a:pt x="4262" y="498"/>
                        <a:pt x="4318" y="554"/>
                        <a:pt x="4318" y="622"/>
                      </a:cubicBezTo>
                      <a:lnTo>
                        <a:pt x="4318" y="2816"/>
                      </a:lnTo>
                      <a:cubicBezTo>
                        <a:pt x="4318" y="2885"/>
                        <a:pt x="4262" y="2941"/>
                        <a:pt x="4193" y="2941"/>
                      </a:cubicBezTo>
                      <a:lnTo>
                        <a:pt x="602" y="2941"/>
                      </a:lnTo>
                      <a:cubicBezTo>
                        <a:pt x="533" y="2941"/>
                        <a:pt x="477" y="2885"/>
                        <a:pt x="477" y="2816"/>
                      </a:cubicBezTo>
                      <a:lnTo>
                        <a:pt x="477" y="2816"/>
                      </a:lnTo>
                      <a:close/>
                      <a:moveTo>
                        <a:pt x="4452" y="2816"/>
                      </a:moveTo>
                      <a:lnTo>
                        <a:pt x="4452" y="2816"/>
                      </a:lnTo>
                      <a:lnTo>
                        <a:pt x="4452" y="622"/>
                      </a:lnTo>
                      <a:cubicBezTo>
                        <a:pt x="4452" y="480"/>
                        <a:pt x="4336" y="364"/>
                        <a:pt x="4193" y="364"/>
                      </a:cubicBezTo>
                      <a:lnTo>
                        <a:pt x="602" y="364"/>
                      </a:lnTo>
                      <a:cubicBezTo>
                        <a:pt x="459" y="364"/>
                        <a:pt x="343" y="480"/>
                        <a:pt x="343" y="622"/>
                      </a:cubicBezTo>
                      <a:lnTo>
                        <a:pt x="343" y="2816"/>
                      </a:lnTo>
                      <a:cubicBezTo>
                        <a:pt x="343" y="2959"/>
                        <a:pt x="459" y="3075"/>
                        <a:pt x="602" y="3075"/>
                      </a:cubicBezTo>
                      <a:lnTo>
                        <a:pt x="4193" y="3075"/>
                      </a:lnTo>
                      <a:cubicBezTo>
                        <a:pt x="4336" y="3075"/>
                        <a:pt x="4452" y="2959"/>
                        <a:pt x="4452" y="2816"/>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Calibri Light"/>
                    <a:ea typeface="+mn-ea"/>
                    <a:cs typeface="+mn-cs"/>
                  </a:endParaRPr>
                </a:p>
              </p:txBody>
            </p:sp>
          </p:grpSp>
          <p:grpSp>
            <p:nvGrpSpPr>
              <p:cNvPr id="189" name="Group 188">
                <a:extLst>
                  <a:ext uri="{FF2B5EF4-FFF2-40B4-BE49-F238E27FC236}">
                    <a16:creationId xmlns:a16="http://schemas.microsoft.com/office/drawing/2014/main" id="{2847DB25-A11C-4DA4-AF0F-576C8B067C1E}"/>
                  </a:ext>
                </a:extLst>
              </p:cNvPr>
              <p:cNvGrpSpPr/>
              <p:nvPr/>
            </p:nvGrpSpPr>
            <p:grpSpPr>
              <a:xfrm>
                <a:off x="9775041" y="3914520"/>
                <a:ext cx="365760" cy="182880"/>
                <a:chOff x="6145213" y="4384676"/>
                <a:chExt cx="1582738" cy="649287"/>
              </a:xfrm>
              <a:solidFill>
                <a:schemeClr val="bg1"/>
              </a:solidFill>
            </p:grpSpPr>
            <p:sp>
              <p:nvSpPr>
                <p:cNvPr id="192" name="Freeform 6">
                  <a:extLst>
                    <a:ext uri="{FF2B5EF4-FFF2-40B4-BE49-F238E27FC236}">
                      <a16:creationId xmlns:a16="http://schemas.microsoft.com/office/drawing/2014/main" id="{34B8BB4B-AB33-4D3D-B7DE-91C95CEDBE66}"/>
                    </a:ext>
                  </a:extLst>
                </p:cNvPr>
                <p:cNvSpPr>
                  <a:spLocks/>
                </p:cNvSpPr>
                <p:nvPr userDrawn="1"/>
              </p:nvSpPr>
              <p:spPr bwMode="auto">
                <a:xfrm>
                  <a:off x="6640513" y="4454526"/>
                  <a:ext cx="341313" cy="449263"/>
                </a:xfrm>
                <a:custGeom>
                  <a:avLst/>
                  <a:gdLst>
                    <a:gd name="T0" fmla="*/ 485 w 859"/>
                    <a:gd name="T1" fmla="*/ 5 h 1132"/>
                    <a:gd name="T2" fmla="*/ 603 w 859"/>
                    <a:gd name="T3" fmla="*/ 31 h 1132"/>
                    <a:gd name="T4" fmla="*/ 699 w 859"/>
                    <a:gd name="T5" fmla="*/ 82 h 1132"/>
                    <a:gd name="T6" fmla="*/ 771 w 859"/>
                    <a:gd name="T7" fmla="*/ 167 h 1132"/>
                    <a:gd name="T8" fmla="*/ 810 w 859"/>
                    <a:gd name="T9" fmla="*/ 290 h 1132"/>
                    <a:gd name="T10" fmla="*/ 642 w 859"/>
                    <a:gd name="T11" fmla="*/ 307 h 1132"/>
                    <a:gd name="T12" fmla="*/ 606 w 859"/>
                    <a:gd name="T13" fmla="*/ 231 h 1132"/>
                    <a:gd name="T14" fmla="*/ 544 w 859"/>
                    <a:gd name="T15" fmla="*/ 184 h 1132"/>
                    <a:gd name="T16" fmla="*/ 467 w 859"/>
                    <a:gd name="T17" fmla="*/ 162 h 1132"/>
                    <a:gd name="T18" fmla="*/ 385 w 859"/>
                    <a:gd name="T19" fmla="*/ 158 h 1132"/>
                    <a:gd name="T20" fmla="*/ 304 w 859"/>
                    <a:gd name="T21" fmla="*/ 172 h 1132"/>
                    <a:gd name="T22" fmla="*/ 236 w 859"/>
                    <a:gd name="T23" fmla="*/ 207 h 1132"/>
                    <a:gd name="T24" fmla="*/ 200 w 859"/>
                    <a:gd name="T25" fmla="*/ 268 h 1132"/>
                    <a:gd name="T26" fmla="*/ 207 w 859"/>
                    <a:gd name="T27" fmla="*/ 344 h 1132"/>
                    <a:gd name="T28" fmla="*/ 256 w 859"/>
                    <a:gd name="T29" fmla="*/ 397 h 1132"/>
                    <a:gd name="T30" fmla="*/ 334 w 859"/>
                    <a:gd name="T31" fmla="*/ 434 h 1132"/>
                    <a:gd name="T32" fmla="*/ 428 w 859"/>
                    <a:gd name="T33" fmla="*/ 460 h 1132"/>
                    <a:gd name="T34" fmla="*/ 528 w 859"/>
                    <a:gd name="T35" fmla="*/ 484 h 1132"/>
                    <a:gd name="T36" fmla="*/ 634 w 859"/>
                    <a:gd name="T37" fmla="*/ 513 h 1132"/>
                    <a:gd name="T38" fmla="*/ 728 w 859"/>
                    <a:gd name="T39" fmla="*/ 556 h 1132"/>
                    <a:gd name="T40" fmla="*/ 804 w 859"/>
                    <a:gd name="T41" fmla="*/ 620 h 1132"/>
                    <a:gd name="T42" fmla="*/ 850 w 859"/>
                    <a:gd name="T43" fmla="*/ 711 h 1132"/>
                    <a:gd name="T44" fmla="*/ 857 w 859"/>
                    <a:gd name="T45" fmla="*/ 838 h 1132"/>
                    <a:gd name="T46" fmla="*/ 821 w 859"/>
                    <a:gd name="T47" fmla="*/ 954 h 1132"/>
                    <a:gd name="T48" fmla="*/ 750 w 859"/>
                    <a:gd name="T49" fmla="*/ 1037 h 1132"/>
                    <a:gd name="T50" fmla="*/ 655 w 859"/>
                    <a:gd name="T51" fmla="*/ 1093 h 1132"/>
                    <a:gd name="T52" fmla="*/ 545 w 859"/>
                    <a:gd name="T53" fmla="*/ 1124 h 1132"/>
                    <a:gd name="T54" fmla="*/ 428 w 859"/>
                    <a:gd name="T55" fmla="*/ 1132 h 1132"/>
                    <a:gd name="T56" fmla="*/ 297 w 859"/>
                    <a:gd name="T57" fmla="*/ 1120 h 1132"/>
                    <a:gd name="T58" fmla="*/ 182 w 859"/>
                    <a:gd name="T59" fmla="*/ 1081 h 1132"/>
                    <a:gd name="T60" fmla="*/ 89 w 859"/>
                    <a:gd name="T61" fmla="*/ 1012 h 1132"/>
                    <a:gd name="T62" fmla="*/ 26 w 859"/>
                    <a:gd name="T63" fmla="*/ 908 h 1132"/>
                    <a:gd name="T64" fmla="*/ 0 w 859"/>
                    <a:gd name="T65" fmla="*/ 767 h 1132"/>
                    <a:gd name="T66" fmla="*/ 178 w 859"/>
                    <a:gd name="T67" fmla="*/ 838 h 1132"/>
                    <a:gd name="T68" fmla="*/ 229 w 859"/>
                    <a:gd name="T69" fmla="*/ 913 h 1132"/>
                    <a:gd name="T70" fmla="*/ 308 w 859"/>
                    <a:gd name="T71" fmla="*/ 957 h 1132"/>
                    <a:gd name="T72" fmla="*/ 404 w 859"/>
                    <a:gd name="T73" fmla="*/ 974 h 1132"/>
                    <a:gd name="T74" fmla="*/ 488 w 859"/>
                    <a:gd name="T75" fmla="*/ 974 h 1132"/>
                    <a:gd name="T76" fmla="*/ 564 w 859"/>
                    <a:gd name="T77" fmla="*/ 960 h 1132"/>
                    <a:gd name="T78" fmla="*/ 630 w 859"/>
                    <a:gd name="T79" fmla="*/ 927 h 1132"/>
                    <a:gd name="T80" fmla="*/ 674 w 859"/>
                    <a:gd name="T81" fmla="*/ 871 h 1132"/>
                    <a:gd name="T82" fmla="*/ 681 w 859"/>
                    <a:gd name="T83" fmla="*/ 787 h 1132"/>
                    <a:gd name="T84" fmla="*/ 647 w 859"/>
                    <a:gd name="T85" fmla="*/ 722 h 1132"/>
                    <a:gd name="T86" fmla="*/ 580 w 859"/>
                    <a:gd name="T87" fmla="*/ 677 h 1132"/>
                    <a:gd name="T88" fmla="*/ 490 w 859"/>
                    <a:gd name="T89" fmla="*/ 647 h 1132"/>
                    <a:gd name="T90" fmla="*/ 387 w 859"/>
                    <a:gd name="T91" fmla="*/ 622 h 1132"/>
                    <a:gd name="T92" fmla="*/ 281 w 859"/>
                    <a:gd name="T93" fmla="*/ 595 h 1132"/>
                    <a:gd name="T94" fmla="*/ 183 w 859"/>
                    <a:gd name="T95" fmla="*/ 558 h 1132"/>
                    <a:gd name="T96" fmla="*/ 99 w 859"/>
                    <a:gd name="T97" fmla="*/ 504 h 1132"/>
                    <a:gd name="T98" fmla="*/ 42 w 859"/>
                    <a:gd name="T99" fmla="*/ 423 h 1132"/>
                    <a:gd name="T100" fmla="*/ 21 w 859"/>
                    <a:gd name="T101" fmla="*/ 308 h 1132"/>
                    <a:gd name="T102" fmla="*/ 43 w 859"/>
                    <a:gd name="T103" fmla="*/ 193 h 1132"/>
                    <a:gd name="T104" fmla="*/ 103 w 859"/>
                    <a:gd name="T105" fmla="*/ 107 h 1132"/>
                    <a:gd name="T106" fmla="*/ 190 w 859"/>
                    <a:gd name="T107" fmla="*/ 46 h 1132"/>
                    <a:gd name="T108" fmla="*/ 292 w 859"/>
                    <a:gd name="T109" fmla="*/ 12 h 1132"/>
                    <a:gd name="T110" fmla="*/ 399 w 859"/>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9" h="1132">
                      <a:moveTo>
                        <a:pt x="399" y="0"/>
                      </a:moveTo>
                      <a:lnTo>
                        <a:pt x="443" y="2"/>
                      </a:lnTo>
                      <a:lnTo>
                        <a:pt x="485" y="5"/>
                      </a:lnTo>
                      <a:lnTo>
                        <a:pt x="527" y="11"/>
                      </a:lnTo>
                      <a:lnTo>
                        <a:pt x="566" y="20"/>
                      </a:lnTo>
                      <a:lnTo>
                        <a:pt x="603" y="31"/>
                      </a:lnTo>
                      <a:lnTo>
                        <a:pt x="637" y="44"/>
                      </a:lnTo>
                      <a:lnTo>
                        <a:pt x="670" y="62"/>
                      </a:lnTo>
                      <a:lnTo>
                        <a:pt x="699" y="82"/>
                      </a:lnTo>
                      <a:lnTo>
                        <a:pt x="726" y="107"/>
                      </a:lnTo>
                      <a:lnTo>
                        <a:pt x="750" y="134"/>
                      </a:lnTo>
                      <a:lnTo>
                        <a:pt x="771" y="167"/>
                      </a:lnTo>
                      <a:lnTo>
                        <a:pt x="787" y="203"/>
                      </a:lnTo>
                      <a:lnTo>
                        <a:pt x="800" y="244"/>
                      </a:lnTo>
                      <a:lnTo>
                        <a:pt x="810" y="290"/>
                      </a:lnTo>
                      <a:lnTo>
                        <a:pt x="815" y="339"/>
                      </a:lnTo>
                      <a:lnTo>
                        <a:pt x="648" y="339"/>
                      </a:lnTo>
                      <a:lnTo>
                        <a:pt x="642" y="307"/>
                      </a:lnTo>
                      <a:lnTo>
                        <a:pt x="634" y="278"/>
                      </a:lnTo>
                      <a:lnTo>
                        <a:pt x="621" y="254"/>
                      </a:lnTo>
                      <a:lnTo>
                        <a:pt x="606" y="231"/>
                      </a:lnTo>
                      <a:lnTo>
                        <a:pt x="587" y="213"/>
                      </a:lnTo>
                      <a:lnTo>
                        <a:pt x="567" y="197"/>
                      </a:lnTo>
                      <a:lnTo>
                        <a:pt x="544" y="184"/>
                      </a:lnTo>
                      <a:lnTo>
                        <a:pt x="519" y="174"/>
                      </a:lnTo>
                      <a:lnTo>
                        <a:pt x="494" y="167"/>
                      </a:lnTo>
                      <a:lnTo>
                        <a:pt x="467" y="162"/>
                      </a:lnTo>
                      <a:lnTo>
                        <a:pt x="440" y="158"/>
                      </a:lnTo>
                      <a:lnTo>
                        <a:pt x="412" y="157"/>
                      </a:lnTo>
                      <a:lnTo>
                        <a:pt x="385" y="158"/>
                      </a:lnTo>
                      <a:lnTo>
                        <a:pt x="358" y="161"/>
                      </a:lnTo>
                      <a:lnTo>
                        <a:pt x="330" y="166"/>
                      </a:lnTo>
                      <a:lnTo>
                        <a:pt x="304" y="172"/>
                      </a:lnTo>
                      <a:lnTo>
                        <a:pt x="279" y="180"/>
                      </a:lnTo>
                      <a:lnTo>
                        <a:pt x="257" y="192"/>
                      </a:lnTo>
                      <a:lnTo>
                        <a:pt x="236" y="207"/>
                      </a:lnTo>
                      <a:lnTo>
                        <a:pt x="221" y="224"/>
                      </a:lnTo>
                      <a:lnTo>
                        <a:pt x="208" y="244"/>
                      </a:lnTo>
                      <a:lnTo>
                        <a:pt x="200" y="268"/>
                      </a:lnTo>
                      <a:lnTo>
                        <a:pt x="198" y="296"/>
                      </a:lnTo>
                      <a:lnTo>
                        <a:pt x="200" y="321"/>
                      </a:lnTo>
                      <a:lnTo>
                        <a:pt x="207" y="344"/>
                      </a:lnTo>
                      <a:lnTo>
                        <a:pt x="219" y="365"/>
                      </a:lnTo>
                      <a:lnTo>
                        <a:pt x="236" y="382"/>
                      </a:lnTo>
                      <a:lnTo>
                        <a:pt x="256" y="397"/>
                      </a:lnTo>
                      <a:lnTo>
                        <a:pt x="279" y="411"/>
                      </a:lnTo>
                      <a:lnTo>
                        <a:pt x="304" y="423"/>
                      </a:lnTo>
                      <a:lnTo>
                        <a:pt x="334" y="434"/>
                      </a:lnTo>
                      <a:lnTo>
                        <a:pt x="363" y="443"/>
                      </a:lnTo>
                      <a:lnTo>
                        <a:pt x="395" y="452"/>
                      </a:lnTo>
                      <a:lnTo>
                        <a:pt x="428" y="460"/>
                      </a:lnTo>
                      <a:lnTo>
                        <a:pt x="461" y="467"/>
                      </a:lnTo>
                      <a:lnTo>
                        <a:pt x="495" y="476"/>
                      </a:lnTo>
                      <a:lnTo>
                        <a:pt x="528" y="484"/>
                      </a:lnTo>
                      <a:lnTo>
                        <a:pt x="564" y="493"/>
                      </a:lnTo>
                      <a:lnTo>
                        <a:pt x="600" y="502"/>
                      </a:lnTo>
                      <a:lnTo>
                        <a:pt x="634" y="513"/>
                      </a:lnTo>
                      <a:lnTo>
                        <a:pt x="666" y="527"/>
                      </a:lnTo>
                      <a:lnTo>
                        <a:pt x="698" y="540"/>
                      </a:lnTo>
                      <a:lnTo>
                        <a:pt x="728" y="556"/>
                      </a:lnTo>
                      <a:lnTo>
                        <a:pt x="756" y="575"/>
                      </a:lnTo>
                      <a:lnTo>
                        <a:pt x="782" y="595"/>
                      </a:lnTo>
                      <a:lnTo>
                        <a:pt x="804" y="620"/>
                      </a:lnTo>
                      <a:lnTo>
                        <a:pt x="823" y="646"/>
                      </a:lnTo>
                      <a:lnTo>
                        <a:pt x="838" y="676"/>
                      </a:lnTo>
                      <a:lnTo>
                        <a:pt x="850" y="711"/>
                      </a:lnTo>
                      <a:lnTo>
                        <a:pt x="857" y="750"/>
                      </a:lnTo>
                      <a:lnTo>
                        <a:pt x="859" y="792"/>
                      </a:lnTo>
                      <a:lnTo>
                        <a:pt x="857" y="838"/>
                      </a:lnTo>
                      <a:lnTo>
                        <a:pt x="849" y="880"/>
                      </a:lnTo>
                      <a:lnTo>
                        <a:pt x="838" y="919"/>
                      </a:lnTo>
                      <a:lnTo>
                        <a:pt x="821" y="954"/>
                      </a:lnTo>
                      <a:lnTo>
                        <a:pt x="801" y="985"/>
                      </a:lnTo>
                      <a:lnTo>
                        <a:pt x="777" y="1013"/>
                      </a:lnTo>
                      <a:lnTo>
                        <a:pt x="750" y="1037"/>
                      </a:lnTo>
                      <a:lnTo>
                        <a:pt x="721" y="1059"/>
                      </a:lnTo>
                      <a:lnTo>
                        <a:pt x="689" y="1077"/>
                      </a:lnTo>
                      <a:lnTo>
                        <a:pt x="655" y="1093"/>
                      </a:lnTo>
                      <a:lnTo>
                        <a:pt x="619" y="1106"/>
                      </a:lnTo>
                      <a:lnTo>
                        <a:pt x="583" y="1116"/>
                      </a:lnTo>
                      <a:lnTo>
                        <a:pt x="545" y="1124"/>
                      </a:lnTo>
                      <a:lnTo>
                        <a:pt x="506" y="1129"/>
                      </a:lnTo>
                      <a:lnTo>
                        <a:pt x="467" y="1132"/>
                      </a:lnTo>
                      <a:lnTo>
                        <a:pt x="428" y="1132"/>
                      </a:lnTo>
                      <a:lnTo>
                        <a:pt x="383" y="1131"/>
                      </a:lnTo>
                      <a:lnTo>
                        <a:pt x="340" y="1128"/>
                      </a:lnTo>
                      <a:lnTo>
                        <a:pt x="297" y="1120"/>
                      </a:lnTo>
                      <a:lnTo>
                        <a:pt x="257" y="1111"/>
                      </a:lnTo>
                      <a:lnTo>
                        <a:pt x="218" y="1097"/>
                      </a:lnTo>
                      <a:lnTo>
                        <a:pt x="182" y="1081"/>
                      </a:lnTo>
                      <a:lnTo>
                        <a:pt x="148" y="1061"/>
                      </a:lnTo>
                      <a:lnTo>
                        <a:pt x="117" y="1038"/>
                      </a:lnTo>
                      <a:lnTo>
                        <a:pt x="89" y="1012"/>
                      </a:lnTo>
                      <a:lnTo>
                        <a:pt x="65" y="980"/>
                      </a:lnTo>
                      <a:lnTo>
                        <a:pt x="43" y="947"/>
                      </a:lnTo>
                      <a:lnTo>
                        <a:pt x="26" y="908"/>
                      </a:lnTo>
                      <a:lnTo>
                        <a:pt x="13" y="865"/>
                      </a:lnTo>
                      <a:lnTo>
                        <a:pt x="4" y="819"/>
                      </a:lnTo>
                      <a:lnTo>
                        <a:pt x="0" y="767"/>
                      </a:lnTo>
                      <a:lnTo>
                        <a:pt x="166" y="767"/>
                      </a:lnTo>
                      <a:lnTo>
                        <a:pt x="170" y="804"/>
                      </a:lnTo>
                      <a:lnTo>
                        <a:pt x="178" y="838"/>
                      </a:lnTo>
                      <a:lnTo>
                        <a:pt x="191" y="867"/>
                      </a:lnTo>
                      <a:lnTo>
                        <a:pt x="208" y="891"/>
                      </a:lnTo>
                      <a:lnTo>
                        <a:pt x="229" y="913"/>
                      </a:lnTo>
                      <a:lnTo>
                        <a:pt x="253" y="931"/>
                      </a:lnTo>
                      <a:lnTo>
                        <a:pt x="279" y="945"/>
                      </a:lnTo>
                      <a:lnTo>
                        <a:pt x="308" y="957"/>
                      </a:lnTo>
                      <a:lnTo>
                        <a:pt x="338" y="966"/>
                      </a:lnTo>
                      <a:lnTo>
                        <a:pt x="371" y="972"/>
                      </a:lnTo>
                      <a:lnTo>
                        <a:pt x="404" y="974"/>
                      </a:lnTo>
                      <a:lnTo>
                        <a:pt x="438" y="976"/>
                      </a:lnTo>
                      <a:lnTo>
                        <a:pt x="462" y="976"/>
                      </a:lnTo>
                      <a:lnTo>
                        <a:pt x="488" y="974"/>
                      </a:lnTo>
                      <a:lnTo>
                        <a:pt x="513" y="971"/>
                      </a:lnTo>
                      <a:lnTo>
                        <a:pt x="539" y="966"/>
                      </a:lnTo>
                      <a:lnTo>
                        <a:pt x="564" y="960"/>
                      </a:lnTo>
                      <a:lnTo>
                        <a:pt x="589" y="951"/>
                      </a:lnTo>
                      <a:lnTo>
                        <a:pt x="610" y="941"/>
                      </a:lnTo>
                      <a:lnTo>
                        <a:pt x="630" y="927"/>
                      </a:lnTo>
                      <a:lnTo>
                        <a:pt x="648" y="912"/>
                      </a:lnTo>
                      <a:lnTo>
                        <a:pt x="663" y="892"/>
                      </a:lnTo>
                      <a:lnTo>
                        <a:pt x="674" y="871"/>
                      </a:lnTo>
                      <a:lnTo>
                        <a:pt x="681" y="844"/>
                      </a:lnTo>
                      <a:lnTo>
                        <a:pt x="683" y="815"/>
                      </a:lnTo>
                      <a:lnTo>
                        <a:pt x="681" y="787"/>
                      </a:lnTo>
                      <a:lnTo>
                        <a:pt x="674" y="762"/>
                      </a:lnTo>
                      <a:lnTo>
                        <a:pt x="661" y="740"/>
                      </a:lnTo>
                      <a:lnTo>
                        <a:pt x="647" y="722"/>
                      </a:lnTo>
                      <a:lnTo>
                        <a:pt x="627" y="705"/>
                      </a:lnTo>
                      <a:lnTo>
                        <a:pt x="606" y="691"/>
                      </a:lnTo>
                      <a:lnTo>
                        <a:pt x="580" y="677"/>
                      </a:lnTo>
                      <a:lnTo>
                        <a:pt x="552" y="667"/>
                      </a:lnTo>
                      <a:lnTo>
                        <a:pt x="522" y="656"/>
                      </a:lnTo>
                      <a:lnTo>
                        <a:pt x="490" y="647"/>
                      </a:lnTo>
                      <a:lnTo>
                        <a:pt x="457" y="639"/>
                      </a:lnTo>
                      <a:lnTo>
                        <a:pt x="422" y="630"/>
                      </a:lnTo>
                      <a:lnTo>
                        <a:pt x="387" y="622"/>
                      </a:lnTo>
                      <a:lnTo>
                        <a:pt x="352" y="613"/>
                      </a:lnTo>
                      <a:lnTo>
                        <a:pt x="317" y="605"/>
                      </a:lnTo>
                      <a:lnTo>
                        <a:pt x="281" y="595"/>
                      </a:lnTo>
                      <a:lnTo>
                        <a:pt x="247" y="585"/>
                      </a:lnTo>
                      <a:lnTo>
                        <a:pt x="215" y="572"/>
                      </a:lnTo>
                      <a:lnTo>
                        <a:pt x="183" y="558"/>
                      </a:lnTo>
                      <a:lnTo>
                        <a:pt x="153" y="542"/>
                      </a:lnTo>
                      <a:lnTo>
                        <a:pt x="125" y="524"/>
                      </a:lnTo>
                      <a:lnTo>
                        <a:pt x="99" y="504"/>
                      </a:lnTo>
                      <a:lnTo>
                        <a:pt x="77" y="480"/>
                      </a:lnTo>
                      <a:lnTo>
                        <a:pt x="58" y="453"/>
                      </a:lnTo>
                      <a:lnTo>
                        <a:pt x="42" y="423"/>
                      </a:lnTo>
                      <a:lnTo>
                        <a:pt x="31" y="389"/>
                      </a:lnTo>
                      <a:lnTo>
                        <a:pt x="24" y="350"/>
                      </a:lnTo>
                      <a:lnTo>
                        <a:pt x="21" y="308"/>
                      </a:lnTo>
                      <a:lnTo>
                        <a:pt x="24" y="267"/>
                      </a:lnTo>
                      <a:lnTo>
                        <a:pt x="31" y="228"/>
                      </a:lnTo>
                      <a:lnTo>
                        <a:pt x="43" y="193"/>
                      </a:lnTo>
                      <a:lnTo>
                        <a:pt x="60" y="161"/>
                      </a:lnTo>
                      <a:lnTo>
                        <a:pt x="80" y="132"/>
                      </a:lnTo>
                      <a:lnTo>
                        <a:pt x="103" y="107"/>
                      </a:lnTo>
                      <a:lnTo>
                        <a:pt x="130" y="84"/>
                      </a:lnTo>
                      <a:lnTo>
                        <a:pt x="159" y="63"/>
                      </a:lnTo>
                      <a:lnTo>
                        <a:pt x="190" y="46"/>
                      </a:lnTo>
                      <a:lnTo>
                        <a:pt x="223" y="32"/>
                      </a:lnTo>
                      <a:lnTo>
                        <a:pt x="257" y="21"/>
                      </a:lnTo>
                      <a:lnTo>
                        <a:pt x="292" y="12"/>
                      </a:lnTo>
                      <a:lnTo>
                        <a:pt x="327" y="6"/>
                      </a:lnTo>
                      <a:lnTo>
                        <a:pt x="364" y="2"/>
                      </a:lnTo>
                      <a:lnTo>
                        <a:pt x="39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193" name="Freeform 7">
                  <a:extLst>
                    <a:ext uri="{FF2B5EF4-FFF2-40B4-BE49-F238E27FC236}">
                      <a16:creationId xmlns:a16="http://schemas.microsoft.com/office/drawing/2014/main" id="{C294D431-A9AF-4C0F-BB96-5CFA0CB8C1F8}"/>
                    </a:ext>
                  </a:extLst>
                </p:cNvPr>
                <p:cNvSpPr>
                  <a:spLocks noEditPoints="1"/>
                </p:cNvSpPr>
                <p:nvPr userDrawn="1"/>
              </p:nvSpPr>
              <p:spPr bwMode="auto">
                <a:xfrm>
                  <a:off x="6994526" y="4454526"/>
                  <a:ext cx="377825" cy="449263"/>
                </a:xfrm>
                <a:custGeom>
                  <a:avLst/>
                  <a:gdLst>
                    <a:gd name="T0" fmla="*/ 629 w 951"/>
                    <a:gd name="T1" fmla="*/ 576 h 1132"/>
                    <a:gd name="T2" fmla="*/ 530 w 951"/>
                    <a:gd name="T3" fmla="*/ 600 h 1132"/>
                    <a:gd name="T4" fmla="*/ 417 w 951"/>
                    <a:gd name="T5" fmla="*/ 616 h 1132"/>
                    <a:gd name="T6" fmla="*/ 322 w 951"/>
                    <a:gd name="T7" fmla="*/ 636 h 1132"/>
                    <a:gd name="T8" fmla="*/ 247 w 951"/>
                    <a:gd name="T9" fmla="*/ 670 h 1132"/>
                    <a:gd name="T10" fmla="*/ 196 w 951"/>
                    <a:gd name="T11" fmla="*/ 728 h 1132"/>
                    <a:gd name="T12" fmla="*/ 176 w 951"/>
                    <a:gd name="T13" fmla="*/ 817 h 1132"/>
                    <a:gd name="T14" fmla="*/ 194 w 951"/>
                    <a:gd name="T15" fmla="*/ 897 h 1132"/>
                    <a:gd name="T16" fmla="*/ 245 w 951"/>
                    <a:gd name="T17" fmla="*/ 947 h 1132"/>
                    <a:gd name="T18" fmla="*/ 317 w 951"/>
                    <a:gd name="T19" fmla="*/ 972 h 1132"/>
                    <a:gd name="T20" fmla="*/ 417 w 951"/>
                    <a:gd name="T21" fmla="*/ 974 h 1132"/>
                    <a:gd name="T22" fmla="*/ 528 w 951"/>
                    <a:gd name="T23" fmla="*/ 944 h 1132"/>
                    <a:gd name="T24" fmla="*/ 609 w 951"/>
                    <a:gd name="T25" fmla="*/ 890 h 1132"/>
                    <a:gd name="T26" fmla="*/ 658 w 951"/>
                    <a:gd name="T27" fmla="*/ 822 h 1132"/>
                    <a:gd name="T28" fmla="*/ 679 w 951"/>
                    <a:gd name="T29" fmla="*/ 753 h 1132"/>
                    <a:gd name="T30" fmla="*/ 468 w 951"/>
                    <a:gd name="T31" fmla="*/ 0 h 1132"/>
                    <a:gd name="T32" fmla="*/ 570 w 951"/>
                    <a:gd name="T33" fmla="*/ 6 h 1132"/>
                    <a:gd name="T34" fmla="*/ 668 w 951"/>
                    <a:gd name="T35" fmla="*/ 28 h 1132"/>
                    <a:gd name="T36" fmla="*/ 752 w 951"/>
                    <a:gd name="T37" fmla="*/ 72 h 1132"/>
                    <a:gd name="T38" fmla="*/ 814 w 951"/>
                    <a:gd name="T39" fmla="*/ 145 h 1132"/>
                    <a:gd name="T40" fmla="*/ 845 w 951"/>
                    <a:gd name="T41" fmla="*/ 253 h 1132"/>
                    <a:gd name="T42" fmla="*/ 848 w 951"/>
                    <a:gd name="T43" fmla="*/ 884 h 1132"/>
                    <a:gd name="T44" fmla="*/ 854 w 951"/>
                    <a:gd name="T45" fmla="*/ 947 h 1132"/>
                    <a:gd name="T46" fmla="*/ 883 w 951"/>
                    <a:gd name="T47" fmla="*/ 974 h 1132"/>
                    <a:gd name="T48" fmla="*/ 932 w 951"/>
                    <a:gd name="T49" fmla="*/ 972 h 1132"/>
                    <a:gd name="T50" fmla="*/ 933 w 951"/>
                    <a:gd name="T51" fmla="*/ 1114 h 1132"/>
                    <a:gd name="T52" fmla="*/ 861 w 951"/>
                    <a:gd name="T53" fmla="*/ 1131 h 1132"/>
                    <a:gd name="T54" fmla="*/ 779 w 951"/>
                    <a:gd name="T55" fmla="*/ 1125 h 1132"/>
                    <a:gd name="T56" fmla="*/ 721 w 951"/>
                    <a:gd name="T57" fmla="*/ 1083 h 1132"/>
                    <a:gd name="T58" fmla="*/ 692 w 951"/>
                    <a:gd name="T59" fmla="*/ 1002 h 1132"/>
                    <a:gd name="T60" fmla="*/ 616 w 951"/>
                    <a:gd name="T61" fmla="*/ 1041 h 1132"/>
                    <a:gd name="T62" fmla="*/ 485 w 951"/>
                    <a:gd name="T63" fmla="*/ 1111 h 1132"/>
                    <a:gd name="T64" fmla="*/ 334 w 951"/>
                    <a:gd name="T65" fmla="*/ 1132 h 1132"/>
                    <a:gd name="T66" fmla="*/ 222 w 951"/>
                    <a:gd name="T67" fmla="*/ 1120 h 1132"/>
                    <a:gd name="T68" fmla="*/ 125 w 951"/>
                    <a:gd name="T69" fmla="*/ 1082 h 1132"/>
                    <a:gd name="T70" fmla="*/ 52 w 951"/>
                    <a:gd name="T71" fmla="*/ 1013 h 1132"/>
                    <a:gd name="T72" fmla="*/ 9 w 951"/>
                    <a:gd name="T73" fmla="*/ 914 h 1132"/>
                    <a:gd name="T74" fmla="*/ 1 w 951"/>
                    <a:gd name="T75" fmla="*/ 784 h 1132"/>
                    <a:gd name="T76" fmla="*/ 33 w 951"/>
                    <a:gd name="T77" fmla="*/ 671 h 1132"/>
                    <a:gd name="T78" fmla="*/ 94 w 951"/>
                    <a:gd name="T79" fmla="*/ 594 h 1132"/>
                    <a:gd name="T80" fmla="*/ 176 w 951"/>
                    <a:gd name="T81" fmla="*/ 545 h 1132"/>
                    <a:gd name="T82" fmla="*/ 273 w 951"/>
                    <a:gd name="T83" fmla="*/ 512 h 1132"/>
                    <a:gd name="T84" fmla="*/ 381 w 951"/>
                    <a:gd name="T85" fmla="*/ 489 h 1132"/>
                    <a:gd name="T86" fmla="*/ 491 w 951"/>
                    <a:gd name="T87" fmla="*/ 472 h 1132"/>
                    <a:gd name="T88" fmla="*/ 582 w 951"/>
                    <a:gd name="T89" fmla="*/ 453 h 1132"/>
                    <a:gd name="T90" fmla="*/ 647 w 951"/>
                    <a:gd name="T91" fmla="*/ 422 h 1132"/>
                    <a:gd name="T92" fmla="*/ 680 w 951"/>
                    <a:gd name="T93" fmla="*/ 365 h 1132"/>
                    <a:gd name="T94" fmla="*/ 675 w 951"/>
                    <a:gd name="T95" fmla="*/ 276 h 1132"/>
                    <a:gd name="T96" fmla="*/ 638 w 951"/>
                    <a:gd name="T97" fmla="*/ 210 h 1132"/>
                    <a:gd name="T98" fmla="*/ 578 w 951"/>
                    <a:gd name="T99" fmla="*/ 175 h 1132"/>
                    <a:gd name="T100" fmla="*/ 506 w 951"/>
                    <a:gd name="T101" fmla="*/ 160 h 1132"/>
                    <a:gd name="T102" fmla="*/ 423 w 951"/>
                    <a:gd name="T103" fmla="*/ 158 h 1132"/>
                    <a:gd name="T104" fmla="*/ 332 w 951"/>
                    <a:gd name="T105" fmla="*/ 175 h 1132"/>
                    <a:gd name="T106" fmla="*/ 261 w 951"/>
                    <a:gd name="T107" fmla="*/ 218 h 1132"/>
                    <a:gd name="T108" fmla="*/ 216 w 951"/>
                    <a:gd name="T109" fmla="*/ 292 h 1132"/>
                    <a:gd name="T110" fmla="*/ 39 w 951"/>
                    <a:gd name="T111" fmla="*/ 362 h 1132"/>
                    <a:gd name="T112" fmla="*/ 66 w 951"/>
                    <a:gd name="T113" fmla="*/ 222 h 1132"/>
                    <a:gd name="T114" fmla="*/ 129 w 951"/>
                    <a:gd name="T115" fmla="*/ 120 h 1132"/>
                    <a:gd name="T116" fmla="*/ 222 w 951"/>
                    <a:gd name="T117" fmla="*/ 51 h 1132"/>
                    <a:gd name="T118" fmla="*/ 338 w 951"/>
                    <a:gd name="T119" fmla="*/ 12 h 1132"/>
                    <a:gd name="T120" fmla="*/ 468 w 951"/>
                    <a:gd name="T12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51" h="1132">
                      <a:moveTo>
                        <a:pt x="681" y="550"/>
                      </a:moveTo>
                      <a:lnTo>
                        <a:pt x="657" y="564"/>
                      </a:lnTo>
                      <a:lnTo>
                        <a:pt x="629" y="576"/>
                      </a:lnTo>
                      <a:lnTo>
                        <a:pt x="599" y="586"/>
                      </a:lnTo>
                      <a:lnTo>
                        <a:pt x="565" y="593"/>
                      </a:lnTo>
                      <a:lnTo>
                        <a:pt x="530" y="600"/>
                      </a:lnTo>
                      <a:lnTo>
                        <a:pt x="493" y="605"/>
                      </a:lnTo>
                      <a:lnTo>
                        <a:pt x="455" y="611"/>
                      </a:lnTo>
                      <a:lnTo>
                        <a:pt x="417" y="616"/>
                      </a:lnTo>
                      <a:lnTo>
                        <a:pt x="379" y="622"/>
                      </a:lnTo>
                      <a:lnTo>
                        <a:pt x="350" y="629"/>
                      </a:lnTo>
                      <a:lnTo>
                        <a:pt x="322" y="636"/>
                      </a:lnTo>
                      <a:lnTo>
                        <a:pt x="295" y="646"/>
                      </a:lnTo>
                      <a:lnTo>
                        <a:pt x="270" y="657"/>
                      </a:lnTo>
                      <a:lnTo>
                        <a:pt x="247" y="670"/>
                      </a:lnTo>
                      <a:lnTo>
                        <a:pt x="227" y="686"/>
                      </a:lnTo>
                      <a:lnTo>
                        <a:pt x="209" y="705"/>
                      </a:lnTo>
                      <a:lnTo>
                        <a:pt x="196" y="728"/>
                      </a:lnTo>
                      <a:lnTo>
                        <a:pt x="185" y="753"/>
                      </a:lnTo>
                      <a:lnTo>
                        <a:pt x="177" y="784"/>
                      </a:lnTo>
                      <a:lnTo>
                        <a:pt x="176" y="817"/>
                      </a:lnTo>
                      <a:lnTo>
                        <a:pt x="177" y="848"/>
                      </a:lnTo>
                      <a:lnTo>
                        <a:pt x="185" y="874"/>
                      </a:lnTo>
                      <a:lnTo>
                        <a:pt x="194" y="897"/>
                      </a:lnTo>
                      <a:lnTo>
                        <a:pt x="209" y="916"/>
                      </a:lnTo>
                      <a:lnTo>
                        <a:pt x="226" y="933"/>
                      </a:lnTo>
                      <a:lnTo>
                        <a:pt x="245" y="947"/>
                      </a:lnTo>
                      <a:lnTo>
                        <a:pt x="267" y="957"/>
                      </a:lnTo>
                      <a:lnTo>
                        <a:pt x="292" y="966"/>
                      </a:lnTo>
                      <a:lnTo>
                        <a:pt x="317" y="972"/>
                      </a:lnTo>
                      <a:lnTo>
                        <a:pt x="344" y="974"/>
                      </a:lnTo>
                      <a:lnTo>
                        <a:pt x="372" y="976"/>
                      </a:lnTo>
                      <a:lnTo>
                        <a:pt x="417" y="974"/>
                      </a:lnTo>
                      <a:lnTo>
                        <a:pt x="458" y="967"/>
                      </a:lnTo>
                      <a:lnTo>
                        <a:pt x="496" y="957"/>
                      </a:lnTo>
                      <a:lnTo>
                        <a:pt x="528" y="944"/>
                      </a:lnTo>
                      <a:lnTo>
                        <a:pt x="559" y="929"/>
                      </a:lnTo>
                      <a:lnTo>
                        <a:pt x="585" y="910"/>
                      </a:lnTo>
                      <a:lnTo>
                        <a:pt x="609" y="890"/>
                      </a:lnTo>
                      <a:lnTo>
                        <a:pt x="628" y="869"/>
                      </a:lnTo>
                      <a:lnTo>
                        <a:pt x="645" y="846"/>
                      </a:lnTo>
                      <a:lnTo>
                        <a:pt x="658" y="822"/>
                      </a:lnTo>
                      <a:lnTo>
                        <a:pt x="668" y="799"/>
                      </a:lnTo>
                      <a:lnTo>
                        <a:pt x="675" y="775"/>
                      </a:lnTo>
                      <a:lnTo>
                        <a:pt x="679" y="753"/>
                      </a:lnTo>
                      <a:lnTo>
                        <a:pt x="681" y="732"/>
                      </a:lnTo>
                      <a:lnTo>
                        <a:pt x="681" y="550"/>
                      </a:lnTo>
                      <a:close/>
                      <a:moveTo>
                        <a:pt x="468" y="0"/>
                      </a:moveTo>
                      <a:lnTo>
                        <a:pt x="502" y="2"/>
                      </a:lnTo>
                      <a:lnTo>
                        <a:pt x="536" y="3"/>
                      </a:lnTo>
                      <a:lnTo>
                        <a:pt x="570" y="6"/>
                      </a:lnTo>
                      <a:lnTo>
                        <a:pt x="604" y="11"/>
                      </a:lnTo>
                      <a:lnTo>
                        <a:pt x="636" y="18"/>
                      </a:lnTo>
                      <a:lnTo>
                        <a:pt x="668" y="28"/>
                      </a:lnTo>
                      <a:lnTo>
                        <a:pt x="697" y="40"/>
                      </a:lnTo>
                      <a:lnTo>
                        <a:pt x="725" y="55"/>
                      </a:lnTo>
                      <a:lnTo>
                        <a:pt x="752" y="72"/>
                      </a:lnTo>
                      <a:lnTo>
                        <a:pt x="775" y="93"/>
                      </a:lnTo>
                      <a:lnTo>
                        <a:pt x="796" y="117"/>
                      </a:lnTo>
                      <a:lnTo>
                        <a:pt x="814" y="145"/>
                      </a:lnTo>
                      <a:lnTo>
                        <a:pt x="828" y="177"/>
                      </a:lnTo>
                      <a:lnTo>
                        <a:pt x="838" y="213"/>
                      </a:lnTo>
                      <a:lnTo>
                        <a:pt x="845" y="253"/>
                      </a:lnTo>
                      <a:lnTo>
                        <a:pt x="848" y="298"/>
                      </a:lnTo>
                      <a:lnTo>
                        <a:pt x="848" y="855"/>
                      </a:lnTo>
                      <a:lnTo>
                        <a:pt x="848" y="884"/>
                      </a:lnTo>
                      <a:lnTo>
                        <a:pt x="848" y="909"/>
                      </a:lnTo>
                      <a:lnTo>
                        <a:pt x="850" y="930"/>
                      </a:lnTo>
                      <a:lnTo>
                        <a:pt x="854" y="947"/>
                      </a:lnTo>
                      <a:lnTo>
                        <a:pt x="860" y="960"/>
                      </a:lnTo>
                      <a:lnTo>
                        <a:pt x="870" y="968"/>
                      </a:lnTo>
                      <a:lnTo>
                        <a:pt x="883" y="974"/>
                      </a:lnTo>
                      <a:lnTo>
                        <a:pt x="900" y="976"/>
                      </a:lnTo>
                      <a:lnTo>
                        <a:pt x="915" y="976"/>
                      </a:lnTo>
                      <a:lnTo>
                        <a:pt x="932" y="972"/>
                      </a:lnTo>
                      <a:lnTo>
                        <a:pt x="951" y="966"/>
                      </a:lnTo>
                      <a:lnTo>
                        <a:pt x="951" y="1104"/>
                      </a:lnTo>
                      <a:lnTo>
                        <a:pt x="933" y="1114"/>
                      </a:lnTo>
                      <a:lnTo>
                        <a:pt x="911" y="1122"/>
                      </a:lnTo>
                      <a:lnTo>
                        <a:pt x="888" y="1128"/>
                      </a:lnTo>
                      <a:lnTo>
                        <a:pt x="861" y="1131"/>
                      </a:lnTo>
                      <a:lnTo>
                        <a:pt x="832" y="1132"/>
                      </a:lnTo>
                      <a:lnTo>
                        <a:pt x="804" y="1131"/>
                      </a:lnTo>
                      <a:lnTo>
                        <a:pt x="779" y="1125"/>
                      </a:lnTo>
                      <a:lnTo>
                        <a:pt x="757" y="1116"/>
                      </a:lnTo>
                      <a:lnTo>
                        <a:pt x="737" y="1101"/>
                      </a:lnTo>
                      <a:lnTo>
                        <a:pt x="721" y="1083"/>
                      </a:lnTo>
                      <a:lnTo>
                        <a:pt x="708" y="1061"/>
                      </a:lnTo>
                      <a:lnTo>
                        <a:pt x="698" y="1034"/>
                      </a:lnTo>
                      <a:lnTo>
                        <a:pt x="692" y="1002"/>
                      </a:lnTo>
                      <a:lnTo>
                        <a:pt x="691" y="966"/>
                      </a:lnTo>
                      <a:lnTo>
                        <a:pt x="655" y="1006"/>
                      </a:lnTo>
                      <a:lnTo>
                        <a:pt x="616" y="1041"/>
                      </a:lnTo>
                      <a:lnTo>
                        <a:pt x="575" y="1069"/>
                      </a:lnTo>
                      <a:lnTo>
                        <a:pt x="531" y="1093"/>
                      </a:lnTo>
                      <a:lnTo>
                        <a:pt x="485" y="1111"/>
                      </a:lnTo>
                      <a:lnTo>
                        <a:pt x="436" y="1123"/>
                      </a:lnTo>
                      <a:lnTo>
                        <a:pt x="386" y="1130"/>
                      </a:lnTo>
                      <a:lnTo>
                        <a:pt x="334" y="1132"/>
                      </a:lnTo>
                      <a:lnTo>
                        <a:pt x="295" y="1131"/>
                      </a:lnTo>
                      <a:lnTo>
                        <a:pt x="258" y="1128"/>
                      </a:lnTo>
                      <a:lnTo>
                        <a:pt x="222" y="1120"/>
                      </a:lnTo>
                      <a:lnTo>
                        <a:pt x="187" y="1111"/>
                      </a:lnTo>
                      <a:lnTo>
                        <a:pt x="155" y="1097"/>
                      </a:lnTo>
                      <a:lnTo>
                        <a:pt x="125" y="1082"/>
                      </a:lnTo>
                      <a:lnTo>
                        <a:pt x="98" y="1062"/>
                      </a:lnTo>
                      <a:lnTo>
                        <a:pt x="73" y="1040"/>
                      </a:lnTo>
                      <a:lnTo>
                        <a:pt x="52" y="1013"/>
                      </a:lnTo>
                      <a:lnTo>
                        <a:pt x="34" y="984"/>
                      </a:lnTo>
                      <a:lnTo>
                        <a:pt x="19" y="951"/>
                      </a:lnTo>
                      <a:lnTo>
                        <a:pt x="9" y="914"/>
                      </a:lnTo>
                      <a:lnTo>
                        <a:pt x="1" y="874"/>
                      </a:lnTo>
                      <a:lnTo>
                        <a:pt x="0" y="830"/>
                      </a:lnTo>
                      <a:lnTo>
                        <a:pt x="1" y="784"/>
                      </a:lnTo>
                      <a:lnTo>
                        <a:pt x="9" y="741"/>
                      </a:lnTo>
                      <a:lnTo>
                        <a:pt x="18" y="704"/>
                      </a:lnTo>
                      <a:lnTo>
                        <a:pt x="33" y="671"/>
                      </a:lnTo>
                      <a:lnTo>
                        <a:pt x="50" y="642"/>
                      </a:lnTo>
                      <a:lnTo>
                        <a:pt x="70" y="617"/>
                      </a:lnTo>
                      <a:lnTo>
                        <a:pt x="94" y="594"/>
                      </a:lnTo>
                      <a:lnTo>
                        <a:pt x="119" y="575"/>
                      </a:lnTo>
                      <a:lnTo>
                        <a:pt x="147" y="559"/>
                      </a:lnTo>
                      <a:lnTo>
                        <a:pt x="176" y="545"/>
                      </a:lnTo>
                      <a:lnTo>
                        <a:pt x="208" y="533"/>
                      </a:lnTo>
                      <a:lnTo>
                        <a:pt x="241" y="522"/>
                      </a:lnTo>
                      <a:lnTo>
                        <a:pt x="273" y="512"/>
                      </a:lnTo>
                      <a:lnTo>
                        <a:pt x="307" y="505"/>
                      </a:lnTo>
                      <a:lnTo>
                        <a:pt x="343" y="496"/>
                      </a:lnTo>
                      <a:lnTo>
                        <a:pt x="381" y="489"/>
                      </a:lnTo>
                      <a:lnTo>
                        <a:pt x="419" y="483"/>
                      </a:lnTo>
                      <a:lnTo>
                        <a:pt x="455" y="477"/>
                      </a:lnTo>
                      <a:lnTo>
                        <a:pt x="491" y="472"/>
                      </a:lnTo>
                      <a:lnTo>
                        <a:pt x="523" y="466"/>
                      </a:lnTo>
                      <a:lnTo>
                        <a:pt x="554" y="460"/>
                      </a:lnTo>
                      <a:lnTo>
                        <a:pt x="582" y="453"/>
                      </a:lnTo>
                      <a:lnTo>
                        <a:pt x="606" y="445"/>
                      </a:lnTo>
                      <a:lnTo>
                        <a:pt x="629" y="434"/>
                      </a:lnTo>
                      <a:lnTo>
                        <a:pt x="647" y="422"/>
                      </a:lnTo>
                      <a:lnTo>
                        <a:pt x="662" y="406"/>
                      </a:lnTo>
                      <a:lnTo>
                        <a:pt x="674" y="387"/>
                      </a:lnTo>
                      <a:lnTo>
                        <a:pt x="680" y="365"/>
                      </a:lnTo>
                      <a:lnTo>
                        <a:pt x="683" y="338"/>
                      </a:lnTo>
                      <a:lnTo>
                        <a:pt x="680" y="304"/>
                      </a:lnTo>
                      <a:lnTo>
                        <a:pt x="675" y="276"/>
                      </a:lnTo>
                      <a:lnTo>
                        <a:pt x="666" y="250"/>
                      </a:lnTo>
                      <a:lnTo>
                        <a:pt x="652" y="228"/>
                      </a:lnTo>
                      <a:lnTo>
                        <a:pt x="638" y="210"/>
                      </a:lnTo>
                      <a:lnTo>
                        <a:pt x="619" y="196"/>
                      </a:lnTo>
                      <a:lnTo>
                        <a:pt x="600" y="184"/>
                      </a:lnTo>
                      <a:lnTo>
                        <a:pt x="578" y="175"/>
                      </a:lnTo>
                      <a:lnTo>
                        <a:pt x="555" y="168"/>
                      </a:lnTo>
                      <a:lnTo>
                        <a:pt x="532" y="163"/>
                      </a:lnTo>
                      <a:lnTo>
                        <a:pt x="506" y="160"/>
                      </a:lnTo>
                      <a:lnTo>
                        <a:pt x="482" y="158"/>
                      </a:lnTo>
                      <a:lnTo>
                        <a:pt x="458" y="157"/>
                      </a:lnTo>
                      <a:lnTo>
                        <a:pt x="423" y="158"/>
                      </a:lnTo>
                      <a:lnTo>
                        <a:pt x="391" y="162"/>
                      </a:lnTo>
                      <a:lnTo>
                        <a:pt x="360" y="168"/>
                      </a:lnTo>
                      <a:lnTo>
                        <a:pt x="332" y="175"/>
                      </a:lnTo>
                      <a:lnTo>
                        <a:pt x="305" y="186"/>
                      </a:lnTo>
                      <a:lnTo>
                        <a:pt x="282" y="201"/>
                      </a:lnTo>
                      <a:lnTo>
                        <a:pt x="261" y="218"/>
                      </a:lnTo>
                      <a:lnTo>
                        <a:pt x="243" y="239"/>
                      </a:lnTo>
                      <a:lnTo>
                        <a:pt x="228" y="263"/>
                      </a:lnTo>
                      <a:lnTo>
                        <a:pt x="216" y="292"/>
                      </a:lnTo>
                      <a:lnTo>
                        <a:pt x="209" y="325"/>
                      </a:lnTo>
                      <a:lnTo>
                        <a:pt x="205" y="362"/>
                      </a:lnTo>
                      <a:lnTo>
                        <a:pt x="39" y="362"/>
                      </a:lnTo>
                      <a:lnTo>
                        <a:pt x="43" y="312"/>
                      </a:lnTo>
                      <a:lnTo>
                        <a:pt x="52" y="265"/>
                      </a:lnTo>
                      <a:lnTo>
                        <a:pt x="66" y="222"/>
                      </a:lnTo>
                      <a:lnTo>
                        <a:pt x="83" y="184"/>
                      </a:lnTo>
                      <a:lnTo>
                        <a:pt x="104" y="150"/>
                      </a:lnTo>
                      <a:lnTo>
                        <a:pt x="129" y="120"/>
                      </a:lnTo>
                      <a:lnTo>
                        <a:pt x="157" y="93"/>
                      </a:lnTo>
                      <a:lnTo>
                        <a:pt x="188" y="70"/>
                      </a:lnTo>
                      <a:lnTo>
                        <a:pt x="222" y="51"/>
                      </a:lnTo>
                      <a:lnTo>
                        <a:pt x="259" y="35"/>
                      </a:lnTo>
                      <a:lnTo>
                        <a:pt x="296" y="22"/>
                      </a:lnTo>
                      <a:lnTo>
                        <a:pt x="338" y="12"/>
                      </a:lnTo>
                      <a:lnTo>
                        <a:pt x="379" y="6"/>
                      </a:lnTo>
                      <a:lnTo>
                        <a:pt x="423" y="3"/>
                      </a:lnTo>
                      <a:lnTo>
                        <a:pt x="468"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194" name="Freeform 8">
                  <a:extLst>
                    <a:ext uri="{FF2B5EF4-FFF2-40B4-BE49-F238E27FC236}">
                      <a16:creationId xmlns:a16="http://schemas.microsoft.com/office/drawing/2014/main" id="{94F92BEA-B819-40D1-8374-C02528442776}"/>
                    </a:ext>
                  </a:extLst>
                </p:cNvPr>
                <p:cNvSpPr>
                  <a:spLocks/>
                </p:cNvSpPr>
                <p:nvPr userDrawn="1"/>
              </p:nvSpPr>
              <p:spPr bwMode="auto">
                <a:xfrm>
                  <a:off x="7367588" y="4454526"/>
                  <a:ext cx="341313" cy="449263"/>
                </a:xfrm>
                <a:custGeom>
                  <a:avLst/>
                  <a:gdLst>
                    <a:gd name="T0" fmla="*/ 486 w 860"/>
                    <a:gd name="T1" fmla="*/ 5 h 1132"/>
                    <a:gd name="T2" fmla="*/ 604 w 860"/>
                    <a:gd name="T3" fmla="*/ 31 h 1132"/>
                    <a:gd name="T4" fmla="*/ 701 w 860"/>
                    <a:gd name="T5" fmla="*/ 82 h 1132"/>
                    <a:gd name="T6" fmla="*/ 771 w 860"/>
                    <a:gd name="T7" fmla="*/ 167 h 1132"/>
                    <a:gd name="T8" fmla="*/ 810 w 860"/>
                    <a:gd name="T9" fmla="*/ 290 h 1132"/>
                    <a:gd name="T10" fmla="*/ 644 w 860"/>
                    <a:gd name="T11" fmla="*/ 307 h 1132"/>
                    <a:gd name="T12" fmla="*/ 606 w 860"/>
                    <a:gd name="T13" fmla="*/ 231 h 1132"/>
                    <a:gd name="T14" fmla="*/ 545 w 860"/>
                    <a:gd name="T15" fmla="*/ 184 h 1132"/>
                    <a:gd name="T16" fmla="*/ 467 w 860"/>
                    <a:gd name="T17" fmla="*/ 162 h 1132"/>
                    <a:gd name="T18" fmla="*/ 386 w 860"/>
                    <a:gd name="T19" fmla="*/ 158 h 1132"/>
                    <a:gd name="T20" fmla="*/ 305 w 860"/>
                    <a:gd name="T21" fmla="*/ 172 h 1132"/>
                    <a:gd name="T22" fmla="*/ 238 w 860"/>
                    <a:gd name="T23" fmla="*/ 207 h 1132"/>
                    <a:gd name="T24" fmla="*/ 200 w 860"/>
                    <a:gd name="T25" fmla="*/ 268 h 1132"/>
                    <a:gd name="T26" fmla="*/ 208 w 860"/>
                    <a:gd name="T27" fmla="*/ 344 h 1132"/>
                    <a:gd name="T28" fmla="*/ 256 w 860"/>
                    <a:gd name="T29" fmla="*/ 397 h 1132"/>
                    <a:gd name="T30" fmla="*/ 334 w 860"/>
                    <a:gd name="T31" fmla="*/ 434 h 1132"/>
                    <a:gd name="T32" fmla="*/ 429 w 860"/>
                    <a:gd name="T33" fmla="*/ 460 h 1132"/>
                    <a:gd name="T34" fmla="*/ 528 w 860"/>
                    <a:gd name="T35" fmla="*/ 484 h 1132"/>
                    <a:gd name="T36" fmla="*/ 634 w 860"/>
                    <a:gd name="T37" fmla="*/ 513 h 1132"/>
                    <a:gd name="T38" fmla="*/ 729 w 860"/>
                    <a:gd name="T39" fmla="*/ 556 h 1132"/>
                    <a:gd name="T40" fmla="*/ 804 w 860"/>
                    <a:gd name="T41" fmla="*/ 620 h 1132"/>
                    <a:gd name="T42" fmla="*/ 850 w 860"/>
                    <a:gd name="T43" fmla="*/ 711 h 1132"/>
                    <a:gd name="T44" fmla="*/ 857 w 860"/>
                    <a:gd name="T45" fmla="*/ 838 h 1132"/>
                    <a:gd name="T46" fmla="*/ 821 w 860"/>
                    <a:gd name="T47" fmla="*/ 954 h 1132"/>
                    <a:gd name="T48" fmla="*/ 750 w 860"/>
                    <a:gd name="T49" fmla="*/ 1037 h 1132"/>
                    <a:gd name="T50" fmla="*/ 656 w 860"/>
                    <a:gd name="T51" fmla="*/ 1093 h 1132"/>
                    <a:gd name="T52" fmla="*/ 545 w 860"/>
                    <a:gd name="T53" fmla="*/ 1124 h 1132"/>
                    <a:gd name="T54" fmla="*/ 429 w 860"/>
                    <a:gd name="T55" fmla="*/ 1132 h 1132"/>
                    <a:gd name="T56" fmla="*/ 299 w 860"/>
                    <a:gd name="T57" fmla="*/ 1120 h 1132"/>
                    <a:gd name="T58" fmla="*/ 182 w 860"/>
                    <a:gd name="T59" fmla="*/ 1081 h 1132"/>
                    <a:gd name="T60" fmla="*/ 90 w 860"/>
                    <a:gd name="T61" fmla="*/ 1012 h 1132"/>
                    <a:gd name="T62" fmla="*/ 27 w 860"/>
                    <a:gd name="T63" fmla="*/ 908 h 1132"/>
                    <a:gd name="T64" fmla="*/ 0 w 860"/>
                    <a:gd name="T65" fmla="*/ 767 h 1132"/>
                    <a:gd name="T66" fmla="*/ 180 w 860"/>
                    <a:gd name="T67" fmla="*/ 838 h 1132"/>
                    <a:gd name="T68" fmla="*/ 229 w 860"/>
                    <a:gd name="T69" fmla="*/ 913 h 1132"/>
                    <a:gd name="T70" fmla="*/ 308 w 860"/>
                    <a:gd name="T71" fmla="*/ 957 h 1132"/>
                    <a:gd name="T72" fmla="*/ 404 w 860"/>
                    <a:gd name="T73" fmla="*/ 974 h 1132"/>
                    <a:gd name="T74" fmla="*/ 488 w 860"/>
                    <a:gd name="T75" fmla="*/ 974 h 1132"/>
                    <a:gd name="T76" fmla="*/ 565 w 860"/>
                    <a:gd name="T77" fmla="*/ 960 h 1132"/>
                    <a:gd name="T78" fmla="*/ 631 w 860"/>
                    <a:gd name="T79" fmla="*/ 927 h 1132"/>
                    <a:gd name="T80" fmla="*/ 674 w 860"/>
                    <a:gd name="T81" fmla="*/ 871 h 1132"/>
                    <a:gd name="T82" fmla="*/ 681 w 860"/>
                    <a:gd name="T83" fmla="*/ 787 h 1132"/>
                    <a:gd name="T84" fmla="*/ 647 w 860"/>
                    <a:gd name="T85" fmla="*/ 722 h 1132"/>
                    <a:gd name="T86" fmla="*/ 580 w 860"/>
                    <a:gd name="T87" fmla="*/ 677 h 1132"/>
                    <a:gd name="T88" fmla="*/ 491 w 860"/>
                    <a:gd name="T89" fmla="*/ 647 h 1132"/>
                    <a:gd name="T90" fmla="*/ 389 w 860"/>
                    <a:gd name="T91" fmla="*/ 622 h 1132"/>
                    <a:gd name="T92" fmla="*/ 283 w 860"/>
                    <a:gd name="T93" fmla="*/ 595 h 1132"/>
                    <a:gd name="T94" fmla="*/ 183 w 860"/>
                    <a:gd name="T95" fmla="*/ 558 h 1132"/>
                    <a:gd name="T96" fmla="*/ 99 w 860"/>
                    <a:gd name="T97" fmla="*/ 504 h 1132"/>
                    <a:gd name="T98" fmla="*/ 42 w 860"/>
                    <a:gd name="T99" fmla="*/ 423 h 1132"/>
                    <a:gd name="T100" fmla="*/ 22 w 860"/>
                    <a:gd name="T101" fmla="*/ 308 h 1132"/>
                    <a:gd name="T102" fmla="*/ 44 w 860"/>
                    <a:gd name="T103" fmla="*/ 193 h 1132"/>
                    <a:gd name="T104" fmla="*/ 104 w 860"/>
                    <a:gd name="T105" fmla="*/ 107 h 1132"/>
                    <a:gd name="T106" fmla="*/ 191 w 860"/>
                    <a:gd name="T107" fmla="*/ 46 h 1132"/>
                    <a:gd name="T108" fmla="*/ 293 w 860"/>
                    <a:gd name="T109" fmla="*/ 12 h 1132"/>
                    <a:gd name="T110" fmla="*/ 399 w 860"/>
                    <a:gd name="T111" fmla="*/ 0 h 1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0" h="1132">
                      <a:moveTo>
                        <a:pt x="399" y="0"/>
                      </a:moveTo>
                      <a:lnTo>
                        <a:pt x="443" y="2"/>
                      </a:lnTo>
                      <a:lnTo>
                        <a:pt x="486" y="5"/>
                      </a:lnTo>
                      <a:lnTo>
                        <a:pt x="527" y="11"/>
                      </a:lnTo>
                      <a:lnTo>
                        <a:pt x="566" y="20"/>
                      </a:lnTo>
                      <a:lnTo>
                        <a:pt x="604" y="31"/>
                      </a:lnTo>
                      <a:lnTo>
                        <a:pt x="639" y="44"/>
                      </a:lnTo>
                      <a:lnTo>
                        <a:pt x="670" y="62"/>
                      </a:lnTo>
                      <a:lnTo>
                        <a:pt x="701" y="82"/>
                      </a:lnTo>
                      <a:lnTo>
                        <a:pt x="727" y="107"/>
                      </a:lnTo>
                      <a:lnTo>
                        <a:pt x="750" y="134"/>
                      </a:lnTo>
                      <a:lnTo>
                        <a:pt x="771" y="167"/>
                      </a:lnTo>
                      <a:lnTo>
                        <a:pt x="788" y="203"/>
                      </a:lnTo>
                      <a:lnTo>
                        <a:pt x="800" y="244"/>
                      </a:lnTo>
                      <a:lnTo>
                        <a:pt x="810" y="290"/>
                      </a:lnTo>
                      <a:lnTo>
                        <a:pt x="815" y="339"/>
                      </a:lnTo>
                      <a:lnTo>
                        <a:pt x="648" y="339"/>
                      </a:lnTo>
                      <a:lnTo>
                        <a:pt x="644" y="307"/>
                      </a:lnTo>
                      <a:lnTo>
                        <a:pt x="634" y="278"/>
                      </a:lnTo>
                      <a:lnTo>
                        <a:pt x="622" y="254"/>
                      </a:lnTo>
                      <a:lnTo>
                        <a:pt x="606" y="231"/>
                      </a:lnTo>
                      <a:lnTo>
                        <a:pt x="588" y="213"/>
                      </a:lnTo>
                      <a:lnTo>
                        <a:pt x="567" y="197"/>
                      </a:lnTo>
                      <a:lnTo>
                        <a:pt x="545" y="184"/>
                      </a:lnTo>
                      <a:lnTo>
                        <a:pt x="520" y="174"/>
                      </a:lnTo>
                      <a:lnTo>
                        <a:pt x="494" y="167"/>
                      </a:lnTo>
                      <a:lnTo>
                        <a:pt x="467" y="162"/>
                      </a:lnTo>
                      <a:lnTo>
                        <a:pt x="441" y="158"/>
                      </a:lnTo>
                      <a:lnTo>
                        <a:pt x="413" y="157"/>
                      </a:lnTo>
                      <a:lnTo>
                        <a:pt x="386" y="158"/>
                      </a:lnTo>
                      <a:lnTo>
                        <a:pt x="358" y="161"/>
                      </a:lnTo>
                      <a:lnTo>
                        <a:pt x="330" y="166"/>
                      </a:lnTo>
                      <a:lnTo>
                        <a:pt x="305" y="172"/>
                      </a:lnTo>
                      <a:lnTo>
                        <a:pt x="279" y="180"/>
                      </a:lnTo>
                      <a:lnTo>
                        <a:pt x="257" y="192"/>
                      </a:lnTo>
                      <a:lnTo>
                        <a:pt x="238" y="207"/>
                      </a:lnTo>
                      <a:lnTo>
                        <a:pt x="221" y="224"/>
                      </a:lnTo>
                      <a:lnTo>
                        <a:pt x="209" y="244"/>
                      </a:lnTo>
                      <a:lnTo>
                        <a:pt x="200" y="268"/>
                      </a:lnTo>
                      <a:lnTo>
                        <a:pt x="198" y="296"/>
                      </a:lnTo>
                      <a:lnTo>
                        <a:pt x="200" y="321"/>
                      </a:lnTo>
                      <a:lnTo>
                        <a:pt x="208" y="344"/>
                      </a:lnTo>
                      <a:lnTo>
                        <a:pt x="220" y="365"/>
                      </a:lnTo>
                      <a:lnTo>
                        <a:pt x="237" y="382"/>
                      </a:lnTo>
                      <a:lnTo>
                        <a:pt x="256" y="397"/>
                      </a:lnTo>
                      <a:lnTo>
                        <a:pt x="279" y="411"/>
                      </a:lnTo>
                      <a:lnTo>
                        <a:pt x="305" y="423"/>
                      </a:lnTo>
                      <a:lnTo>
                        <a:pt x="334" y="434"/>
                      </a:lnTo>
                      <a:lnTo>
                        <a:pt x="364" y="443"/>
                      </a:lnTo>
                      <a:lnTo>
                        <a:pt x="396" y="452"/>
                      </a:lnTo>
                      <a:lnTo>
                        <a:pt x="429" y="460"/>
                      </a:lnTo>
                      <a:lnTo>
                        <a:pt x="461" y="467"/>
                      </a:lnTo>
                      <a:lnTo>
                        <a:pt x="495" y="476"/>
                      </a:lnTo>
                      <a:lnTo>
                        <a:pt x="528" y="484"/>
                      </a:lnTo>
                      <a:lnTo>
                        <a:pt x="565" y="493"/>
                      </a:lnTo>
                      <a:lnTo>
                        <a:pt x="600" y="502"/>
                      </a:lnTo>
                      <a:lnTo>
                        <a:pt x="634" y="513"/>
                      </a:lnTo>
                      <a:lnTo>
                        <a:pt x="667" y="527"/>
                      </a:lnTo>
                      <a:lnTo>
                        <a:pt x="699" y="540"/>
                      </a:lnTo>
                      <a:lnTo>
                        <a:pt x="729" y="556"/>
                      </a:lnTo>
                      <a:lnTo>
                        <a:pt x="757" y="575"/>
                      </a:lnTo>
                      <a:lnTo>
                        <a:pt x="782" y="595"/>
                      </a:lnTo>
                      <a:lnTo>
                        <a:pt x="804" y="620"/>
                      </a:lnTo>
                      <a:lnTo>
                        <a:pt x="823" y="646"/>
                      </a:lnTo>
                      <a:lnTo>
                        <a:pt x="839" y="676"/>
                      </a:lnTo>
                      <a:lnTo>
                        <a:pt x="850" y="711"/>
                      </a:lnTo>
                      <a:lnTo>
                        <a:pt x="857" y="750"/>
                      </a:lnTo>
                      <a:lnTo>
                        <a:pt x="860" y="792"/>
                      </a:lnTo>
                      <a:lnTo>
                        <a:pt x="857" y="838"/>
                      </a:lnTo>
                      <a:lnTo>
                        <a:pt x="850" y="880"/>
                      </a:lnTo>
                      <a:lnTo>
                        <a:pt x="838" y="919"/>
                      </a:lnTo>
                      <a:lnTo>
                        <a:pt x="821" y="954"/>
                      </a:lnTo>
                      <a:lnTo>
                        <a:pt x="801" y="985"/>
                      </a:lnTo>
                      <a:lnTo>
                        <a:pt x="777" y="1013"/>
                      </a:lnTo>
                      <a:lnTo>
                        <a:pt x="750" y="1037"/>
                      </a:lnTo>
                      <a:lnTo>
                        <a:pt x="721" y="1059"/>
                      </a:lnTo>
                      <a:lnTo>
                        <a:pt x="690" y="1077"/>
                      </a:lnTo>
                      <a:lnTo>
                        <a:pt x="656" y="1093"/>
                      </a:lnTo>
                      <a:lnTo>
                        <a:pt x="621" y="1106"/>
                      </a:lnTo>
                      <a:lnTo>
                        <a:pt x="583" y="1116"/>
                      </a:lnTo>
                      <a:lnTo>
                        <a:pt x="545" y="1124"/>
                      </a:lnTo>
                      <a:lnTo>
                        <a:pt x="506" y="1129"/>
                      </a:lnTo>
                      <a:lnTo>
                        <a:pt x="467" y="1132"/>
                      </a:lnTo>
                      <a:lnTo>
                        <a:pt x="429" y="1132"/>
                      </a:lnTo>
                      <a:lnTo>
                        <a:pt x="384" y="1131"/>
                      </a:lnTo>
                      <a:lnTo>
                        <a:pt x="340" y="1128"/>
                      </a:lnTo>
                      <a:lnTo>
                        <a:pt x="299" y="1120"/>
                      </a:lnTo>
                      <a:lnTo>
                        <a:pt x="257" y="1111"/>
                      </a:lnTo>
                      <a:lnTo>
                        <a:pt x="218" y="1097"/>
                      </a:lnTo>
                      <a:lnTo>
                        <a:pt x="182" y="1081"/>
                      </a:lnTo>
                      <a:lnTo>
                        <a:pt x="149" y="1061"/>
                      </a:lnTo>
                      <a:lnTo>
                        <a:pt x="118" y="1038"/>
                      </a:lnTo>
                      <a:lnTo>
                        <a:pt x="90" y="1012"/>
                      </a:lnTo>
                      <a:lnTo>
                        <a:pt x="65" y="980"/>
                      </a:lnTo>
                      <a:lnTo>
                        <a:pt x="44" y="947"/>
                      </a:lnTo>
                      <a:lnTo>
                        <a:pt x="27" y="908"/>
                      </a:lnTo>
                      <a:lnTo>
                        <a:pt x="13" y="865"/>
                      </a:lnTo>
                      <a:lnTo>
                        <a:pt x="5" y="819"/>
                      </a:lnTo>
                      <a:lnTo>
                        <a:pt x="0" y="767"/>
                      </a:lnTo>
                      <a:lnTo>
                        <a:pt x="166" y="767"/>
                      </a:lnTo>
                      <a:lnTo>
                        <a:pt x="171" y="804"/>
                      </a:lnTo>
                      <a:lnTo>
                        <a:pt x="180" y="838"/>
                      </a:lnTo>
                      <a:lnTo>
                        <a:pt x="192" y="867"/>
                      </a:lnTo>
                      <a:lnTo>
                        <a:pt x="209" y="891"/>
                      </a:lnTo>
                      <a:lnTo>
                        <a:pt x="229" y="913"/>
                      </a:lnTo>
                      <a:lnTo>
                        <a:pt x="254" y="931"/>
                      </a:lnTo>
                      <a:lnTo>
                        <a:pt x="279" y="945"/>
                      </a:lnTo>
                      <a:lnTo>
                        <a:pt x="308" y="957"/>
                      </a:lnTo>
                      <a:lnTo>
                        <a:pt x="339" y="966"/>
                      </a:lnTo>
                      <a:lnTo>
                        <a:pt x="372" y="972"/>
                      </a:lnTo>
                      <a:lnTo>
                        <a:pt x="404" y="974"/>
                      </a:lnTo>
                      <a:lnTo>
                        <a:pt x="438" y="976"/>
                      </a:lnTo>
                      <a:lnTo>
                        <a:pt x="463" y="976"/>
                      </a:lnTo>
                      <a:lnTo>
                        <a:pt x="488" y="974"/>
                      </a:lnTo>
                      <a:lnTo>
                        <a:pt x="515" y="971"/>
                      </a:lnTo>
                      <a:lnTo>
                        <a:pt x="540" y="966"/>
                      </a:lnTo>
                      <a:lnTo>
                        <a:pt x="565" y="960"/>
                      </a:lnTo>
                      <a:lnTo>
                        <a:pt x="589" y="951"/>
                      </a:lnTo>
                      <a:lnTo>
                        <a:pt x="611" y="941"/>
                      </a:lnTo>
                      <a:lnTo>
                        <a:pt x="631" y="927"/>
                      </a:lnTo>
                      <a:lnTo>
                        <a:pt x="648" y="912"/>
                      </a:lnTo>
                      <a:lnTo>
                        <a:pt x="663" y="892"/>
                      </a:lnTo>
                      <a:lnTo>
                        <a:pt x="674" y="871"/>
                      </a:lnTo>
                      <a:lnTo>
                        <a:pt x="681" y="844"/>
                      </a:lnTo>
                      <a:lnTo>
                        <a:pt x="684" y="815"/>
                      </a:lnTo>
                      <a:lnTo>
                        <a:pt x="681" y="787"/>
                      </a:lnTo>
                      <a:lnTo>
                        <a:pt x="674" y="762"/>
                      </a:lnTo>
                      <a:lnTo>
                        <a:pt x="662" y="740"/>
                      </a:lnTo>
                      <a:lnTo>
                        <a:pt x="647" y="722"/>
                      </a:lnTo>
                      <a:lnTo>
                        <a:pt x="628" y="705"/>
                      </a:lnTo>
                      <a:lnTo>
                        <a:pt x="606" y="691"/>
                      </a:lnTo>
                      <a:lnTo>
                        <a:pt x="580" y="677"/>
                      </a:lnTo>
                      <a:lnTo>
                        <a:pt x="552" y="667"/>
                      </a:lnTo>
                      <a:lnTo>
                        <a:pt x="523" y="656"/>
                      </a:lnTo>
                      <a:lnTo>
                        <a:pt x="491" y="647"/>
                      </a:lnTo>
                      <a:lnTo>
                        <a:pt x="458" y="639"/>
                      </a:lnTo>
                      <a:lnTo>
                        <a:pt x="424" y="630"/>
                      </a:lnTo>
                      <a:lnTo>
                        <a:pt x="389" y="622"/>
                      </a:lnTo>
                      <a:lnTo>
                        <a:pt x="352" y="613"/>
                      </a:lnTo>
                      <a:lnTo>
                        <a:pt x="317" y="605"/>
                      </a:lnTo>
                      <a:lnTo>
                        <a:pt x="283" y="595"/>
                      </a:lnTo>
                      <a:lnTo>
                        <a:pt x="248" y="585"/>
                      </a:lnTo>
                      <a:lnTo>
                        <a:pt x="215" y="572"/>
                      </a:lnTo>
                      <a:lnTo>
                        <a:pt x="183" y="558"/>
                      </a:lnTo>
                      <a:lnTo>
                        <a:pt x="153" y="542"/>
                      </a:lnTo>
                      <a:lnTo>
                        <a:pt x="125" y="524"/>
                      </a:lnTo>
                      <a:lnTo>
                        <a:pt x="99" y="504"/>
                      </a:lnTo>
                      <a:lnTo>
                        <a:pt x="78" y="480"/>
                      </a:lnTo>
                      <a:lnTo>
                        <a:pt x="58" y="453"/>
                      </a:lnTo>
                      <a:lnTo>
                        <a:pt x="42" y="423"/>
                      </a:lnTo>
                      <a:lnTo>
                        <a:pt x="31" y="389"/>
                      </a:lnTo>
                      <a:lnTo>
                        <a:pt x="24" y="350"/>
                      </a:lnTo>
                      <a:lnTo>
                        <a:pt x="22" y="308"/>
                      </a:lnTo>
                      <a:lnTo>
                        <a:pt x="24" y="267"/>
                      </a:lnTo>
                      <a:lnTo>
                        <a:pt x="31" y="228"/>
                      </a:lnTo>
                      <a:lnTo>
                        <a:pt x="44" y="193"/>
                      </a:lnTo>
                      <a:lnTo>
                        <a:pt x="61" y="161"/>
                      </a:lnTo>
                      <a:lnTo>
                        <a:pt x="80" y="132"/>
                      </a:lnTo>
                      <a:lnTo>
                        <a:pt x="104" y="107"/>
                      </a:lnTo>
                      <a:lnTo>
                        <a:pt x="130" y="84"/>
                      </a:lnTo>
                      <a:lnTo>
                        <a:pt x="159" y="63"/>
                      </a:lnTo>
                      <a:lnTo>
                        <a:pt x="191" y="46"/>
                      </a:lnTo>
                      <a:lnTo>
                        <a:pt x="223" y="32"/>
                      </a:lnTo>
                      <a:lnTo>
                        <a:pt x="257" y="21"/>
                      </a:lnTo>
                      <a:lnTo>
                        <a:pt x="293" y="12"/>
                      </a:lnTo>
                      <a:lnTo>
                        <a:pt x="328" y="6"/>
                      </a:lnTo>
                      <a:lnTo>
                        <a:pt x="364" y="2"/>
                      </a:lnTo>
                      <a:lnTo>
                        <a:pt x="39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195" name="Freeform 9">
                  <a:extLst>
                    <a:ext uri="{FF2B5EF4-FFF2-40B4-BE49-F238E27FC236}">
                      <a16:creationId xmlns:a16="http://schemas.microsoft.com/office/drawing/2014/main" id="{D474E210-EF58-4DF1-B87F-EFB4915A2320}"/>
                    </a:ext>
                  </a:extLst>
                </p:cNvPr>
                <p:cNvSpPr>
                  <a:spLocks/>
                </p:cNvSpPr>
                <p:nvPr userDrawn="1"/>
              </p:nvSpPr>
              <p:spPr bwMode="auto">
                <a:xfrm>
                  <a:off x="6146801" y="4554538"/>
                  <a:ext cx="434975" cy="479425"/>
                </a:xfrm>
                <a:custGeom>
                  <a:avLst/>
                  <a:gdLst>
                    <a:gd name="T0" fmla="*/ 621 w 1095"/>
                    <a:gd name="T1" fmla="*/ 1 h 1208"/>
                    <a:gd name="T2" fmla="*/ 664 w 1095"/>
                    <a:gd name="T3" fmla="*/ 18 h 1208"/>
                    <a:gd name="T4" fmla="*/ 709 w 1095"/>
                    <a:gd name="T5" fmla="*/ 67 h 1208"/>
                    <a:gd name="T6" fmla="*/ 947 w 1095"/>
                    <a:gd name="T7" fmla="*/ 353 h 1208"/>
                    <a:gd name="T8" fmla="*/ 1027 w 1095"/>
                    <a:gd name="T9" fmla="*/ 469 h 1208"/>
                    <a:gd name="T10" fmla="*/ 1076 w 1095"/>
                    <a:gd name="T11" fmla="*/ 580 h 1208"/>
                    <a:gd name="T12" fmla="*/ 1095 w 1095"/>
                    <a:gd name="T13" fmla="*/ 687 h 1208"/>
                    <a:gd name="T14" fmla="*/ 1090 w 1095"/>
                    <a:gd name="T15" fmla="*/ 786 h 1208"/>
                    <a:gd name="T16" fmla="*/ 1064 w 1095"/>
                    <a:gd name="T17" fmla="*/ 877 h 1208"/>
                    <a:gd name="T18" fmla="*/ 1020 w 1095"/>
                    <a:gd name="T19" fmla="*/ 959 h 1208"/>
                    <a:gd name="T20" fmla="*/ 962 w 1095"/>
                    <a:gd name="T21" fmla="*/ 1032 h 1208"/>
                    <a:gd name="T22" fmla="*/ 892 w 1095"/>
                    <a:gd name="T23" fmla="*/ 1093 h 1208"/>
                    <a:gd name="T24" fmla="*/ 817 w 1095"/>
                    <a:gd name="T25" fmla="*/ 1142 h 1208"/>
                    <a:gd name="T26" fmla="*/ 738 w 1095"/>
                    <a:gd name="T27" fmla="*/ 1177 h 1208"/>
                    <a:gd name="T28" fmla="*/ 630 w 1095"/>
                    <a:gd name="T29" fmla="*/ 1202 h 1208"/>
                    <a:gd name="T30" fmla="*/ 498 w 1095"/>
                    <a:gd name="T31" fmla="*/ 1207 h 1208"/>
                    <a:gd name="T32" fmla="*/ 374 w 1095"/>
                    <a:gd name="T33" fmla="*/ 1187 h 1208"/>
                    <a:gd name="T34" fmla="*/ 261 w 1095"/>
                    <a:gd name="T35" fmla="*/ 1144 h 1208"/>
                    <a:gd name="T36" fmla="*/ 162 w 1095"/>
                    <a:gd name="T37" fmla="*/ 1080 h 1208"/>
                    <a:gd name="T38" fmla="*/ 82 w 1095"/>
                    <a:gd name="T39" fmla="*/ 998 h 1208"/>
                    <a:gd name="T40" fmla="*/ 22 w 1095"/>
                    <a:gd name="T41" fmla="*/ 901 h 1208"/>
                    <a:gd name="T42" fmla="*/ 25 w 1095"/>
                    <a:gd name="T43" fmla="*/ 883 h 1208"/>
                    <a:gd name="T44" fmla="*/ 90 w 1095"/>
                    <a:gd name="T45" fmla="*/ 940 h 1208"/>
                    <a:gd name="T46" fmla="*/ 170 w 1095"/>
                    <a:gd name="T47" fmla="*/ 982 h 1208"/>
                    <a:gd name="T48" fmla="*/ 258 w 1095"/>
                    <a:gd name="T49" fmla="*/ 1009 h 1208"/>
                    <a:gd name="T50" fmla="*/ 353 w 1095"/>
                    <a:gd name="T51" fmla="*/ 1020 h 1208"/>
                    <a:gd name="T52" fmla="*/ 447 w 1095"/>
                    <a:gd name="T53" fmla="*/ 1015 h 1208"/>
                    <a:gd name="T54" fmla="*/ 534 w 1095"/>
                    <a:gd name="T55" fmla="*/ 994 h 1208"/>
                    <a:gd name="T56" fmla="*/ 612 w 1095"/>
                    <a:gd name="T57" fmla="*/ 958 h 1208"/>
                    <a:gd name="T58" fmla="*/ 694 w 1095"/>
                    <a:gd name="T59" fmla="*/ 894 h 1208"/>
                    <a:gd name="T60" fmla="*/ 756 w 1095"/>
                    <a:gd name="T61" fmla="*/ 821 h 1208"/>
                    <a:gd name="T62" fmla="*/ 796 w 1095"/>
                    <a:gd name="T63" fmla="*/ 738 h 1208"/>
                    <a:gd name="T64" fmla="*/ 811 w 1095"/>
                    <a:gd name="T65" fmla="*/ 652 h 1208"/>
                    <a:gd name="T66" fmla="*/ 800 w 1095"/>
                    <a:gd name="T67" fmla="*/ 563 h 1208"/>
                    <a:gd name="T68" fmla="*/ 761 w 1095"/>
                    <a:gd name="T69" fmla="*/ 478 h 1208"/>
                    <a:gd name="T70" fmla="*/ 728 w 1095"/>
                    <a:gd name="T71" fmla="*/ 433 h 1208"/>
                    <a:gd name="T72" fmla="*/ 714 w 1095"/>
                    <a:gd name="T73" fmla="*/ 415 h 1208"/>
                    <a:gd name="T74" fmla="*/ 687 w 1095"/>
                    <a:gd name="T75" fmla="*/ 382 h 1208"/>
                    <a:gd name="T76" fmla="*/ 651 w 1095"/>
                    <a:gd name="T77" fmla="*/ 340 h 1208"/>
                    <a:gd name="T78" fmla="*/ 609 w 1095"/>
                    <a:gd name="T79" fmla="*/ 291 h 1208"/>
                    <a:gd name="T80" fmla="*/ 567 w 1095"/>
                    <a:gd name="T81" fmla="*/ 239 h 1208"/>
                    <a:gd name="T82" fmla="*/ 524 w 1095"/>
                    <a:gd name="T83" fmla="*/ 188 h 1208"/>
                    <a:gd name="T84" fmla="*/ 521 w 1095"/>
                    <a:gd name="T85" fmla="*/ 184 h 1208"/>
                    <a:gd name="T86" fmla="*/ 515 w 1095"/>
                    <a:gd name="T87" fmla="*/ 177 h 1208"/>
                    <a:gd name="T88" fmla="*/ 512 w 1095"/>
                    <a:gd name="T89" fmla="*/ 175 h 1208"/>
                    <a:gd name="T90" fmla="*/ 492 w 1095"/>
                    <a:gd name="T91" fmla="*/ 131 h 1208"/>
                    <a:gd name="T92" fmla="*/ 494 w 1095"/>
                    <a:gd name="T93" fmla="*/ 87 h 1208"/>
                    <a:gd name="T94" fmla="*/ 517 w 1095"/>
                    <a:gd name="T95" fmla="*/ 44 h 1208"/>
                    <a:gd name="T96" fmla="*/ 555 w 1095"/>
                    <a:gd name="T97" fmla="*/ 13 h 1208"/>
                    <a:gd name="T98" fmla="*/ 600 w 1095"/>
                    <a:gd name="T99"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208">
                      <a:moveTo>
                        <a:pt x="600" y="0"/>
                      </a:moveTo>
                      <a:lnTo>
                        <a:pt x="621" y="1"/>
                      </a:lnTo>
                      <a:lnTo>
                        <a:pt x="643" y="7"/>
                      </a:lnTo>
                      <a:lnTo>
                        <a:pt x="664" y="18"/>
                      </a:lnTo>
                      <a:lnTo>
                        <a:pt x="682" y="35"/>
                      </a:lnTo>
                      <a:lnTo>
                        <a:pt x="709" y="67"/>
                      </a:lnTo>
                      <a:lnTo>
                        <a:pt x="694" y="50"/>
                      </a:lnTo>
                      <a:lnTo>
                        <a:pt x="947" y="353"/>
                      </a:lnTo>
                      <a:lnTo>
                        <a:pt x="991" y="411"/>
                      </a:lnTo>
                      <a:lnTo>
                        <a:pt x="1027" y="469"/>
                      </a:lnTo>
                      <a:lnTo>
                        <a:pt x="1055" y="525"/>
                      </a:lnTo>
                      <a:lnTo>
                        <a:pt x="1076" y="580"/>
                      </a:lnTo>
                      <a:lnTo>
                        <a:pt x="1088" y="633"/>
                      </a:lnTo>
                      <a:lnTo>
                        <a:pt x="1095" y="687"/>
                      </a:lnTo>
                      <a:lnTo>
                        <a:pt x="1095" y="737"/>
                      </a:lnTo>
                      <a:lnTo>
                        <a:pt x="1090" y="786"/>
                      </a:lnTo>
                      <a:lnTo>
                        <a:pt x="1079" y="833"/>
                      </a:lnTo>
                      <a:lnTo>
                        <a:pt x="1064" y="877"/>
                      </a:lnTo>
                      <a:lnTo>
                        <a:pt x="1044" y="920"/>
                      </a:lnTo>
                      <a:lnTo>
                        <a:pt x="1020" y="959"/>
                      </a:lnTo>
                      <a:lnTo>
                        <a:pt x="992" y="998"/>
                      </a:lnTo>
                      <a:lnTo>
                        <a:pt x="962" y="1032"/>
                      </a:lnTo>
                      <a:lnTo>
                        <a:pt x="929" y="1064"/>
                      </a:lnTo>
                      <a:lnTo>
                        <a:pt x="892" y="1093"/>
                      </a:lnTo>
                      <a:lnTo>
                        <a:pt x="856" y="1119"/>
                      </a:lnTo>
                      <a:lnTo>
                        <a:pt x="817" y="1142"/>
                      </a:lnTo>
                      <a:lnTo>
                        <a:pt x="778" y="1161"/>
                      </a:lnTo>
                      <a:lnTo>
                        <a:pt x="738" y="1177"/>
                      </a:lnTo>
                      <a:lnTo>
                        <a:pt x="698" y="1189"/>
                      </a:lnTo>
                      <a:lnTo>
                        <a:pt x="630" y="1202"/>
                      </a:lnTo>
                      <a:lnTo>
                        <a:pt x="563" y="1208"/>
                      </a:lnTo>
                      <a:lnTo>
                        <a:pt x="498" y="1207"/>
                      </a:lnTo>
                      <a:lnTo>
                        <a:pt x="434" y="1201"/>
                      </a:lnTo>
                      <a:lnTo>
                        <a:pt x="374" y="1187"/>
                      </a:lnTo>
                      <a:lnTo>
                        <a:pt x="315" y="1168"/>
                      </a:lnTo>
                      <a:lnTo>
                        <a:pt x="261" y="1144"/>
                      </a:lnTo>
                      <a:lnTo>
                        <a:pt x="210" y="1114"/>
                      </a:lnTo>
                      <a:lnTo>
                        <a:pt x="162" y="1080"/>
                      </a:lnTo>
                      <a:lnTo>
                        <a:pt x="120" y="1040"/>
                      </a:lnTo>
                      <a:lnTo>
                        <a:pt x="82" y="998"/>
                      </a:lnTo>
                      <a:lnTo>
                        <a:pt x="49" y="951"/>
                      </a:lnTo>
                      <a:lnTo>
                        <a:pt x="22" y="901"/>
                      </a:lnTo>
                      <a:lnTo>
                        <a:pt x="0" y="848"/>
                      </a:lnTo>
                      <a:lnTo>
                        <a:pt x="25" y="883"/>
                      </a:lnTo>
                      <a:lnTo>
                        <a:pt x="56" y="913"/>
                      </a:lnTo>
                      <a:lnTo>
                        <a:pt x="90" y="940"/>
                      </a:lnTo>
                      <a:lnTo>
                        <a:pt x="128" y="963"/>
                      </a:lnTo>
                      <a:lnTo>
                        <a:pt x="170" y="982"/>
                      </a:lnTo>
                      <a:lnTo>
                        <a:pt x="213" y="997"/>
                      </a:lnTo>
                      <a:lnTo>
                        <a:pt x="258" y="1009"/>
                      </a:lnTo>
                      <a:lnTo>
                        <a:pt x="306" y="1016"/>
                      </a:lnTo>
                      <a:lnTo>
                        <a:pt x="353" y="1020"/>
                      </a:lnTo>
                      <a:lnTo>
                        <a:pt x="399" y="1019"/>
                      </a:lnTo>
                      <a:lnTo>
                        <a:pt x="447" y="1015"/>
                      </a:lnTo>
                      <a:lnTo>
                        <a:pt x="492" y="1006"/>
                      </a:lnTo>
                      <a:lnTo>
                        <a:pt x="534" y="994"/>
                      </a:lnTo>
                      <a:lnTo>
                        <a:pt x="575" y="979"/>
                      </a:lnTo>
                      <a:lnTo>
                        <a:pt x="612" y="958"/>
                      </a:lnTo>
                      <a:lnTo>
                        <a:pt x="655" y="928"/>
                      </a:lnTo>
                      <a:lnTo>
                        <a:pt x="694" y="894"/>
                      </a:lnTo>
                      <a:lnTo>
                        <a:pt x="728" y="858"/>
                      </a:lnTo>
                      <a:lnTo>
                        <a:pt x="756" y="821"/>
                      </a:lnTo>
                      <a:lnTo>
                        <a:pt x="779" y="780"/>
                      </a:lnTo>
                      <a:lnTo>
                        <a:pt x="796" y="738"/>
                      </a:lnTo>
                      <a:lnTo>
                        <a:pt x="806" y="695"/>
                      </a:lnTo>
                      <a:lnTo>
                        <a:pt x="811" y="652"/>
                      </a:lnTo>
                      <a:lnTo>
                        <a:pt x="809" y="608"/>
                      </a:lnTo>
                      <a:lnTo>
                        <a:pt x="800" y="563"/>
                      </a:lnTo>
                      <a:lnTo>
                        <a:pt x="784" y="520"/>
                      </a:lnTo>
                      <a:lnTo>
                        <a:pt x="761" y="478"/>
                      </a:lnTo>
                      <a:lnTo>
                        <a:pt x="731" y="436"/>
                      </a:lnTo>
                      <a:lnTo>
                        <a:pt x="728" y="433"/>
                      </a:lnTo>
                      <a:lnTo>
                        <a:pt x="724" y="426"/>
                      </a:lnTo>
                      <a:lnTo>
                        <a:pt x="714" y="415"/>
                      </a:lnTo>
                      <a:lnTo>
                        <a:pt x="702" y="401"/>
                      </a:lnTo>
                      <a:lnTo>
                        <a:pt x="687" y="382"/>
                      </a:lnTo>
                      <a:lnTo>
                        <a:pt x="670" y="363"/>
                      </a:lnTo>
                      <a:lnTo>
                        <a:pt x="651" y="340"/>
                      </a:lnTo>
                      <a:lnTo>
                        <a:pt x="631" y="316"/>
                      </a:lnTo>
                      <a:lnTo>
                        <a:pt x="609" y="291"/>
                      </a:lnTo>
                      <a:lnTo>
                        <a:pt x="589" y="265"/>
                      </a:lnTo>
                      <a:lnTo>
                        <a:pt x="567" y="239"/>
                      </a:lnTo>
                      <a:lnTo>
                        <a:pt x="545" y="213"/>
                      </a:lnTo>
                      <a:lnTo>
                        <a:pt x="524" y="188"/>
                      </a:lnTo>
                      <a:lnTo>
                        <a:pt x="526" y="189"/>
                      </a:lnTo>
                      <a:lnTo>
                        <a:pt x="521" y="184"/>
                      </a:lnTo>
                      <a:lnTo>
                        <a:pt x="517" y="180"/>
                      </a:lnTo>
                      <a:lnTo>
                        <a:pt x="515" y="177"/>
                      </a:lnTo>
                      <a:lnTo>
                        <a:pt x="513" y="175"/>
                      </a:lnTo>
                      <a:lnTo>
                        <a:pt x="512" y="175"/>
                      </a:lnTo>
                      <a:lnTo>
                        <a:pt x="499" y="154"/>
                      </a:lnTo>
                      <a:lnTo>
                        <a:pt x="492" y="131"/>
                      </a:lnTo>
                      <a:lnTo>
                        <a:pt x="490" y="110"/>
                      </a:lnTo>
                      <a:lnTo>
                        <a:pt x="494" y="87"/>
                      </a:lnTo>
                      <a:lnTo>
                        <a:pt x="502" y="65"/>
                      </a:lnTo>
                      <a:lnTo>
                        <a:pt x="517" y="44"/>
                      </a:lnTo>
                      <a:lnTo>
                        <a:pt x="534" y="28"/>
                      </a:lnTo>
                      <a:lnTo>
                        <a:pt x="555" y="13"/>
                      </a:lnTo>
                      <a:lnTo>
                        <a:pt x="577" y="5"/>
                      </a:lnTo>
                      <a:lnTo>
                        <a:pt x="60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196" name="Freeform 10">
                  <a:extLst>
                    <a:ext uri="{FF2B5EF4-FFF2-40B4-BE49-F238E27FC236}">
                      <a16:creationId xmlns:a16="http://schemas.microsoft.com/office/drawing/2014/main" id="{67BFD117-45DF-414B-A686-CBE288BE7FE4}"/>
                    </a:ext>
                  </a:extLst>
                </p:cNvPr>
                <p:cNvSpPr>
                  <a:spLocks/>
                </p:cNvSpPr>
                <p:nvPr userDrawn="1"/>
              </p:nvSpPr>
              <p:spPr bwMode="auto">
                <a:xfrm>
                  <a:off x="6145213" y="4384676"/>
                  <a:ext cx="434975" cy="476250"/>
                </a:xfrm>
                <a:custGeom>
                  <a:avLst/>
                  <a:gdLst>
                    <a:gd name="T0" fmla="*/ 599 w 1096"/>
                    <a:gd name="T1" fmla="*/ 0 h 1202"/>
                    <a:gd name="T2" fmla="*/ 723 w 1096"/>
                    <a:gd name="T3" fmla="*/ 21 h 1202"/>
                    <a:gd name="T4" fmla="*/ 834 w 1096"/>
                    <a:gd name="T5" fmla="*/ 64 h 1202"/>
                    <a:gd name="T6" fmla="*/ 933 w 1096"/>
                    <a:gd name="T7" fmla="*/ 128 h 1202"/>
                    <a:gd name="T8" fmla="*/ 1014 w 1096"/>
                    <a:gd name="T9" fmla="*/ 210 h 1202"/>
                    <a:gd name="T10" fmla="*/ 1075 w 1096"/>
                    <a:gd name="T11" fmla="*/ 307 h 1202"/>
                    <a:gd name="T12" fmla="*/ 1071 w 1096"/>
                    <a:gd name="T13" fmla="*/ 325 h 1202"/>
                    <a:gd name="T14" fmla="*/ 1007 w 1096"/>
                    <a:gd name="T15" fmla="*/ 268 h 1202"/>
                    <a:gd name="T16" fmla="*/ 927 w 1096"/>
                    <a:gd name="T17" fmla="*/ 226 h 1202"/>
                    <a:gd name="T18" fmla="*/ 838 w 1096"/>
                    <a:gd name="T19" fmla="*/ 199 h 1202"/>
                    <a:gd name="T20" fmla="*/ 743 w 1096"/>
                    <a:gd name="T21" fmla="*/ 188 h 1202"/>
                    <a:gd name="T22" fmla="*/ 650 w 1096"/>
                    <a:gd name="T23" fmla="*/ 193 h 1202"/>
                    <a:gd name="T24" fmla="*/ 561 w 1096"/>
                    <a:gd name="T25" fmla="*/ 214 h 1202"/>
                    <a:gd name="T26" fmla="*/ 483 w 1096"/>
                    <a:gd name="T27" fmla="*/ 249 h 1202"/>
                    <a:gd name="T28" fmla="*/ 401 w 1096"/>
                    <a:gd name="T29" fmla="*/ 313 h 1202"/>
                    <a:gd name="T30" fmla="*/ 339 w 1096"/>
                    <a:gd name="T31" fmla="*/ 388 h 1202"/>
                    <a:gd name="T32" fmla="*/ 300 w 1096"/>
                    <a:gd name="T33" fmla="*/ 470 h 1202"/>
                    <a:gd name="T34" fmla="*/ 285 w 1096"/>
                    <a:gd name="T35" fmla="*/ 555 h 1202"/>
                    <a:gd name="T36" fmla="*/ 296 w 1096"/>
                    <a:gd name="T37" fmla="*/ 643 h 1202"/>
                    <a:gd name="T38" fmla="*/ 335 w 1096"/>
                    <a:gd name="T39" fmla="*/ 730 h 1202"/>
                    <a:gd name="T40" fmla="*/ 367 w 1096"/>
                    <a:gd name="T41" fmla="*/ 775 h 1202"/>
                    <a:gd name="T42" fmla="*/ 383 w 1096"/>
                    <a:gd name="T43" fmla="*/ 793 h 1202"/>
                    <a:gd name="T44" fmla="*/ 411 w 1096"/>
                    <a:gd name="T45" fmla="*/ 827 h 1202"/>
                    <a:gd name="T46" fmla="*/ 447 w 1096"/>
                    <a:gd name="T47" fmla="*/ 870 h 1202"/>
                    <a:gd name="T48" fmla="*/ 489 w 1096"/>
                    <a:gd name="T49" fmla="*/ 921 h 1202"/>
                    <a:gd name="T50" fmla="*/ 534 w 1096"/>
                    <a:gd name="T51" fmla="*/ 974 h 1202"/>
                    <a:gd name="T52" fmla="*/ 523 w 1096"/>
                    <a:gd name="T53" fmla="*/ 962 h 1202"/>
                    <a:gd name="T54" fmla="*/ 551 w 1096"/>
                    <a:gd name="T55" fmla="*/ 996 h 1202"/>
                    <a:gd name="T56" fmla="*/ 571 w 1096"/>
                    <a:gd name="T57" fmla="*/ 1020 h 1202"/>
                    <a:gd name="T58" fmla="*/ 578 w 1096"/>
                    <a:gd name="T59" fmla="*/ 1028 h 1202"/>
                    <a:gd name="T60" fmla="*/ 599 w 1096"/>
                    <a:gd name="T61" fmla="*/ 1071 h 1202"/>
                    <a:gd name="T62" fmla="*/ 596 w 1096"/>
                    <a:gd name="T63" fmla="*/ 1115 h 1202"/>
                    <a:gd name="T64" fmla="*/ 574 w 1096"/>
                    <a:gd name="T65" fmla="*/ 1158 h 1202"/>
                    <a:gd name="T66" fmla="*/ 536 w 1096"/>
                    <a:gd name="T67" fmla="*/ 1189 h 1202"/>
                    <a:gd name="T68" fmla="*/ 491 w 1096"/>
                    <a:gd name="T69" fmla="*/ 1202 h 1202"/>
                    <a:gd name="T70" fmla="*/ 447 w 1096"/>
                    <a:gd name="T71" fmla="*/ 1196 h 1202"/>
                    <a:gd name="T72" fmla="*/ 409 w 1096"/>
                    <a:gd name="T73" fmla="*/ 1168 h 1202"/>
                    <a:gd name="T74" fmla="*/ 390 w 1096"/>
                    <a:gd name="T75" fmla="*/ 1143 h 1202"/>
                    <a:gd name="T76" fmla="*/ 104 w 1096"/>
                    <a:gd name="T77" fmla="*/ 796 h 1202"/>
                    <a:gd name="T78" fmla="*/ 41 w 1096"/>
                    <a:gd name="T79" fmla="*/ 682 h 1202"/>
                    <a:gd name="T80" fmla="*/ 7 w 1096"/>
                    <a:gd name="T81" fmla="*/ 573 h 1202"/>
                    <a:gd name="T82" fmla="*/ 0 w 1096"/>
                    <a:gd name="T83" fmla="*/ 471 h 1202"/>
                    <a:gd name="T84" fmla="*/ 17 w 1096"/>
                    <a:gd name="T85" fmla="*/ 375 h 1202"/>
                    <a:gd name="T86" fmla="*/ 52 w 1096"/>
                    <a:gd name="T87" fmla="*/ 287 h 1202"/>
                    <a:gd name="T88" fmla="*/ 103 w 1096"/>
                    <a:gd name="T89" fmla="*/ 210 h 1202"/>
                    <a:gd name="T90" fmla="*/ 168 w 1096"/>
                    <a:gd name="T91" fmla="*/ 144 h 1202"/>
                    <a:gd name="T92" fmla="*/ 240 w 1096"/>
                    <a:gd name="T93" fmla="*/ 88 h 1202"/>
                    <a:gd name="T94" fmla="*/ 318 w 1096"/>
                    <a:gd name="T95" fmla="*/ 47 h 1202"/>
                    <a:gd name="T96" fmla="*/ 398 w 1096"/>
                    <a:gd name="T97" fmla="*/ 19 h 1202"/>
                    <a:gd name="T98" fmla="*/ 533 w 1096"/>
                    <a:gd name="T99" fmla="*/ 0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6" h="1202">
                      <a:moveTo>
                        <a:pt x="533" y="0"/>
                      </a:moveTo>
                      <a:lnTo>
                        <a:pt x="599" y="0"/>
                      </a:lnTo>
                      <a:lnTo>
                        <a:pt x="662" y="7"/>
                      </a:lnTo>
                      <a:lnTo>
                        <a:pt x="723" y="21"/>
                      </a:lnTo>
                      <a:lnTo>
                        <a:pt x="780" y="40"/>
                      </a:lnTo>
                      <a:lnTo>
                        <a:pt x="834" y="64"/>
                      </a:lnTo>
                      <a:lnTo>
                        <a:pt x="887" y="94"/>
                      </a:lnTo>
                      <a:lnTo>
                        <a:pt x="933" y="128"/>
                      </a:lnTo>
                      <a:lnTo>
                        <a:pt x="976" y="167"/>
                      </a:lnTo>
                      <a:lnTo>
                        <a:pt x="1014" y="210"/>
                      </a:lnTo>
                      <a:lnTo>
                        <a:pt x="1047" y="256"/>
                      </a:lnTo>
                      <a:lnTo>
                        <a:pt x="1075" y="307"/>
                      </a:lnTo>
                      <a:lnTo>
                        <a:pt x="1096" y="360"/>
                      </a:lnTo>
                      <a:lnTo>
                        <a:pt x="1071" y="325"/>
                      </a:lnTo>
                      <a:lnTo>
                        <a:pt x="1041" y="295"/>
                      </a:lnTo>
                      <a:lnTo>
                        <a:pt x="1007" y="268"/>
                      </a:lnTo>
                      <a:lnTo>
                        <a:pt x="968" y="245"/>
                      </a:lnTo>
                      <a:lnTo>
                        <a:pt x="927" y="226"/>
                      </a:lnTo>
                      <a:lnTo>
                        <a:pt x="883" y="210"/>
                      </a:lnTo>
                      <a:lnTo>
                        <a:pt x="838" y="199"/>
                      </a:lnTo>
                      <a:lnTo>
                        <a:pt x="791" y="192"/>
                      </a:lnTo>
                      <a:lnTo>
                        <a:pt x="743" y="188"/>
                      </a:lnTo>
                      <a:lnTo>
                        <a:pt x="696" y="188"/>
                      </a:lnTo>
                      <a:lnTo>
                        <a:pt x="650" y="193"/>
                      </a:lnTo>
                      <a:lnTo>
                        <a:pt x="605" y="202"/>
                      </a:lnTo>
                      <a:lnTo>
                        <a:pt x="561" y="214"/>
                      </a:lnTo>
                      <a:lnTo>
                        <a:pt x="521" y="229"/>
                      </a:lnTo>
                      <a:lnTo>
                        <a:pt x="483" y="249"/>
                      </a:lnTo>
                      <a:lnTo>
                        <a:pt x="440" y="280"/>
                      </a:lnTo>
                      <a:lnTo>
                        <a:pt x="401" y="313"/>
                      </a:lnTo>
                      <a:lnTo>
                        <a:pt x="368" y="349"/>
                      </a:lnTo>
                      <a:lnTo>
                        <a:pt x="339" y="388"/>
                      </a:lnTo>
                      <a:lnTo>
                        <a:pt x="317" y="427"/>
                      </a:lnTo>
                      <a:lnTo>
                        <a:pt x="300" y="470"/>
                      </a:lnTo>
                      <a:lnTo>
                        <a:pt x="289" y="512"/>
                      </a:lnTo>
                      <a:lnTo>
                        <a:pt x="285" y="555"/>
                      </a:lnTo>
                      <a:lnTo>
                        <a:pt x="287" y="600"/>
                      </a:lnTo>
                      <a:lnTo>
                        <a:pt x="296" y="643"/>
                      </a:lnTo>
                      <a:lnTo>
                        <a:pt x="312" y="687"/>
                      </a:lnTo>
                      <a:lnTo>
                        <a:pt x="335" y="730"/>
                      </a:lnTo>
                      <a:lnTo>
                        <a:pt x="366" y="773"/>
                      </a:lnTo>
                      <a:lnTo>
                        <a:pt x="367" y="775"/>
                      </a:lnTo>
                      <a:lnTo>
                        <a:pt x="373" y="782"/>
                      </a:lnTo>
                      <a:lnTo>
                        <a:pt x="383" y="793"/>
                      </a:lnTo>
                      <a:lnTo>
                        <a:pt x="396" y="809"/>
                      </a:lnTo>
                      <a:lnTo>
                        <a:pt x="411" y="827"/>
                      </a:lnTo>
                      <a:lnTo>
                        <a:pt x="429" y="847"/>
                      </a:lnTo>
                      <a:lnTo>
                        <a:pt x="447" y="870"/>
                      </a:lnTo>
                      <a:lnTo>
                        <a:pt x="468" y="896"/>
                      </a:lnTo>
                      <a:lnTo>
                        <a:pt x="489" y="921"/>
                      </a:lnTo>
                      <a:lnTo>
                        <a:pt x="511" y="948"/>
                      </a:lnTo>
                      <a:lnTo>
                        <a:pt x="534" y="974"/>
                      </a:lnTo>
                      <a:lnTo>
                        <a:pt x="556" y="999"/>
                      </a:lnTo>
                      <a:lnTo>
                        <a:pt x="523" y="962"/>
                      </a:lnTo>
                      <a:lnTo>
                        <a:pt x="538" y="980"/>
                      </a:lnTo>
                      <a:lnTo>
                        <a:pt x="551" y="996"/>
                      </a:lnTo>
                      <a:lnTo>
                        <a:pt x="562" y="1009"/>
                      </a:lnTo>
                      <a:lnTo>
                        <a:pt x="571" y="1020"/>
                      </a:lnTo>
                      <a:lnTo>
                        <a:pt x="577" y="1026"/>
                      </a:lnTo>
                      <a:lnTo>
                        <a:pt x="578" y="1028"/>
                      </a:lnTo>
                      <a:lnTo>
                        <a:pt x="591" y="1049"/>
                      </a:lnTo>
                      <a:lnTo>
                        <a:pt x="599" y="1071"/>
                      </a:lnTo>
                      <a:lnTo>
                        <a:pt x="600" y="1094"/>
                      </a:lnTo>
                      <a:lnTo>
                        <a:pt x="596" y="1115"/>
                      </a:lnTo>
                      <a:lnTo>
                        <a:pt x="588" y="1137"/>
                      </a:lnTo>
                      <a:lnTo>
                        <a:pt x="574" y="1158"/>
                      </a:lnTo>
                      <a:lnTo>
                        <a:pt x="556" y="1176"/>
                      </a:lnTo>
                      <a:lnTo>
                        <a:pt x="536" y="1189"/>
                      </a:lnTo>
                      <a:lnTo>
                        <a:pt x="514" y="1199"/>
                      </a:lnTo>
                      <a:lnTo>
                        <a:pt x="491" y="1202"/>
                      </a:lnTo>
                      <a:lnTo>
                        <a:pt x="469" y="1202"/>
                      </a:lnTo>
                      <a:lnTo>
                        <a:pt x="447" y="1196"/>
                      </a:lnTo>
                      <a:lnTo>
                        <a:pt x="428" y="1184"/>
                      </a:lnTo>
                      <a:lnTo>
                        <a:pt x="409" y="1168"/>
                      </a:lnTo>
                      <a:lnTo>
                        <a:pt x="352" y="1098"/>
                      </a:lnTo>
                      <a:lnTo>
                        <a:pt x="390" y="1143"/>
                      </a:lnTo>
                      <a:lnTo>
                        <a:pt x="149" y="855"/>
                      </a:lnTo>
                      <a:lnTo>
                        <a:pt x="104" y="796"/>
                      </a:lnTo>
                      <a:lnTo>
                        <a:pt x="69" y="739"/>
                      </a:lnTo>
                      <a:lnTo>
                        <a:pt x="41" y="682"/>
                      </a:lnTo>
                      <a:lnTo>
                        <a:pt x="21" y="628"/>
                      </a:lnTo>
                      <a:lnTo>
                        <a:pt x="7" y="573"/>
                      </a:lnTo>
                      <a:lnTo>
                        <a:pt x="1" y="522"/>
                      </a:lnTo>
                      <a:lnTo>
                        <a:pt x="0" y="471"/>
                      </a:lnTo>
                      <a:lnTo>
                        <a:pt x="6" y="421"/>
                      </a:lnTo>
                      <a:lnTo>
                        <a:pt x="17" y="375"/>
                      </a:lnTo>
                      <a:lnTo>
                        <a:pt x="33" y="331"/>
                      </a:lnTo>
                      <a:lnTo>
                        <a:pt x="52" y="287"/>
                      </a:lnTo>
                      <a:lnTo>
                        <a:pt x="77" y="248"/>
                      </a:lnTo>
                      <a:lnTo>
                        <a:pt x="103" y="210"/>
                      </a:lnTo>
                      <a:lnTo>
                        <a:pt x="135" y="175"/>
                      </a:lnTo>
                      <a:lnTo>
                        <a:pt x="168" y="144"/>
                      </a:lnTo>
                      <a:lnTo>
                        <a:pt x="203" y="115"/>
                      </a:lnTo>
                      <a:lnTo>
                        <a:pt x="240" y="88"/>
                      </a:lnTo>
                      <a:lnTo>
                        <a:pt x="279" y="65"/>
                      </a:lnTo>
                      <a:lnTo>
                        <a:pt x="318" y="47"/>
                      </a:lnTo>
                      <a:lnTo>
                        <a:pt x="358" y="31"/>
                      </a:lnTo>
                      <a:lnTo>
                        <a:pt x="398" y="19"/>
                      </a:lnTo>
                      <a:lnTo>
                        <a:pt x="466" y="6"/>
                      </a:lnTo>
                      <a:lnTo>
                        <a:pt x="533"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197" name="Freeform 11">
                  <a:extLst>
                    <a:ext uri="{FF2B5EF4-FFF2-40B4-BE49-F238E27FC236}">
                      <a16:creationId xmlns:a16="http://schemas.microsoft.com/office/drawing/2014/main" id="{A976AE42-4670-430A-B5EA-DC3C7E92E671}"/>
                    </a:ext>
                  </a:extLst>
                </p:cNvPr>
                <p:cNvSpPr>
                  <a:spLocks noEditPoints="1"/>
                </p:cNvSpPr>
                <p:nvPr userDrawn="1"/>
              </p:nvSpPr>
              <p:spPr bwMode="auto">
                <a:xfrm>
                  <a:off x="7675563" y="4867276"/>
                  <a:ext cx="52388" cy="50800"/>
                </a:xfrm>
                <a:custGeom>
                  <a:avLst/>
                  <a:gdLst>
                    <a:gd name="T0" fmla="*/ 51 w 130"/>
                    <a:gd name="T1" fmla="*/ 60 h 128"/>
                    <a:gd name="T2" fmla="*/ 70 w 130"/>
                    <a:gd name="T3" fmla="*/ 60 h 128"/>
                    <a:gd name="T4" fmla="*/ 77 w 130"/>
                    <a:gd name="T5" fmla="*/ 59 h 128"/>
                    <a:gd name="T6" fmla="*/ 82 w 130"/>
                    <a:gd name="T7" fmla="*/ 55 h 128"/>
                    <a:gd name="T8" fmla="*/ 83 w 130"/>
                    <a:gd name="T9" fmla="*/ 48 h 128"/>
                    <a:gd name="T10" fmla="*/ 82 w 130"/>
                    <a:gd name="T11" fmla="*/ 42 h 128"/>
                    <a:gd name="T12" fmla="*/ 77 w 130"/>
                    <a:gd name="T13" fmla="*/ 38 h 128"/>
                    <a:gd name="T14" fmla="*/ 71 w 130"/>
                    <a:gd name="T15" fmla="*/ 37 h 128"/>
                    <a:gd name="T16" fmla="*/ 51 w 130"/>
                    <a:gd name="T17" fmla="*/ 37 h 128"/>
                    <a:gd name="T18" fmla="*/ 68 w 130"/>
                    <a:gd name="T19" fmla="*/ 28 h 128"/>
                    <a:gd name="T20" fmla="*/ 89 w 130"/>
                    <a:gd name="T21" fmla="*/ 32 h 128"/>
                    <a:gd name="T22" fmla="*/ 95 w 130"/>
                    <a:gd name="T23" fmla="*/ 48 h 128"/>
                    <a:gd name="T24" fmla="*/ 90 w 130"/>
                    <a:gd name="T25" fmla="*/ 63 h 128"/>
                    <a:gd name="T26" fmla="*/ 76 w 130"/>
                    <a:gd name="T27" fmla="*/ 69 h 128"/>
                    <a:gd name="T28" fmla="*/ 84 w 130"/>
                    <a:gd name="T29" fmla="*/ 101 h 128"/>
                    <a:gd name="T30" fmla="*/ 51 w 130"/>
                    <a:gd name="T31" fmla="*/ 69 h 128"/>
                    <a:gd name="T32" fmla="*/ 40 w 130"/>
                    <a:gd name="T33" fmla="*/ 101 h 128"/>
                    <a:gd name="T34" fmla="*/ 66 w 130"/>
                    <a:gd name="T35" fmla="*/ 11 h 128"/>
                    <a:gd name="T36" fmla="*/ 34 w 130"/>
                    <a:gd name="T37" fmla="*/ 20 h 128"/>
                    <a:gd name="T38" fmla="*/ 16 w 130"/>
                    <a:gd name="T39" fmla="*/ 47 h 128"/>
                    <a:gd name="T40" fmla="*/ 16 w 130"/>
                    <a:gd name="T41" fmla="*/ 82 h 128"/>
                    <a:gd name="T42" fmla="*/ 34 w 130"/>
                    <a:gd name="T43" fmla="*/ 107 h 128"/>
                    <a:gd name="T44" fmla="*/ 66 w 130"/>
                    <a:gd name="T45" fmla="*/ 117 h 128"/>
                    <a:gd name="T46" fmla="*/ 96 w 130"/>
                    <a:gd name="T47" fmla="*/ 107 h 128"/>
                    <a:gd name="T48" fmla="*/ 115 w 130"/>
                    <a:gd name="T49" fmla="*/ 82 h 128"/>
                    <a:gd name="T50" fmla="*/ 115 w 130"/>
                    <a:gd name="T51" fmla="*/ 47 h 128"/>
                    <a:gd name="T52" fmla="*/ 96 w 130"/>
                    <a:gd name="T53" fmla="*/ 20 h 128"/>
                    <a:gd name="T54" fmla="*/ 66 w 130"/>
                    <a:gd name="T55" fmla="*/ 11 h 128"/>
                    <a:gd name="T56" fmla="*/ 85 w 130"/>
                    <a:gd name="T57" fmla="*/ 3 h 128"/>
                    <a:gd name="T58" fmla="*/ 118 w 130"/>
                    <a:gd name="T59" fmla="*/ 25 h 128"/>
                    <a:gd name="T60" fmla="*/ 130 w 130"/>
                    <a:gd name="T61" fmla="*/ 64 h 128"/>
                    <a:gd name="T62" fmla="*/ 118 w 130"/>
                    <a:gd name="T63" fmla="*/ 102 h 128"/>
                    <a:gd name="T64" fmla="*/ 85 w 130"/>
                    <a:gd name="T65" fmla="*/ 125 h 128"/>
                    <a:gd name="T66" fmla="*/ 45 w 130"/>
                    <a:gd name="T67" fmla="*/ 125 h 128"/>
                    <a:gd name="T68" fmla="*/ 13 w 130"/>
                    <a:gd name="T69" fmla="*/ 102 h 128"/>
                    <a:gd name="T70" fmla="*/ 0 w 130"/>
                    <a:gd name="T71" fmla="*/ 64 h 128"/>
                    <a:gd name="T72" fmla="*/ 13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6" y="60"/>
                      </a:lnTo>
                      <a:lnTo>
                        <a:pt x="70" y="60"/>
                      </a:lnTo>
                      <a:lnTo>
                        <a:pt x="73" y="59"/>
                      </a:lnTo>
                      <a:lnTo>
                        <a:pt x="77" y="59"/>
                      </a:lnTo>
                      <a:lnTo>
                        <a:pt x="79" y="56"/>
                      </a:lnTo>
                      <a:lnTo>
                        <a:pt x="82" y="55"/>
                      </a:lnTo>
                      <a:lnTo>
                        <a:pt x="83" y="52"/>
                      </a:lnTo>
                      <a:lnTo>
                        <a:pt x="83" y="48"/>
                      </a:lnTo>
                      <a:lnTo>
                        <a:pt x="83" y="44"/>
                      </a:lnTo>
                      <a:lnTo>
                        <a:pt x="82" y="42"/>
                      </a:lnTo>
                      <a:lnTo>
                        <a:pt x="79" y="40"/>
                      </a:lnTo>
                      <a:lnTo>
                        <a:pt x="77" y="38"/>
                      </a:lnTo>
                      <a:lnTo>
                        <a:pt x="73" y="37"/>
                      </a:lnTo>
                      <a:lnTo>
                        <a:pt x="71" y="37"/>
                      </a:lnTo>
                      <a:lnTo>
                        <a:pt x="67" y="37"/>
                      </a:lnTo>
                      <a:lnTo>
                        <a:pt x="51" y="37"/>
                      </a:lnTo>
                      <a:close/>
                      <a:moveTo>
                        <a:pt x="40" y="28"/>
                      </a:moveTo>
                      <a:lnTo>
                        <a:pt x="68" y="28"/>
                      </a:lnTo>
                      <a:lnTo>
                        <a:pt x="81" y="29"/>
                      </a:lnTo>
                      <a:lnTo>
                        <a:pt x="89" y="32"/>
                      </a:lnTo>
                      <a:lnTo>
                        <a:pt x="94" y="38"/>
                      </a:lnTo>
                      <a:lnTo>
                        <a:pt x="95" y="48"/>
                      </a:lnTo>
                      <a:lnTo>
                        <a:pt x="94" y="56"/>
                      </a:lnTo>
                      <a:lnTo>
                        <a:pt x="90" y="63"/>
                      </a:lnTo>
                      <a:lnTo>
                        <a:pt x="83" y="66"/>
                      </a:lnTo>
                      <a:lnTo>
                        <a:pt x="76" y="69"/>
                      </a:lnTo>
                      <a:lnTo>
                        <a:pt x="98" y="101"/>
                      </a:lnTo>
                      <a:lnTo>
                        <a:pt x="84" y="101"/>
                      </a:lnTo>
                      <a:lnTo>
                        <a:pt x="65" y="69"/>
                      </a:lnTo>
                      <a:lnTo>
                        <a:pt x="51" y="69"/>
                      </a:lnTo>
                      <a:lnTo>
                        <a:pt x="51" y="101"/>
                      </a:lnTo>
                      <a:lnTo>
                        <a:pt x="40" y="101"/>
                      </a:lnTo>
                      <a:lnTo>
                        <a:pt x="40" y="28"/>
                      </a:lnTo>
                      <a:close/>
                      <a:moveTo>
                        <a:pt x="66" y="11"/>
                      </a:moveTo>
                      <a:lnTo>
                        <a:pt x="49" y="13"/>
                      </a:lnTo>
                      <a:lnTo>
                        <a:pt x="34" y="20"/>
                      </a:lnTo>
                      <a:lnTo>
                        <a:pt x="23" y="32"/>
                      </a:lnTo>
                      <a:lnTo>
                        <a:pt x="16" y="47"/>
                      </a:lnTo>
                      <a:lnTo>
                        <a:pt x="14" y="64"/>
                      </a:lnTo>
                      <a:lnTo>
                        <a:pt x="16" y="82"/>
                      </a:lnTo>
                      <a:lnTo>
                        <a:pt x="23" y="96"/>
                      </a:lnTo>
                      <a:lnTo>
                        <a:pt x="34" y="107"/>
                      </a:lnTo>
                      <a:lnTo>
                        <a:pt x="49" y="114"/>
                      </a:lnTo>
                      <a:lnTo>
                        <a:pt x="66" y="117"/>
                      </a:lnTo>
                      <a:lnTo>
                        <a:pt x="82" y="114"/>
                      </a:lnTo>
                      <a:lnTo>
                        <a:pt x="96" y="107"/>
                      </a:lnTo>
                      <a:lnTo>
                        <a:pt x="107" y="96"/>
                      </a:lnTo>
                      <a:lnTo>
                        <a:pt x="115" y="82"/>
                      </a:lnTo>
                      <a:lnTo>
                        <a:pt x="118" y="64"/>
                      </a:lnTo>
                      <a:lnTo>
                        <a:pt x="115" y="47"/>
                      </a:lnTo>
                      <a:lnTo>
                        <a:pt x="107" y="32"/>
                      </a:lnTo>
                      <a:lnTo>
                        <a:pt x="96" y="20"/>
                      </a:lnTo>
                      <a:lnTo>
                        <a:pt x="82" y="13"/>
                      </a:lnTo>
                      <a:lnTo>
                        <a:pt x="66" y="11"/>
                      </a:lnTo>
                      <a:close/>
                      <a:moveTo>
                        <a:pt x="66" y="0"/>
                      </a:moveTo>
                      <a:lnTo>
                        <a:pt x="85" y="3"/>
                      </a:lnTo>
                      <a:lnTo>
                        <a:pt x="104" y="12"/>
                      </a:lnTo>
                      <a:lnTo>
                        <a:pt x="118" y="25"/>
                      </a:lnTo>
                      <a:lnTo>
                        <a:pt x="127" y="43"/>
                      </a:lnTo>
                      <a:lnTo>
                        <a:pt x="130" y="64"/>
                      </a:lnTo>
                      <a:lnTo>
                        <a:pt x="127" y="84"/>
                      </a:lnTo>
                      <a:lnTo>
                        <a:pt x="118" y="102"/>
                      </a:lnTo>
                      <a:lnTo>
                        <a:pt x="104" y="116"/>
                      </a:lnTo>
                      <a:lnTo>
                        <a:pt x="85" y="125"/>
                      </a:lnTo>
                      <a:lnTo>
                        <a:pt x="66" y="128"/>
                      </a:lnTo>
                      <a:lnTo>
                        <a:pt x="45" y="125"/>
                      </a:lnTo>
                      <a:lnTo>
                        <a:pt x="27" y="116"/>
                      </a:lnTo>
                      <a:lnTo>
                        <a:pt x="13" y="102"/>
                      </a:lnTo>
                      <a:lnTo>
                        <a:pt x="4" y="84"/>
                      </a:lnTo>
                      <a:lnTo>
                        <a:pt x="0" y="64"/>
                      </a:lnTo>
                      <a:lnTo>
                        <a:pt x="4" y="43"/>
                      </a:lnTo>
                      <a:lnTo>
                        <a:pt x="13" y="25"/>
                      </a:lnTo>
                      <a:lnTo>
                        <a:pt x="27" y="12"/>
                      </a:lnTo>
                      <a:lnTo>
                        <a:pt x="45" y="3"/>
                      </a:lnTo>
                      <a:lnTo>
                        <a:pt x="6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198" name="Freeform 12">
                  <a:extLst>
                    <a:ext uri="{FF2B5EF4-FFF2-40B4-BE49-F238E27FC236}">
                      <a16:creationId xmlns:a16="http://schemas.microsoft.com/office/drawing/2014/main" id="{AD65BCB3-D044-4F1F-8063-714DB44045C2}"/>
                    </a:ext>
                  </a:extLst>
                </p:cNvPr>
                <p:cNvSpPr>
                  <a:spLocks noEditPoints="1"/>
                </p:cNvSpPr>
                <p:nvPr userDrawn="1"/>
              </p:nvSpPr>
              <p:spPr bwMode="auto">
                <a:xfrm>
                  <a:off x="6591301" y="4867276"/>
                  <a:ext cx="52388" cy="50800"/>
                </a:xfrm>
                <a:custGeom>
                  <a:avLst/>
                  <a:gdLst>
                    <a:gd name="T0" fmla="*/ 51 w 130"/>
                    <a:gd name="T1" fmla="*/ 60 h 128"/>
                    <a:gd name="T2" fmla="*/ 69 w 130"/>
                    <a:gd name="T3" fmla="*/ 60 h 128"/>
                    <a:gd name="T4" fmla="*/ 75 w 130"/>
                    <a:gd name="T5" fmla="*/ 59 h 128"/>
                    <a:gd name="T6" fmla="*/ 81 w 130"/>
                    <a:gd name="T7" fmla="*/ 55 h 128"/>
                    <a:gd name="T8" fmla="*/ 82 w 130"/>
                    <a:gd name="T9" fmla="*/ 48 h 128"/>
                    <a:gd name="T10" fmla="*/ 81 w 130"/>
                    <a:gd name="T11" fmla="*/ 42 h 128"/>
                    <a:gd name="T12" fmla="*/ 76 w 130"/>
                    <a:gd name="T13" fmla="*/ 38 h 128"/>
                    <a:gd name="T14" fmla="*/ 70 w 130"/>
                    <a:gd name="T15" fmla="*/ 37 h 128"/>
                    <a:gd name="T16" fmla="*/ 51 w 130"/>
                    <a:gd name="T17" fmla="*/ 37 h 128"/>
                    <a:gd name="T18" fmla="*/ 68 w 130"/>
                    <a:gd name="T19" fmla="*/ 28 h 128"/>
                    <a:gd name="T20" fmla="*/ 88 w 130"/>
                    <a:gd name="T21" fmla="*/ 32 h 128"/>
                    <a:gd name="T22" fmla="*/ 94 w 130"/>
                    <a:gd name="T23" fmla="*/ 48 h 128"/>
                    <a:gd name="T24" fmla="*/ 88 w 130"/>
                    <a:gd name="T25" fmla="*/ 63 h 128"/>
                    <a:gd name="T26" fmla="*/ 75 w 130"/>
                    <a:gd name="T27" fmla="*/ 69 h 128"/>
                    <a:gd name="T28" fmla="*/ 83 w 130"/>
                    <a:gd name="T29" fmla="*/ 101 h 128"/>
                    <a:gd name="T30" fmla="*/ 51 w 130"/>
                    <a:gd name="T31" fmla="*/ 69 h 128"/>
                    <a:gd name="T32" fmla="*/ 40 w 130"/>
                    <a:gd name="T33" fmla="*/ 101 h 128"/>
                    <a:gd name="T34" fmla="*/ 64 w 130"/>
                    <a:gd name="T35" fmla="*/ 11 h 128"/>
                    <a:gd name="T36" fmla="*/ 34 w 130"/>
                    <a:gd name="T37" fmla="*/ 20 h 128"/>
                    <a:gd name="T38" fmla="*/ 14 w 130"/>
                    <a:gd name="T39" fmla="*/ 47 h 128"/>
                    <a:gd name="T40" fmla="*/ 14 w 130"/>
                    <a:gd name="T41" fmla="*/ 82 h 128"/>
                    <a:gd name="T42" fmla="*/ 34 w 130"/>
                    <a:gd name="T43" fmla="*/ 107 h 128"/>
                    <a:gd name="T44" fmla="*/ 64 w 130"/>
                    <a:gd name="T45" fmla="*/ 117 h 128"/>
                    <a:gd name="T46" fmla="*/ 96 w 130"/>
                    <a:gd name="T47" fmla="*/ 107 h 128"/>
                    <a:gd name="T48" fmla="*/ 114 w 130"/>
                    <a:gd name="T49" fmla="*/ 82 h 128"/>
                    <a:gd name="T50" fmla="*/ 114 w 130"/>
                    <a:gd name="T51" fmla="*/ 47 h 128"/>
                    <a:gd name="T52" fmla="*/ 96 w 130"/>
                    <a:gd name="T53" fmla="*/ 20 h 128"/>
                    <a:gd name="T54" fmla="*/ 64 w 130"/>
                    <a:gd name="T55" fmla="*/ 11 h 128"/>
                    <a:gd name="T56" fmla="*/ 85 w 130"/>
                    <a:gd name="T57" fmla="*/ 3 h 128"/>
                    <a:gd name="T58" fmla="*/ 117 w 130"/>
                    <a:gd name="T59" fmla="*/ 25 h 128"/>
                    <a:gd name="T60" fmla="*/ 130 w 130"/>
                    <a:gd name="T61" fmla="*/ 64 h 128"/>
                    <a:gd name="T62" fmla="*/ 117 w 130"/>
                    <a:gd name="T63" fmla="*/ 102 h 128"/>
                    <a:gd name="T64" fmla="*/ 85 w 130"/>
                    <a:gd name="T65" fmla="*/ 125 h 128"/>
                    <a:gd name="T66" fmla="*/ 45 w 130"/>
                    <a:gd name="T67" fmla="*/ 125 h 128"/>
                    <a:gd name="T68" fmla="*/ 12 w 130"/>
                    <a:gd name="T69" fmla="*/ 102 h 128"/>
                    <a:gd name="T70" fmla="*/ 0 w 130"/>
                    <a:gd name="T71" fmla="*/ 64 h 128"/>
                    <a:gd name="T72" fmla="*/ 12 w 130"/>
                    <a:gd name="T73" fmla="*/ 25 h 128"/>
                    <a:gd name="T74" fmla="*/ 45 w 130"/>
                    <a:gd name="T75" fmla="*/ 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28">
                      <a:moveTo>
                        <a:pt x="51" y="37"/>
                      </a:moveTo>
                      <a:lnTo>
                        <a:pt x="51" y="60"/>
                      </a:lnTo>
                      <a:lnTo>
                        <a:pt x="64" y="60"/>
                      </a:lnTo>
                      <a:lnTo>
                        <a:pt x="69" y="60"/>
                      </a:lnTo>
                      <a:lnTo>
                        <a:pt x="73" y="59"/>
                      </a:lnTo>
                      <a:lnTo>
                        <a:pt x="75" y="59"/>
                      </a:lnTo>
                      <a:lnTo>
                        <a:pt x="79" y="56"/>
                      </a:lnTo>
                      <a:lnTo>
                        <a:pt x="81" y="55"/>
                      </a:lnTo>
                      <a:lnTo>
                        <a:pt x="82" y="52"/>
                      </a:lnTo>
                      <a:lnTo>
                        <a:pt x="82" y="48"/>
                      </a:lnTo>
                      <a:lnTo>
                        <a:pt x="82" y="44"/>
                      </a:lnTo>
                      <a:lnTo>
                        <a:pt x="81" y="42"/>
                      </a:lnTo>
                      <a:lnTo>
                        <a:pt x="79" y="40"/>
                      </a:lnTo>
                      <a:lnTo>
                        <a:pt x="76" y="38"/>
                      </a:lnTo>
                      <a:lnTo>
                        <a:pt x="73" y="37"/>
                      </a:lnTo>
                      <a:lnTo>
                        <a:pt x="70" y="37"/>
                      </a:lnTo>
                      <a:lnTo>
                        <a:pt x="66" y="37"/>
                      </a:lnTo>
                      <a:lnTo>
                        <a:pt x="51" y="37"/>
                      </a:lnTo>
                      <a:close/>
                      <a:moveTo>
                        <a:pt x="40" y="28"/>
                      </a:moveTo>
                      <a:lnTo>
                        <a:pt x="68" y="28"/>
                      </a:lnTo>
                      <a:lnTo>
                        <a:pt x="80" y="29"/>
                      </a:lnTo>
                      <a:lnTo>
                        <a:pt x="88" y="32"/>
                      </a:lnTo>
                      <a:lnTo>
                        <a:pt x="93" y="38"/>
                      </a:lnTo>
                      <a:lnTo>
                        <a:pt x="94" y="48"/>
                      </a:lnTo>
                      <a:lnTo>
                        <a:pt x="93" y="56"/>
                      </a:lnTo>
                      <a:lnTo>
                        <a:pt x="88" y="63"/>
                      </a:lnTo>
                      <a:lnTo>
                        <a:pt x="82" y="66"/>
                      </a:lnTo>
                      <a:lnTo>
                        <a:pt x="75" y="69"/>
                      </a:lnTo>
                      <a:lnTo>
                        <a:pt x="96" y="101"/>
                      </a:lnTo>
                      <a:lnTo>
                        <a:pt x="83" y="101"/>
                      </a:lnTo>
                      <a:lnTo>
                        <a:pt x="64" y="69"/>
                      </a:lnTo>
                      <a:lnTo>
                        <a:pt x="51" y="69"/>
                      </a:lnTo>
                      <a:lnTo>
                        <a:pt x="51" y="101"/>
                      </a:lnTo>
                      <a:lnTo>
                        <a:pt x="40" y="101"/>
                      </a:lnTo>
                      <a:lnTo>
                        <a:pt x="40" y="28"/>
                      </a:lnTo>
                      <a:close/>
                      <a:moveTo>
                        <a:pt x="64" y="11"/>
                      </a:moveTo>
                      <a:lnTo>
                        <a:pt x="48" y="13"/>
                      </a:lnTo>
                      <a:lnTo>
                        <a:pt x="34" y="20"/>
                      </a:lnTo>
                      <a:lnTo>
                        <a:pt x="22" y="32"/>
                      </a:lnTo>
                      <a:lnTo>
                        <a:pt x="14" y="47"/>
                      </a:lnTo>
                      <a:lnTo>
                        <a:pt x="12" y="64"/>
                      </a:lnTo>
                      <a:lnTo>
                        <a:pt x="14" y="82"/>
                      </a:lnTo>
                      <a:lnTo>
                        <a:pt x="22" y="96"/>
                      </a:lnTo>
                      <a:lnTo>
                        <a:pt x="34" y="107"/>
                      </a:lnTo>
                      <a:lnTo>
                        <a:pt x="48" y="114"/>
                      </a:lnTo>
                      <a:lnTo>
                        <a:pt x="64" y="117"/>
                      </a:lnTo>
                      <a:lnTo>
                        <a:pt x="81" y="114"/>
                      </a:lnTo>
                      <a:lnTo>
                        <a:pt x="96" y="107"/>
                      </a:lnTo>
                      <a:lnTo>
                        <a:pt x="107" y="96"/>
                      </a:lnTo>
                      <a:lnTo>
                        <a:pt x="114" y="82"/>
                      </a:lnTo>
                      <a:lnTo>
                        <a:pt x="116" y="64"/>
                      </a:lnTo>
                      <a:lnTo>
                        <a:pt x="114" y="47"/>
                      </a:lnTo>
                      <a:lnTo>
                        <a:pt x="107" y="32"/>
                      </a:lnTo>
                      <a:lnTo>
                        <a:pt x="96" y="20"/>
                      </a:lnTo>
                      <a:lnTo>
                        <a:pt x="81" y="13"/>
                      </a:lnTo>
                      <a:lnTo>
                        <a:pt x="64" y="11"/>
                      </a:lnTo>
                      <a:close/>
                      <a:moveTo>
                        <a:pt x="64" y="0"/>
                      </a:moveTo>
                      <a:lnTo>
                        <a:pt x="85" y="3"/>
                      </a:lnTo>
                      <a:lnTo>
                        <a:pt x="103" y="12"/>
                      </a:lnTo>
                      <a:lnTo>
                        <a:pt x="117" y="25"/>
                      </a:lnTo>
                      <a:lnTo>
                        <a:pt x="126" y="43"/>
                      </a:lnTo>
                      <a:lnTo>
                        <a:pt x="130" y="64"/>
                      </a:lnTo>
                      <a:lnTo>
                        <a:pt x="126" y="84"/>
                      </a:lnTo>
                      <a:lnTo>
                        <a:pt x="117" y="102"/>
                      </a:lnTo>
                      <a:lnTo>
                        <a:pt x="103" y="116"/>
                      </a:lnTo>
                      <a:lnTo>
                        <a:pt x="85" y="125"/>
                      </a:lnTo>
                      <a:lnTo>
                        <a:pt x="64" y="128"/>
                      </a:lnTo>
                      <a:lnTo>
                        <a:pt x="45" y="125"/>
                      </a:lnTo>
                      <a:lnTo>
                        <a:pt x="26" y="116"/>
                      </a:lnTo>
                      <a:lnTo>
                        <a:pt x="12" y="102"/>
                      </a:lnTo>
                      <a:lnTo>
                        <a:pt x="2" y="84"/>
                      </a:lnTo>
                      <a:lnTo>
                        <a:pt x="0" y="64"/>
                      </a:lnTo>
                      <a:lnTo>
                        <a:pt x="2" y="43"/>
                      </a:lnTo>
                      <a:lnTo>
                        <a:pt x="12" y="25"/>
                      </a:lnTo>
                      <a:lnTo>
                        <a:pt x="26" y="12"/>
                      </a:lnTo>
                      <a:lnTo>
                        <a:pt x="45" y="3"/>
                      </a:lnTo>
                      <a:lnTo>
                        <a:pt x="6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mn-ea"/>
                    <a:cs typeface="+mn-cs"/>
                  </a:endParaRPr>
                </a:p>
              </p:txBody>
            </p:sp>
          </p:grpSp>
          <p:pic>
            <p:nvPicPr>
              <p:cNvPr id="190" name="Picture 6" descr="Thumbnail: python">
                <a:extLst>
                  <a:ext uri="{FF2B5EF4-FFF2-40B4-BE49-F238E27FC236}">
                    <a16:creationId xmlns:a16="http://schemas.microsoft.com/office/drawing/2014/main" id="{F9C57A7E-4701-4E5E-B572-94DAE652C855}"/>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9896224" y="4142274"/>
                <a:ext cx="182880" cy="182880"/>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8" descr="Image result for r Language logo white">
                <a:extLst>
                  <a:ext uri="{FF2B5EF4-FFF2-40B4-BE49-F238E27FC236}">
                    <a16:creationId xmlns:a16="http://schemas.microsoft.com/office/drawing/2014/main" id="{1A3C7306-1E05-490C-8350-B5CC8D3EB6CA}"/>
                  </a:ext>
                </a:extLst>
              </p:cNvPr>
              <p:cNvPicPr>
                <a:picLocks noChangeAspect="1" noChangeArrowheads="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9847206" y="4398340"/>
                <a:ext cx="320040" cy="18288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86" name="Straight Connector 185">
              <a:extLst>
                <a:ext uri="{FF2B5EF4-FFF2-40B4-BE49-F238E27FC236}">
                  <a16:creationId xmlns:a16="http://schemas.microsoft.com/office/drawing/2014/main" id="{1A456297-C12D-488A-92B8-1B329B9A0B34}"/>
                </a:ext>
              </a:extLst>
            </p:cNvPr>
            <p:cNvCxnSpPr/>
            <p:nvPr/>
          </p:nvCxnSpPr>
          <p:spPr>
            <a:xfrm>
              <a:off x="9881211" y="3029992"/>
              <a:ext cx="64008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E39ED06E-AA51-4DFF-BD12-35FF37CB3A14}"/>
                </a:ext>
              </a:extLst>
            </p:cNvPr>
            <p:cNvCxnSpPr/>
            <p:nvPr/>
          </p:nvCxnSpPr>
          <p:spPr>
            <a:xfrm>
              <a:off x="9917055" y="4680139"/>
              <a:ext cx="640080" cy="0"/>
            </a:xfrm>
            <a:prstGeom prst="line">
              <a:avLst/>
            </a:prstGeom>
            <a:ln>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233" name="TextBox 232">
            <a:extLst>
              <a:ext uri="{FF2B5EF4-FFF2-40B4-BE49-F238E27FC236}">
                <a16:creationId xmlns:a16="http://schemas.microsoft.com/office/drawing/2014/main" id="{48B7F97A-0378-4B0D-A645-106850D28A9B}"/>
              </a:ext>
            </a:extLst>
          </p:cNvPr>
          <p:cNvSpPr txBox="1"/>
          <p:nvPr>
            <p:custDataLst>
              <p:tags r:id="rId39"/>
            </p:custDataLst>
          </p:nvPr>
        </p:nvSpPr>
        <p:spPr>
          <a:xfrm>
            <a:off x="660207" y="2268923"/>
            <a:ext cx="943138" cy="406265"/>
          </a:xfrm>
          <a:prstGeom prst="rect">
            <a:avLst/>
          </a:prstGeom>
          <a:noFill/>
        </p:spPr>
        <p:txBody>
          <a:bodyPr wrap="square" rtlCol="0">
            <a:spAutoFit/>
          </a:bodyPr>
          <a:lstStyle/>
          <a:p>
            <a:pPr defTabSz="457189"/>
            <a:r>
              <a:rPr lang="fr-CA" sz="900" b="1">
                <a:solidFill>
                  <a:srgbClr val="FFFFFF"/>
                </a:solidFill>
                <a:latin typeface="Calibri Light" panose="020F0302020204030204"/>
              </a:rPr>
              <a:t>Base de données</a:t>
            </a:r>
          </a:p>
        </p:txBody>
      </p:sp>
      <p:sp>
        <p:nvSpPr>
          <p:cNvPr id="234" name="TextBox 233">
            <a:extLst>
              <a:ext uri="{FF2B5EF4-FFF2-40B4-BE49-F238E27FC236}">
                <a16:creationId xmlns:a16="http://schemas.microsoft.com/office/drawing/2014/main" id="{53A14971-8A55-46B8-B635-526A8B5F778B}"/>
              </a:ext>
            </a:extLst>
          </p:cNvPr>
          <p:cNvSpPr txBox="1"/>
          <p:nvPr>
            <p:custDataLst>
              <p:tags r:id="rId40"/>
            </p:custDataLst>
          </p:nvPr>
        </p:nvSpPr>
        <p:spPr>
          <a:xfrm>
            <a:off x="1233587" y="2313627"/>
            <a:ext cx="654119" cy="199735"/>
          </a:xfrm>
          <a:prstGeom prst="rect">
            <a:avLst/>
          </a:prstGeom>
          <a:noFill/>
        </p:spPr>
        <p:txBody>
          <a:bodyPr wrap="square" rtlCol="0">
            <a:spAutoFit/>
          </a:bodyPr>
          <a:lstStyle/>
          <a:p>
            <a:pPr marL="0" marR="0" lvl="0" indent="0" algn="l" defTabSz="457178" rtl="0" eaLnBrk="1" fontAlgn="auto" latinLnBrk="0" hangingPunct="1">
              <a:lnSpc>
                <a:spcPts val="8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Light" panose="020F0302020204030204"/>
                <a:ea typeface="+mn-ea"/>
                <a:cs typeface="+mn-cs"/>
              </a:rPr>
              <a:t>Data Lake</a:t>
            </a:r>
          </a:p>
        </p:txBody>
      </p:sp>
      <p:sp>
        <p:nvSpPr>
          <p:cNvPr id="235" name="TextBox 234">
            <a:extLst>
              <a:ext uri="{FF2B5EF4-FFF2-40B4-BE49-F238E27FC236}">
                <a16:creationId xmlns:a16="http://schemas.microsoft.com/office/drawing/2014/main" id="{CF936B67-D8BD-461B-A88E-7315E45A00BA}"/>
              </a:ext>
            </a:extLst>
          </p:cNvPr>
          <p:cNvSpPr txBox="1"/>
          <p:nvPr>
            <p:custDataLst>
              <p:tags r:id="rId41"/>
            </p:custDataLst>
          </p:nvPr>
        </p:nvSpPr>
        <p:spPr>
          <a:xfrm>
            <a:off x="60696" y="3052890"/>
            <a:ext cx="771071" cy="219709"/>
          </a:xfrm>
          <a:prstGeom prst="rect">
            <a:avLst/>
          </a:prstGeom>
          <a:noFill/>
        </p:spPr>
        <p:txBody>
          <a:bodyPr wrap="square" rtlCol="0">
            <a:spAutoFit/>
          </a:bodyPr>
          <a:lstStyle/>
          <a:p>
            <a:pPr marL="0" marR="0" lvl="0" indent="0" algn="ctr" defTabSz="457178" rtl="0" eaLnBrk="1" fontAlgn="auto" latinLnBrk="0" hangingPunct="1">
              <a:lnSpc>
                <a:spcPts val="8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Light" panose="020F0302020204030204"/>
                <a:ea typeface="+mn-ea"/>
                <a:cs typeface="+mn-cs"/>
              </a:rPr>
              <a:t>IoT</a:t>
            </a:r>
          </a:p>
        </p:txBody>
      </p:sp>
      <p:sp>
        <p:nvSpPr>
          <p:cNvPr id="236" name="TextBox 235">
            <a:extLst>
              <a:ext uri="{FF2B5EF4-FFF2-40B4-BE49-F238E27FC236}">
                <a16:creationId xmlns:a16="http://schemas.microsoft.com/office/drawing/2014/main" id="{270CA7BA-91D9-4534-81A2-6992F24AFF29}"/>
              </a:ext>
            </a:extLst>
          </p:cNvPr>
          <p:cNvSpPr txBox="1"/>
          <p:nvPr>
            <p:custDataLst>
              <p:tags r:id="rId42"/>
            </p:custDataLst>
          </p:nvPr>
        </p:nvSpPr>
        <p:spPr>
          <a:xfrm>
            <a:off x="750169" y="3005926"/>
            <a:ext cx="531088" cy="253915"/>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err="1">
                <a:ln>
                  <a:noFill/>
                </a:ln>
                <a:solidFill>
                  <a:srgbClr val="FFFFFF"/>
                </a:solidFill>
                <a:effectLst/>
                <a:uLnTx/>
                <a:uFillTx/>
                <a:latin typeface="Calibri Light" panose="020F0302020204030204"/>
                <a:ea typeface="+mn-ea"/>
                <a:cs typeface="+mn-cs"/>
              </a:rPr>
              <a:t>Texte</a:t>
            </a:r>
            <a:endParaRPr kumimoji="0" lang="en-US" sz="900" b="1" i="0" u="none" strike="noStrike" kern="1200" cap="none" spc="0" normalizeH="0" baseline="0" noProof="0">
              <a:ln>
                <a:noFill/>
              </a:ln>
              <a:solidFill>
                <a:srgbClr val="FFFFFF"/>
              </a:solidFill>
              <a:effectLst/>
              <a:uLnTx/>
              <a:uFillTx/>
              <a:latin typeface="Calibri Light" panose="020F0302020204030204"/>
              <a:ea typeface="+mn-ea"/>
              <a:cs typeface="+mn-cs"/>
            </a:endParaRPr>
          </a:p>
        </p:txBody>
      </p:sp>
      <p:sp>
        <p:nvSpPr>
          <p:cNvPr id="237" name="TextBox 236">
            <a:extLst>
              <a:ext uri="{FF2B5EF4-FFF2-40B4-BE49-F238E27FC236}">
                <a16:creationId xmlns:a16="http://schemas.microsoft.com/office/drawing/2014/main" id="{40A0ACE5-ED4A-490F-B84C-B644F1036123}"/>
              </a:ext>
            </a:extLst>
          </p:cNvPr>
          <p:cNvSpPr txBox="1"/>
          <p:nvPr>
            <p:custDataLst>
              <p:tags r:id="rId43"/>
            </p:custDataLst>
          </p:nvPr>
        </p:nvSpPr>
        <p:spPr>
          <a:xfrm>
            <a:off x="1102918" y="3052125"/>
            <a:ext cx="815615" cy="199735"/>
          </a:xfrm>
          <a:prstGeom prst="rect">
            <a:avLst/>
          </a:prstGeom>
          <a:noFill/>
        </p:spPr>
        <p:txBody>
          <a:bodyPr wrap="square" rtlCol="0">
            <a:spAutoFit/>
          </a:bodyPr>
          <a:lstStyle/>
          <a:p>
            <a:pPr marL="0" marR="0" lvl="0" indent="0" algn="ctr" defTabSz="457178" rtl="0" eaLnBrk="1" fontAlgn="auto" latinLnBrk="0" hangingPunct="1">
              <a:lnSpc>
                <a:spcPts val="8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Light" panose="020F0302020204030204"/>
                <a:ea typeface="+mn-ea"/>
                <a:cs typeface="+mn-cs"/>
              </a:rPr>
              <a:t>Cloud Storage</a:t>
            </a:r>
          </a:p>
        </p:txBody>
      </p:sp>
      <p:sp>
        <p:nvSpPr>
          <p:cNvPr id="238" name="TextBox 237">
            <a:extLst>
              <a:ext uri="{FF2B5EF4-FFF2-40B4-BE49-F238E27FC236}">
                <a16:creationId xmlns:a16="http://schemas.microsoft.com/office/drawing/2014/main" id="{C1BFD9ED-D9B6-481D-BF35-0DD3E627AA9B}"/>
              </a:ext>
            </a:extLst>
          </p:cNvPr>
          <p:cNvSpPr txBox="1"/>
          <p:nvPr>
            <p:custDataLst>
              <p:tags r:id="rId44"/>
            </p:custDataLst>
          </p:nvPr>
        </p:nvSpPr>
        <p:spPr>
          <a:xfrm>
            <a:off x="126466" y="2305484"/>
            <a:ext cx="694077" cy="219709"/>
          </a:xfrm>
          <a:prstGeom prst="rect">
            <a:avLst/>
          </a:prstGeom>
          <a:noFill/>
        </p:spPr>
        <p:txBody>
          <a:bodyPr wrap="square" rtlCol="0">
            <a:spAutoFit/>
          </a:bodyPr>
          <a:lstStyle/>
          <a:p>
            <a:pPr marL="0" marR="0" lvl="0" indent="0" algn="l" defTabSz="457178" rtl="0" eaLnBrk="1" fontAlgn="auto" latinLnBrk="0" hangingPunct="1">
              <a:lnSpc>
                <a:spcPts val="800"/>
              </a:lnSpc>
              <a:spcBef>
                <a:spcPts val="0"/>
              </a:spcBef>
              <a:spcAft>
                <a:spcPts val="0"/>
              </a:spcAft>
              <a:buClrTx/>
              <a:buSzTx/>
              <a:buFontTx/>
              <a:buNone/>
              <a:tabLst/>
              <a:defRPr/>
            </a:pPr>
            <a:r>
              <a:rPr kumimoji="0" lang="en-US" sz="900" b="1" i="0" u="none" strike="noStrike" kern="1200" cap="none" spc="0" normalizeH="0" baseline="0" noProof="0">
                <a:ln>
                  <a:noFill/>
                </a:ln>
                <a:solidFill>
                  <a:srgbClr val="FFFFFF"/>
                </a:solidFill>
                <a:effectLst/>
                <a:uLnTx/>
                <a:uFillTx/>
                <a:latin typeface="Calibri Light" panose="020F0302020204030204"/>
                <a:ea typeface="+mn-ea"/>
                <a:cs typeface="+mn-cs"/>
              </a:rPr>
              <a:t>Non-SQL</a:t>
            </a:r>
          </a:p>
        </p:txBody>
      </p:sp>
      <p:grpSp>
        <p:nvGrpSpPr>
          <p:cNvPr id="239" name="Group 238">
            <a:extLst>
              <a:ext uri="{FF2B5EF4-FFF2-40B4-BE49-F238E27FC236}">
                <a16:creationId xmlns:a16="http://schemas.microsoft.com/office/drawing/2014/main" id="{268972D1-6DD9-4654-9BD4-23B1B0517150}"/>
              </a:ext>
            </a:extLst>
          </p:cNvPr>
          <p:cNvGrpSpPr/>
          <p:nvPr/>
        </p:nvGrpSpPr>
        <p:grpSpPr>
          <a:xfrm>
            <a:off x="575108" y="1943576"/>
            <a:ext cx="781803" cy="595869"/>
            <a:chOff x="4169506" y="1641086"/>
            <a:chExt cx="711976" cy="542648"/>
          </a:xfrm>
        </p:grpSpPr>
        <p:sp>
          <p:nvSpPr>
            <p:cNvPr id="240" name="Rectangle 239">
              <a:extLst>
                <a:ext uri="{FF2B5EF4-FFF2-40B4-BE49-F238E27FC236}">
                  <a16:creationId xmlns:a16="http://schemas.microsoft.com/office/drawing/2014/main" id="{38A2B023-54C5-4087-A5A8-FD46D5A26EDC}"/>
                </a:ext>
              </a:extLst>
            </p:cNvPr>
            <p:cNvSpPr/>
            <p:nvPr/>
          </p:nvSpPr>
          <p:spPr>
            <a:xfrm>
              <a:off x="4169506" y="1929373"/>
              <a:ext cx="711976" cy="254361"/>
            </a:xfrm>
            <a:prstGeom prst="rect">
              <a:avLst/>
            </a:prstGeom>
            <a:noFill/>
          </p:spPr>
          <p:txBody>
            <a:bodyPr wrap="square">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Light"/>
                <a:ea typeface="+mn-ea"/>
                <a:cs typeface="+mn-cs"/>
              </a:endParaRPr>
            </a:p>
          </p:txBody>
        </p:sp>
        <p:sp>
          <p:nvSpPr>
            <p:cNvPr id="241" name="Freeform 11">
              <a:extLst>
                <a:ext uri="{FF2B5EF4-FFF2-40B4-BE49-F238E27FC236}">
                  <a16:creationId xmlns:a16="http://schemas.microsoft.com/office/drawing/2014/main" id="{C6506AF5-FF4F-485B-A678-073D8BF2AF1B}"/>
                </a:ext>
              </a:extLst>
            </p:cNvPr>
            <p:cNvSpPr>
              <a:spLocks noChangeAspect="1" noEditPoints="1"/>
            </p:cNvSpPr>
            <p:nvPr/>
          </p:nvSpPr>
          <p:spPr bwMode="auto">
            <a:xfrm>
              <a:off x="4349040" y="1641086"/>
              <a:ext cx="322031" cy="287979"/>
            </a:xfrm>
            <a:custGeom>
              <a:avLst/>
              <a:gdLst>
                <a:gd name="T0" fmla="*/ 130 w 3456"/>
                <a:gd name="T1" fmla="*/ 2892 h 3450"/>
                <a:gd name="T2" fmla="*/ 116 w 3456"/>
                <a:gd name="T3" fmla="*/ 3256 h 3450"/>
                <a:gd name="T4" fmla="*/ 250 w 3456"/>
                <a:gd name="T5" fmla="*/ 3345 h 3450"/>
                <a:gd name="T6" fmla="*/ 3326 w 3456"/>
                <a:gd name="T7" fmla="*/ 3280 h 3450"/>
                <a:gd name="T8" fmla="*/ 3340 w 3456"/>
                <a:gd name="T9" fmla="*/ 2917 h 3450"/>
                <a:gd name="T10" fmla="*/ 3206 w 3456"/>
                <a:gd name="T11" fmla="*/ 2828 h 3450"/>
                <a:gd name="T12" fmla="*/ 320 w 3456"/>
                <a:gd name="T13" fmla="*/ 2542 h 3450"/>
                <a:gd name="T14" fmla="*/ 130 w 3456"/>
                <a:gd name="T15" fmla="*/ 1985 h 3450"/>
                <a:gd name="T16" fmla="*/ 116 w 3456"/>
                <a:gd name="T17" fmla="*/ 2348 h 3450"/>
                <a:gd name="T18" fmla="*/ 250 w 3456"/>
                <a:gd name="T19" fmla="*/ 2437 h 3450"/>
                <a:gd name="T20" fmla="*/ 3326 w 3456"/>
                <a:gd name="T21" fmla="*/ 2373 h 3450"/>
                <a:gd name="T22" fmla="*/ 3340 w 3456"/>
                <a:gd name="T23" fmla="*/ 2009 h 3450"/>
                <a:gd name="T24" fmla="*/ 3206 w 3456"/>
                <a:gd name="T25" fmla="*/ 1920 h 3450"/>
                <a:gd name="T26" fmla="*/ 320 w 3456"/>
                <a:gd name="T27" fmla="*/ 1635 h 3450"/>
                <a:gd name="T28" fmla="*/ 130 w 3456"/>
                <a:gd name="T29" fmla="*/ 1077 h 3450"/>
                <a:gd name="T30" fmla="*/ 116 w 3456"/>
                <a:gd name="T31" fmla="*/ 1440 h 3450"/>
                <a:gd name="T32" fmla="*/ 250 w 3456"/>
                <a:gd name="T33" fmla="*/ 1530 h 3450"/>
                <a:gd name="T34" fmla="*/ 3326 w 3456"/>
                <a:gd name="T35" fmla="*/ 1465 h 3450"/>
                <a:gd name="T36" fmla="*/ 3340 w 3456"/>
                <a:gd name="T37" fmla="*/ 1102 h 3450"/>
                <a:gd name="T38" fmla="*/ 3206 w 3456"/>
                <a:gd name="T39" fmla="*/ 1013 h 3450"/>
                <a:gd name="T40" fmla="*/ 320 w 3456"/>
                <a:gd name="T41" fmla="*/ 727 h 3450"/>
                <a:gd name="T42" fmla="*/ 130 w 3456"/>
                <a:gd name="T43" fmla="*/ 169 h 3450"/>
                <a:gd name="T44" fmla="*/ 116 w 3456"/>
                <a:gd name="T45" fmla="*/ 533 h 3450"/>
                <a:gd name="T46" fmla="*/ 250 w 3456"/>
                <a:gd name="T47" fmla="*/ 622 h 3450"/>
                <a:gd name="T48" fmla="*/ 3326 w 3456"/>
                <a:gd name="T49" fmla="*/ 557 h 3450"/>
                <a:gd name="T50" fmla="*/ 3340 w 3456"/>
                <a:gd name="T51" fmla="*/ 194 h 3450"/>
                <a:gd name="T52" fmla="*/ 3206 w 3456"/>
                <a:gd name="T53" fmla="*/ 105 h 3450"/>
                <a:gd name="T54" fmla="*/ 3320 w 3456"/>
                <a:gd name="T55" fmla="*/ 29 h 3450"/>
                <a:gd name="T56" fmla="*/ 3453 w 3456"/>
                <a:gd name="T57" fmla="*/ 211 h 3450"/>
                <a:gd name="T58" fmla="*/ 3414 w 3456"/>
                <a:gd name="T59" fmla="*/ 614 h 3450"/>
                <a:gd name="T60" fmla="*/ 3237 w 3456"/>
                <a:gd name="T61" fmla="*/ 724 h 3450"/>
                <a:gd name="T62" fmla="*/ 3393 w 3456"/>
                <a:gd name="T63" fmla="*/ 993 h 3450"/>
                <a:gd name="T64" fmla="*/ 3456 w 3456"/>
                <a:gd name="T65" fmla="*/ 1384 h 3450"/>
                <a:gd name="T66" fmla="*/ 3367 w 3456"/>
                <a:gd name="T67" fmla="*/ 1574 h 3450"/>
                <a:gd name="T68" fmla="*/ 3273 w 3456"/>
                <a:gd name="T69" fmla="*/ 1826 h 3450"/>
                <a:gd name="T70" fmla="*/ 3432 w 3456"/>
                <a:gd name="T71" fmla="*/ 1960 h 3450"/>
                <a:gd name="T72" fmla="*/ 3446 w 3456"/>
                <a:gd name="T73" fmla="*/ 2365 h 3450"/>
                <a:gd name="T74" fmla="*/ 3307 w 3456"/>
                <a:gd name="T75" fmla="*/ 2520 h 3450"/>
                <a:gd name="T76" fmla="*/ 3339 w 3456"/>
                <a:gd name="T77" fmla="*/ 2763 h 3450"/>
                <a:gd name="T78" fmla="*/ 3453 w 3456"/>
                <a:gd name="T79" fmla="*/ 2937 h 3450"/>
                <a:gd name="T80" fmla="*/ 3408 w 3456"/>
                <a:gd name="T81" fmla="*/ 3347 h 3450"/>
                <a:gd name="T82" fmla="*/ 3206 w 3456"/>
                <a:gd name="T83" fmla="*/ 3450 h 3450"/>
                <a:gd name="T84" fmla="*/ 73 w 3456"/>
                <a:gd name="T85" fmla="*/ 3377 h 3450"/>
                <a:gd name="T86" fmla="*/ 0 w 3456"/>
                <a:gd name="T87" fmla="*/ 2973 h 3450"/>
                <a:gd name="T88" fmla="*/ 87 w 3456"/>
                <a:gd name="T89" fmla="*/ 2785 h 3450"/>
                <a:gd name="T90" fmla="*/ 180 w 3456"/>
                <a:gd name="T91" fmla="*/ 2532 h 3450"/>
                <a:gd name="T92" fmla="*/ 24 w 3456"/>
                <a:gd name="T93" fmla="*/ 2397 h 3450"/>
                <a:gd name="T94" fmla="*/ 10 w 3456"/>
                <a:gd name="T95" fmla="*/ 1993 h 3450"/>
                <a:gd name="T96" fmla="*/ 147 w 3456"/>
                <a:gd name="T97" fmla="*/ 1839 h 3450"/>
                <a:gd name="T98" fmla="*/ 115 w 3456"/>
                <a:gd name="T99" fmla="*/ 1594 h 3450"/>
                <a:gd name="T100" fmla="*/ 3 w 3456"/>
                <a:gd name="T101" fmla="*/ 1421 h 3450"/>
                <a:gd name="T102" fmla="*/ 41 w 3456"/>
                <a:gd name="T103" fmla="*/ 1022 h 3450"/>
                <a:gd name="T104" fmla="*/ 216 w 3456"/>
                <a:gd name="T105" fmla="*/ 911 h 3450"/>
                <a:gd name="T106" fmla="*/ 62 w 3456"/>
                <a:gd name="T107" fmla="*/ 640 h 3450"/>
                <a:gd name="T108" fmla="*/ 0 w 3456"/>
                <a:gd name="T109" fmla="*/ 251 h 3450"/>
                <a:gd name="T110" fmla="*/ 103 w 3456"/>
                <a:gd name="T111" fmla="*/ 48 h 3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56" h="3450">
                  <a:moveTo>
                    <a:pt x="250" y="2828"/>
                  </a:moveTo>
                  <a:lnTo>
                    <a:pt x="221" y="2831"/>
                  </a:lnTo>
                  <a:lnTo>
                    <a:pt x="194" y="2839"/>
                  </a:lnTo>
                  <a:lnTo>
                    <a:pt x="170" y="2853"/>
                  </a:lnTo>
                  <a:lnTo>
                    <a:pt x="148" y="2871"/>
                  </a:lnTo>
                  <a:lnTo>
                    <a:pt x="130" y="2892"/>
                  </a:lnTo>
                  <a:lnTo>
                    <a:pt x="116" y="2917"/>
                  </a:lnTo>
                  <a:lnTo>
                    <a:pt x="108" y="2944"/>
                  </a:lnTo>
                  <a:lnTo>
                    <a:pt x="105" y="2973"/>
                  </a:lnTo>
                  <a:lnTo>
                    <a:pt x="105" y="3199"/>
                  </a:lnTo>
                  <a:lnTo>
                    <a:pt x="108" y="3229"/>
                  </a:lnTo>
                  <a:lnTo>
                    <a:pt x="116" y="3256"/>
                  </a:lnTo>
                  <a:lnTo>
                    <a:pt x="130" y="3280"/>
                  </a:lnTo>
                  <a:lnTo>
                    <a:pt x="148" y="3302"/>
                  </a:lnTo>
                  <a:lnTo>
                    <a:pt x="170" y="3320"/>
                  </a:lnTo>
                  <a:lnTo>
                    <a:pt x="194" y="3334"/>
                  </a:lnTo>
                  <a:lnTo>
                    <a:pt x="221" y="3342"/>
                  </a:lnTo>
                  <a:lnTo>
                    <a:pt x="250" y="3345"/>
                  </a:lnTo>
                  <a:lnTo>
                    <a:pt x="3206" y="3345"/>
                  </a:lnTo>
                  <a:lnTo>
                    <a:pt x="3235" y="3342"/>
                  </a:lnTo>
                  <a:lnTo>
                    <a:pt x="3262" y="3334"/>
                  </a:lnTo>
                  <a:lnTo>
                    <a:pt x="3286" y="3320"/>
                  </a:lnTo>
                  <a:lnTo>
                    <a:pt x="3308" y="3302"/>
                  </a:lnTo>
                  <a:lnTo>
                    <a:pt x="3326" y="3280"/>
                  </a:lnTo>
                  <a:lnTo>
                    <a:pt x="3340" y="3256"/>
                  </a:lnTo>
                  <a:lnTo>
                    <a:pt x="3348" y="3229"/>
                  </a:lnTo>
                  <a:lnTo>
                    <a:pt x="3351" y="3199"/>
                  </a:lnTo>
                  <a:lnTo>
                    <a:pt x="3351" y="2973"/>
                  </a:lnTo>
                  <a:lnTo>
                    <a:pt x="3348" y="2944"/>
                  </a:lnTo>
                  <a:lnTo>
                    <a:pt x="3340" y="2917"/>
                  </a:lnTo>
                  <a:lnTo>
                    <a:pt x="3326" y="2892"/>
                  </a:lnTo>
                  <a:lnTo>
                    <a:pt x="3308" y="2871"/>
                  </a:lnTo>
                  <a:lnTo>
                    <a:pt x="3286" y="2853"/>
                  </a:lnTo>
                  <a:lnTo>
                    <a:pt x="3262" y="2839"/>
                  </a:lnTo>
                  <a:lnTo>
                    <a:pt x="3235" y="2831"/>
                  </a:lnTo>
                  <a:lnTo>
                    <a:pt x="3206" y="2828"/>
                  </a:lnTo>
                  <a:lnTo>
                    <a:pt x="250" y="2828"/>
                  </a:lnTo>
                  <a:close/>
                  <a:moveTo>
                    <a:pt x="320" y="2542"/>
                  </a:moveTo>
                  <a:lnTo>
                    <a:pt x="320" y="2723"/>
                  </a:lnTo>
                  <a:lnTo>
                    <a:pt x="3132" y="2723"/>
                  </a:lnTo>
                  <a:lnTo>
                    <a:pt x="3132" y="2542"/>
                  </a:lnTo>
                  <a:lnTo>
                    <a:pt x="320" y="2542"/>
                  </a:lnTo>
                  <a:close/>
                  <a:moveTo>
                    <a:pt x="250" y="1920"/>
                  </a:moveTo>
                  <a:lnTo>
                    <a:pt x="221" y="1923"/>
                  </a:lnTo>
                  <a:lnTo>
                    <a:pt x="194" y="1931"/>
                  </a:lnTo>
                  <a:lnTo>
                    <a:pt x="170" y="1945"/>
                  </a:lnTo>
                  <a:lnTo>
                    <a:pt x="148" y="1963"/>
                  </a:lnTo>
                  <a:lnTo>
                    <a:pt x="130" y="1985"/>
                  </a:lnTo>
                  <a:lnTo>
                    <a:pt x="116" y="2009"/>
                  </a:lnTo>
                  <a:lnTo>
                    <a:pt x="108" y="2037"/>
                  </a:lnTo>
                  <a:lnTo>
                    <a:pt x="105" y="2067"/>
                  </a:lnTo>
                  <a:lnTo>
                    <a:pt x="105" y="2292"/>
                  </a:lnTo>
                  <a:lnTo>
                    <a:pt x="108" y="2321"/>
                  </a:lnTo>
                  <a:lnTo>
                    <a:pt x="116" y="2348"/>
                  </a:lnTo>
                  <a:lnTo>
                    <a:pt x="130" y="2373"/>
                  </a:lnTo>
                  <a:lnTo>
                    <a:pt x="148" y="2394"/>
                  </a:lnTo>
                  <a:lnTo>
                    <a:pt x="170" y="2412"/>
                  </a:lnTo>
                  <a:lnTo>
                    <a:pt x="194" y="2426"/>
                  </a:lnTo>
                  <a:lnTo>
                    <a:pt x="221" y="2434"/>
                  </a:lnTo>
                  <a:lnTo>
                    <a:pt x="250" y="2437"/>
                  </a:lnTo>
                  <a:lnTo>
                    <a:pt x="3206" y="2437"/>
                  </a:lnTo>
                  <a:lnTo>
                    <a:pt x="3235" y="2434"/>
                  </a:lnTo>
                  <a:lnTo>
                    <a:pt x="3262" y="2426"/>
                  </a:lnTo>
                  <a:lnTo>
                    <a:pt x="3286" y="2412"/>
                  </a:lnTo>
                  <a:lnTo>
                    <a:pt x="3308" y="2394"/>
                  </a:lnTo>
                  <a:lnTo>
                    <a:pt x="3326" y="2373"/>
                  </a:lnTo>
                  <a:lnTo>
                    <a:pt x="3340" y="2348"/>
                  </a:lnTo>
                  <a:lnTo>
                    <a:pt x="3348" y="2321"/>
                  </a:lnTo>
                  <a:lnTo>
                    <a:pt x="3351" y="2292"/>
                  </a:lnTo>
                  <a:lnTo>
                    <a:pt x="3351" y="2067"/>
                  </a:lnTo>
                  <a:lnTo>
                    <a:pt x="3348" y="2037"/>
                  </a:lnTo>
                  <a:lnTo>
                    <a:pt x="3340" y="2009"/>
                  </a:lnTo>
                  <a:lnTo>
                    <a:pt x="3326" y="1985"/>
                  </a:lnTo>
                  <a:lnTo>
                    <a:pt x="3308" y="1963"/>
                  </a:lnTo>
                  <a:lnTo>
                    <a:pt x="3286" y="1945"/>
                  </a:lnTo>
                  <a:lnTo>
                    <a:pt x="3262" y="1931"/>
                  </a:lnTo>
                  <a:lnTo>
                    <a:pt x="3235" y="1923"/>
                  </a:lnTo>
                  <a:lnTo>
                    <a:pt x="3206" y="1920"/>
                  </a:lnTo>
                  <a:lnTo>
                    <a:pt x="250" y="1920"/>
                  </a:lnTo>
                  <a:close/>
                  <a:moveTo>
                    <a:pt x="320" y="1635"/>
                  </a:moveTo>
                  <a:lnTo>
                    <a:pt x="320" y="1815"/>
                  </a:lnTo>
                  <a:lnTo>
                    <a:pt x="3132" y="1815"/>
                  </a:lnTo>
                  <a:lnTo>
                    <a:pt x="3132" y="1635"/>
                  </a:lnTo>
                  <a:lnTo>
                    <a:pt x="320" y="1635"/>
                  </a:lnTo>
                  <a:close/>
                  <a:moveTo>
                    <a:pt x="250" y="1013"/>
                  </a:moveTo>
                  <a:lnTo>
                    <a:pt x="221" y="1015"/>
                  </a:lnTo>
                  <a:lnTo>
                    <a:pt x="194" y="1025"/>
                  </a:lnTo>
                  <a:lnTo>
                    <a:pt x="170" y="1037"/>
                  </a:lnTo>
                  <a:lnTo>
                    <a:pt x="148" y="1056"/>
                  </a:lnTo>
                  <a:lnTo>
                    <a:pt x="130" y="1077"/>
                  </a:lnTo>
                  <a:lnTo>
                    <a:pt x="116" y="1102"/>
                  </a:lnTo>
                  <a:lnTo>
                    <a:pt x="108" y="1129"/>
                  </a:lnTo>
                  <a:lnTo>
                    <a:pt x="105" y="1159"/>
                  </a:lnTo>
                  <a:lnTo>
                    <a:pt x="105" y="1384"/>
                  </a:lnTo>
                  <a:lnTo>
                    <a:pt x="108" y="1413"/>
                  </a:lnTo>
                  <a:lnTo>
                    <a:pt x="116" y="1440"/>
                  </a:lnTo>
                  <a:lnTo>
                    <a:pt x="130" y="1465"/>
                  </a:lnTo>
                  <a:lnTo>
                    <a:pt x="148" y="1487"/>
                  </a:lnTo>
                  <a:lnTo>
                    <a:pt x="170" y="1505"/>
                  </a:lnTo>
                  <a:lnTo>
                    <a:pt x="194" y="1519"/>
                  </a:lnTo>
                  <a:lnTo>
                    <a:pt x="221" y="1527"/>
                  </a:lnTo>
                  <a:lnTo>
                    <a:pt x="250" y="1530"/>
                  </a:lnTo>
                  <a:lnTo>
                    <a:pt x="3206" y="1530"/>
                  </a:lnTo>
                  <a:lnTo>
                    <a:pt x="3235" y="1527"/>
                  </a:lnTo>
                  <a:lnTo>
                    <a:pt x="3262" y="1519"/>
                  </a:lnTo>
                  <a:lnTo>
                    <a:pt x="3286" y="1505"/>
                  </a:lnTo>
                  <a:lnTo>
                    <a:pt x="3308" y="1487"/>
                  </a:lnTo>
                  <a:lnTo>
                    <a:pt x="3326" y="1465"/>
                  </a:lnTo>
                  <a:lnTo>
                    <a:pt x="3340" y="1440"/>
                  </a:lnTo>
                  <a:lnTo>
                    <a:pt x="3348" y="1413"/>
                  </a:lnTo>
                  <a:lnTo>
                    <a:pt x="3351" y="1384"/>
                  </a:lnTo>
                  <a:lnTo>
                    <a:pt x="3351" y="1159"/>
                  </a:lnTo>
                  <a:lnTo>
                    <a:pt x="3348" y="1129"/>
                  </a:lnTo>
                  <a:lnTo>
                    <a:pt x="3340" y="1102"/>
                  </a:lnTo>
                  <a:lnTo>
                    <a:pt x="3326" y="1077"/>
                  </a:lnTo>
                  <a:lnTo>
                    <a:pt x="3308" y="1056"/>
                  </a:lnTo>
                  <a:lnTo>
                    <a:pt x="3286" y="1037"/>
                  </a:lnTo>
                  <a:lnTo>
                    <a:pt x="3262" y="1025"/>
                  </a:lnTo>
                  <a:lnTo>
                    <a:pt x="3235" y="1015"/>
                  </a:lnTo>
                  <a:lnTo>
                    <a:pt x="3206" y="1013"/>
                  </a:lnTo>
                  <a:lnTo>
                    <a:pt x="250" y="1013"/>
                  </a:lnTo>
                  <a:close/>
                  <a:moveTo>
                    <a:pt x="320" y="727"/>
                  </a:moveTo>
                  <a:lnTo>
                    <a:pt x="320" y="908"/>
                  </a:lnTo>
                  <a:lnTo>
                    <a:pt x="3132" y="908"/>
                  </a:lnTo>
                  <a:lnTo>
                    <a:pt x="3132" y="727"/>
                  </a:lnTo>
                  <a:lnTo>
                    <a:pt x="320" y="727"/>
                  </a:lnTo>
                  <a:close/>
                  <a:moveTo>
                    <a:pt x="250" y="105"/>
                  </a:moveTo>
                  <a:lnTo>
                    <a:pt x="221" y="108"/>
                  </a:lnTo>
                  <a:lnTo>
                    <a:pt x="194" y="117"/>
                  </a:lnTo>
                  <a:lnTo>
                    <a:pt x="170" y="130"/>
                  </a:lnTo>
                  <a:lnTo>
                    <a:pt x="148" y="148"/>
                  </a:lnTo>
                  <a:lnTo>
                    <a:pt x="130" y="169"/>
                  </a:lnTo>
                  <a:lnTo>
                    <a:pt x="116" y="194"/>
                  </a:lnTo>
                  <a:lnTo>
                    <a:pt x="108" y="221"/>
                  </a:lnTo>
                  <a:lnTo>
                    <a:pt x="105" y="251"/>
                  </a:lnTo>
                  <a:lnTo>
                    <a:pt x="105" y="477"/>
                  </a:lnTo>
                  <a:lnTo>
                    <a:pt x="108" y="506"/>
                  </a:lnTo>
                  <a:lnTo>
                    <a:pt x="116" y="533"/>
                  </a:lnTo>
                  <a:lnTo>
                    <a:pt x="130" y="557"/>
                  </a:lnTo>
                  <a:lnTo>
                    <a:pt x="148" y="579"/>
                  </a:lnTo>
                  <a:lnTo>
                    <a:pt x="170" y="597"/>
                  </a:lnTo>
                  <a:lnTo>
                    <a:pt x="194" y="611"/>
                  </a:lnTo>
                  <a:lnTo>
                    <a:pt x="221" y="619"/>
                  </a:lnTo>
                  <a:lnTo>
                    <a:pt x="250" y="622"/>
                  </a:lnTo>
                  <a:lnTo>
                    <a:pt x="3206" y="622"/>
                  </a:lnTo>
                  <a:lnTo>
                    <a:pt x="3235" y="619"/>
                  </a:lnTo>
                  <a:lnTo>
                    <a:pt x="3262" y="611"/>
                  </a:lnTo>
                  <a:lnTo>
                    <a:pt x="3286" y="597"/>
                  </a:lnTo>
                  <a:lnTo>
                    <a:pt x="3308" y="579"/>
                  </a:lnTo>
                  <a:lnTo>
                    <a:pt x="3326" y="557"/>
                  </a:lnTo>
                  <a:lnTo>
                    <a:pt x="3340" y="533"/>
                  </a:lnTo>
                  <a:lnTo>
                    <a:pt x="3348" y="506"/>
                  </a:lnTo>
                  <a:lnTo>
                    <a:pt x="3351" y="477"/>
                  </a:lnTo>
                  <a:lnTo>
                    <a:pt x="3351" y="251"/>
                  </a:lnTo>
                  <a:lnTo>
                    <a:pt x="3348" y="221"/>
                  </a:lnTo>
                  <a:lnTo>
                    <a:pt x="3340" y="194"/>
                  </a:lnTo>
                  <a:lnTo>
                    <a:pt x="3326" y="169"/>
                  </a:lnTo>
                  <a:lnTo>
                    <a:pt x="3308" y="148"/>
                  </a:lnTo>
                  <a:lnTo>
                    <a:pt x="3286" y="130"/>
                  </a:lnTo>
                  <a:lnTo>
                    <a:pt x="3262" y="117"/>
                  </a:lnTo>
                  <a:lnTo>
                    <a:pt x="3235" y="108"/>
                  </a:lnTo>
                  <a:lnTo>
                    <a:pt x="3206" y="105"/>
                  </a:lnTo>
                  <a:lnTo>
                    <a:pt x="250" y="105"/>
                  </a:lnTo>
                  <a:close/>
                  <a:moveTo>
                    <a:pt x="250" y="0"/>
                  </a:moveTo>
                  <a:lnTo>
                    <a:pt x="3206" y="0"/>
                  </a:lnTo>
                  <a:lnTo>
                    <a:pt x="3245" y="3"/>
                  </a:lnTo>
                  <a:lnTo>
                    <a:pt x="3284" y="13"/>
                  </a:lnTo>
                  <a:lnTo>
                    <a:pt x="3320" y="29"/>
                  </a:lnTo>
                  <a:lnTo>
                    <a:pt x="3353" y="48"/>
                  </a:lnTo>
                  <a:lnTo>
                    <a:pt x="3383" y="74"/>
                  </a:lnTo>
                  <a:lnTo>
                    <a:pt x="3408" y="103"/>
                  </a:lnTo>
                  <a:lnTo>
                    <a:pt x="3428" y="135"/>
                  </a:lnTo>
                  <a:lnTo>
                    <a:pt x="3443" y="172"/>
                  </a:lnTo>
                  <a:lnTo>
                    <a:pt x="3453" y="211"/>
                  </a:lnTo>
                  <a:lnTo>
                    <a:pt x="3456" y="251"/>
                  </a:lnTo>
                  <a:lnTo>
                    <a:pt x="3456" y="477"/>
                  </a:lnTo>
                  <a:lnTo>
                    <a:pt x="3453" y="513"/>
                  </a:lnTo>
                  <a:lnTo>
                    <a:pt x="3446" y="549"/>
                  </a:lnTo>
                  <a:lnTo>
                    <a:pt x="3432" y="583"/>
                  </a:lnTo>
                  <a:lnTo>
                    <a:pt x="3414" y="614"/>
                  </a:lnTo>
                  <a:lnTo>
                    <a:pt x="3393" y="642"/>
                  </a:lnTo>
                  <a:lnTo>
                    <a:pt x="3367" y="666"/>
                  </a:lnTo>
                  <a:lnTo>
                    <a:pt x="3339" y="687"/>
                  </a:lnTo>
                  <a:lnTo>
                    <a:pt x="3307" y="704"/>
                  </a:lnTo>
                  <a:lnTo>
                    <a:pt x="3273" y="717"/>
                  </a:lnTo>
                  <a:lnTo>
                    <a:pt x="3237" y="724"/>
                  </a:lnTo>
                  <a:lnTo>
                    <a:pt x="3237" y="911"/>
                  </a:lnTo>
                  <a:lnTo>
                    <a:pt x="3273" y="919"/>
                  </a:lnTo>
                  <a:lnTo>
                    <a:pt x="3307" y="930"/>
                  </a:lnTo>
                  <a:lnTo>
                    <a:pt x="3339" y="947"/>
                  </a:lnTo>
                  <a:lnTo>
                    <a:pt x="3367" y="968"/>
                  </a:lnTo>
                  <a:lnTo>
                    <a:pt x="3393" y="993"/>
                  </a:lnTo>
                  <a:lnTo>
                    <a:pt x="3414" y="1021"/>
                  </a:lnTo>
                  <a:lnTo>
                    <a:pt x="3432" y="1052"/>
                  </a:lnTo>
                  <a:lnTo>
                    <a:pt x="3446" y="1085"/>
                  </a:lnTo>
                  <a:lnTo>
                    <a:pt x="3453" y="1121"/>
                  </a:lnTo>
                  <a:lnTo>
                    <a:pt x="3456" y="1159"/>
                  </a:lnTo>
                  <a:lnTo>
                    <a:pt x="3456" y="1384"/>
                  </a:lnTo>
                  <a:lnTo>
                    <a:pt x="3453" y="1421"/>
                  </a:lnTo>
                  <a:lnTo>
                    <a:pt x="3446" y="1457"/>
                  </a:lnTo>
                  <a:lnTo>
                    <a:pt x="3432" y="1491"/>
                  </a:lnTo>
                  <a:lnTo>
                    <a:pt x="3414" y="1522"/>
                  </a:lnTo>
                  <a:lnTo>
                    <a:pt x="3393" y="1549"/>
                  </a:lnTo>
                  <a:lnTo>
                    <a:pt x="3367" y="1574"/>
                  </a:lnTo>
                  <a:lnTo>
                    <a:pt x="3339" y="1595"/>
                  </a:lnTo>
                  <a:lnTo>
                    <a:pt x="3307" y="1612"/>
                  </a:lnTo>
                  <a:lnTo>
                    <a:pt x="3273" y="1625"/>
                  </a:lnTo>
                  <a:lnTo>
                    <a:pt x="3237" y="1632"/>
                  </a:lnTo>
                  <a:lnTo>
                    <a:pt x="3237" y="1818"/>
                  </a:lnTo>
                  <a:lnTo>
                    <a:pt x="3273" y="1826"/>
                  </a:lnTo>
                  <a:lnTo>
                    <a:pt x="3307" y="1838"/>
                  </a:lnTo>
                  <a:lnTo>
                    <a:pt x="3339" y="1855"/>
                  </a:lnTo>
                  <a:lnTo>
                    <a:pt x="3367" y="1876"/>
                  </a:lnTo>
                  <a:lnTo>
                    <a:pt x="3393" y="1901"/>
                  </a:lnTo>
                  <a:lnTo>
                    <a:pt x="3414" y="1928"/>
                  </a:lnTo>
                  <a:lnTo>
                    <a:pt x="3432" y="1960"/>
                  </a:lnTo>
                  <a:lnTo>
                    <a:pt x="3446" y="1993"/>
                  </a:lnTo>
                  <a:lnTo>
                    <a:pt x="3453" y="2029"/>
                  </a:lnTo>
                  <a:lnTo>
                    <a:pt x="3456" y="2067"/>
                  </a:lnTo>
                  <a:lnTo>
                    <a:pt x="3456" y="2292"/>
                  </a:lnTo>
                  <a:lnTo>
                    <a:pt x="3453" y="2329"/>
                  </a:lnTo>
                  <a:lnTo>
                    <a:pt x="3446" y="2365"/>
                  </a:lnTo>
                  <a:lnTo>
                    <a:pt x="3432" y="2399"/>
                  </a:lnTo>
                  <a:lnTo>
                    <a:pt x="3414" y="2429"/>
                  </a:lnTo>
                  <a:lnTo>
                    <a:pt x="3393" y="2457"/>
                  </a:lnTo>
                  <a:lnTo>
                    <a:pt x="3367" y="2482"/>
                  </a:lnTo>
                  <a:lnTo>
                    <a:pt x="3339" y="2503"/>
                  </a:lnTo>
                  <a:lnTo>
                    <a:pt x="3307" y="2520"/>
                  </a:lnTo>
                  <a:lnTo>
                    <a:pt x="3273" y="2532"/>
                  </a:lnTo>
                  <a:lnTo>
                    <a:pt x="3237" y="2539"/>
                  </a:lnTo>
                  <a:lnTo>
                    <a:pt x="3237" y="2726"/>
                  </a:lnTo>
                  <a:lnTo>
                    <a:pt x="3273" y="2734"/>
                  </a:lnTo>
                  <a:lnTo>
                    <a:pt x="3307" y="2746"/>
                  </a:lnTo>
                  <a:lnTo>
                    <a:pt x="3339" y="2763"/>
                  </a:lnTo>
                  <a:lnTo>
                    <a:pt x="3367" y="2784"/>
                  </a:lnTo>
                  <a:lnTo>
                    <a:pt x="3393" y="2808"/>
                  </a:lnTo>
                  <a:lnTo>
                    <a:pt x="3414" y="2836"/>
                  </a:lnTo>
                  <a:lnTo>
                    <a:pt x="3432" y="2867"/>
                  </a:lnTo>
                  <a:lnTo>
                    <a:pt x="3446" y="2900"/>
                  </a:lnTo>
                  <a:lnTo>
                    <a:pt x="3453" y="2937"/>
                  </a:lnTo>
                  <a:lnTo>
                    <a:pt x="3456" y="2973"/>
                  </a:lnTo>
                  <a:lnTo>
                    <a:pt x="3456" y="3199"/>
                  </a:lnTo>
                  <a:lnTo>
                    <a:pt x="3453" y="3239"/>
                  </a:lnTo>
                  <a:lnTo>
                    <a:pt x="3443" y="3278"/>
                  </a:lnTo>
                  <a:lnTo>
                    <a:pt x="3428" y="3314"/>
                  </a:lnTo>
                  <a:lnTo>
                    <a:pt x="3408" y="3347"/>
                  </a:lnTo>
                  <a:lnTo>
                    <a:pt x="3383" y="3377"/>
                  </a:lnTo>
                  <a:lnTo>
                    <a:pt x="3353" y="3402"/>
                  </a:lnTo>
                  <a:lnTo>
                    <a:pt x="3320" y="3422"/>
                  </a:lnTo>
                  <a:lnTo>
                    <a:pt x="3284" y="3437"/>
                  </a:lnTo>
                  <a:lnTo>
                    <a:pt x="3245" y="3447"/>
                  </a:lnTo>
                  <a:lnTo>
                    <a:pt x="3206" y="3450"/>
                  </a:lnTo>
                  <a:lnTo>
                    <a:pt x="250" y="3450"/>
                  </a:lnTo>
                  <a:lnTo>
                    <a:pt x="211" y="3447"/>
                  </a:lnTo>
                  <a:lnTo>
                    <a:pt x="172" y="3437"/>
                  </a:lnTo>
                  <a:lnTo>
                    <a:pt x="136" y="3422"/>
                  </a:lnTo>
                  <a:lnTo>
                    <a:pt x="103" y="3402"/>
                  </a:lnTo>
                  <a:lnTo>
                    <a:pt x="73" y="3377"/>
                  </a:lnTo>
                  <a:lnTo>
                    <a:pt x="48" y="3347"/>
                  </a:lnTo>
                  <a:lnTo>
                    <a:pt x="28" y="3314"/>
                  </a:lnTo>
                  <a:lnTo>
                    <a:pt x="13" y="3278"/>
                  </a:lnTo>
                  <a:lnTo>
                    <a:pt x="3" y="3239"/>
                  </a:lnTo>
                  <a:lnTo>
                    <a:pt x="0" y="3199"/>
                  </a:lnTo>
                  <a:lnTo>
                    <a:pt x="0" y="2973"/>
                  </a:lnTo>
                  <a:lnTo>
                    <a:pt x="3" y="2937"/>
                  </a:lnTo>
                  <a:lnTo>
                    <a:pt x="10" y="2901"/>
                  </a:lnTo>
                  <a:lnTo>
                    <a:pt x="24" y="2868"/>
                  </a:lnTo>
                  <a:lnTo>
                    <a:pt x="41" y="2837"/>
                  </a:lnTo>
                  <a:lnTo>
                    <a:pt x="62" y="2809"/>
                  </a:lnTo>
                  <a:lnTo>
                    <a:pt x="87" y="2785"/>
                  </a:lnTo>
                  <a:lnTo>
                    <a:pt x="115" y="2764"/>
                  </a:lnTo>
                  <a:lnTo>
                    <a:pt x="147" y="2747"/>
                  </a:lnTo>
                  <a:lnTo>
                    <a:pt x="180" y="2735"/>
                  </a:lnTo>
                  <a:lnTo>
                    <a:pt x="216" y="2726"/>
                  </a:lnTo>
                  <a:lnTo>
                    <a:pt x="216" y="2539"/>
                  </a:lnTo>
                  <a:lnTo>
                    <a:pt x="180" y="2532"/>
                  </a:lnTo>
                  <a:lnTo>
                    <a:pt x="147" y="2519"/>
                  </a:lnTo>
                  <a:lnTo>
                    <a:pt x="115" y="2501"/>
                  </a:lnTo>
                  <a:lnTo>
                    <a:pt x="87" y="2480"/>
                  </a:lnTo>
                  <a:lnTo>
                    <a:pt x="62" y="2456"/>
                  </a:lnTo>
                  <a:lnTo>
                    <a:pt x="41" y="2428"/>
                  </a:lnTo>
                  <a:lnTo>
                    <a:pt x="24" y="2397"/>
                  </a:lnTo>
                  <a:lnTo>
                    <a:pt x="10" y="2364"/>
                  </a:lnTo>
                  <a:lnTo>
                    <a:pt x="3" y="2328"/>
                  </a:lnTo>
                  <a:lnTo>
                    <a:pt x="0" y="2292"/>
                  </a:lnTo>
                  <a:lnTo>
                    <a:pt x="0" y="2067"/>
                  </a:lnTo>
                  <a:lnTo>
                    <a:pt x="3" y="2029"/>
                  </a:lnTo>
                  <a:lnTo>
                    <a:pt x="10" y="1993"/>
                  </a:lnTo>
                  <a:lnTo>
                    <a:pt x="24" y="1961"/>
                  </a:lnTo>
                  <a:lnTo>
                    <a:pt x="41" y="1929"/>
                  </a:lnTo>
                  <a:lnTo>
                    <a:pt x="62" y="1902"/>
                  </a:lnTo>
                  <a:lnTo>
                    <a:pt x="87" y="1877"/>
                  </a:lnTo>
                  <a:lnTo>
                    <a:pt x="115" y="1856"/>
                  </a:lnTo>
                  <a:lnTo>
                    <a:pt x="147" y="1839"/>
                  </a:lnTo>
                  <a:lnTo>
                    <a:pt x="180" y="1827"/>
                  </a:lnTo>
                  <a:lnTo>
                    <a:pt x="216" y="1819"/>
                  </a:lnTo>
                  <a:lnTo>
                    <a:pt x="216" y="1631"/>
                  </a:lnTo>
                  <a:lnTo>
                    <a:pt x="180" y="1624"/>
                  </a:lnTo>
                  <a:lnTo>
                    <a:pt x="147" y="1611"/>
                  </a:lnTo>
                  <a:lnTo>
                    <a:pt x="115" y="1594"/>
                  </a:lnTo>
                  <a:lnTo>
                    <a:pt x="87" y="1573"/>
                  </a:lnTo>
                  <a:lnTo>
                    <a:pt x="62" y="1548"/>
                  </a:lnTo>
                  <a:lnTo>
                    <a:pt x="41" y="1521"/>
                  </a:lnTo>
                  <a:lnTo>
                    <a:pt x="24" y="1490"/>
                  </a:lnTo>
                  <a:lnTo>
                    <a:pt x="10" y="1456"/>
                  </a:lnTo>
                  <a:lnTo>
                    <a:pt x="3" y="1421"/>
                  </a:lnTo>
                  <a:lnTo>
                    <a:pt x="0" y="1384"/>
                  </a:lnTo>
                  <a:lnTo>
                    <a:pt x="0" y="1159"/>
                  </a:lnTo>
                  <a:lnTo>
                    <a:pt x="3" y="1122"/>
                  </a:lnTo>
                  <a:lnTo>
                    <a:pt x="10" y="1086"/>
                  </a:lnTo>
                  <a:lnTo>
                    <a:pt x="24" y="1053"/>
                  </a:lnTo>
                  <a:lnTo>
                    <a:pt x="41" y="1022"/>
                  </a:lnTo>
                  <a:lnTo>
                    <a:pt x="62" y="994"/>
                  </a:lnTo>
                  <a:lnTo>
                    <a:pt x="87" y="970"/>
                  </a:lnTo>
                  <a:lnTo>
                    <a:pt x="115" y="949"/>
                  </a:lnTo>
                  <a:lnTo>
                    <a:pt x="147" y="931"/>
                  </a:lnTo>
                  <a:lnTo>
                    <a:pt x="180" y="919"/>
                  </a:lnTo>
                  <a:lnTo>
                    <a:pt x="216" y="911"/>
                  </a:lnTo>
                  <a:lnTo>
                    <a:pt x="216" y="724"/>
                  </a:lnTo>
                  <a:lnTo>
                    <a:pt x="180" y="716"/>
                  </a:lnTo>
                  <a:lnTo>
                    <a:pt x="147" y="703"/>
                  </a:lnTo>
                  <a:lnTo>
                    <a:pt x="115" y="686"/>
                  </a:lnTo>
                  <a:lnTo>
                    <a:pt x="87" y="665"/>
                  </a:lnTo>
                  <a:lnTo>
                    <a:pt x="62" y="640"/>
                  </a:lnTo>
                  <a:lnTo>
                    <a:pt x="41" y="613"/>
                  </a:lnTo>
                  <a:lnTo>
                    <a:pt x="24" y="582"/>
                  </a:lnTo>
                  <a:lnTo>
                    <a:pt x="10" y="549"/>
                  </a:lnTo>
                  <a:lnTo>
                    <a:pt x="3" y="513"/>
                  </a:lnTo>
                  <a:lnTo>
                    <a:pt x="0" y="477"/>
                  </a:lnTo>
                  <a:lnTo>
                    <a:pt x="0" y="251"/>
                  </a:lnTo>
                  <a:lnTo>
                    <a:pt x="3" y="211"/>
                  </a:lnTo>
                  <a:lnTo>
                    <a:pt x="13" y="172"/>
                  </a:lnTo>
                  <a:lnTo>
                    <a:pt x="28" y="135"/>
                  </a:lnTo>
                  <a:lnTo>
                    <a:pt x="48" y="103"/>
                  </a:lnTo>
                  <a:lnTo>
                    <a:pt x="73" y="74"/>
                  </a:lnTo>
                  <a:lnTo>
                    <a:pt x="103" y="48"/>
                  </a:lnTo>
                  <a:lnTo>
                    <a:pt x="136" y="29"/>
                  </a:lnTo>
                  <a:lnTo>
                    <a:pt x="172" y="13"/>
                  </a:lnTo>
                  <a:lnTo>
                    <a:pt x="211" y="3"/>
                  </a:lnTo>
                  <a:lnTo>
                    <a:pt x="250"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Light"/>
                <a:ea typeface="+mn-ea"/>
                <a:cs typeface="+mn-cs"/>
              </a:endParaRPr>
            </a:p>
          </p:txBody>
        </p:sp>
      </p:grpSp>
      <p:sp>
        <p:nvSpPr>
          <p:cNvPr id="242" name="Freeform 17">
            <a:extLst>
              <a:ext uri="{FF2B5EF4-FFF2-40B4-BE49-F238E27FC236}">
                <a16:creationId xmlns:a16="http://schemas.microsoft.com/office/drawing/2014/main" id="{C1863275-184E-4938-B6C8-5F097C5FE2CA}"/>
              </a:ext>
            </a:extLst>
          </p:cNvPr>
          <p:cNvSpPr>
            <a:spLocks noChangeAspect="1" noEditPoints="1"/>
          </p:cNvSpPr>
          <p:nvPr/>
        </p:nvSpPr>
        <p:spPr bwMode="auto">
          <a:xfrm>
            <a:off x="266486" y="1921947"/>
            <a:ext cx="300241" cy="347845"/>
          </a:xfrm>
          <a:custGeom>
            <a:avLst/>
            <a:gdLst>
              <a:gd name="T0" fmla="*/ 343 w 3704"/>
              <a:gd name="T1" fmla="*/ 749 h 4799"/>
              <a:gd name="T2" fmla="*/ 2128 w 3704"/>
              <a:gd name="T3" fmla="*/ 686 h 4799"/>
              <a:gd name="T4" fmla="*/ 2128 w 3704"/>
              <a:gd name="T5" fmla="*/ 812 h 4799"/>
              <a:gd name="T6" fmla="*/ 343 w 3704"/>
              <a:gd name="T7" fmla="*/ 749 h 4799"/>
              <a:gd name="T8" fmla="*/ 343 w 3704"/>
              <a:gd name="T9" fmla="*/ 1156 h 4799"/>
              <a:gd name="T10" fmla="*/ 406 w 3704"/>
              <a:gd name="T11" fmla="*/ 1093 h 4799"/>
              <a:gd name="T12" fmla="*/ 2191 w 3704"/>
              <a:gd name="T13" fmla="*/ 1156 h 4799"/>
              <a:gd name="T14" fmla="*/ 406 w 3704"/>
              <a:gd name="T15" fmla="*/ 1219 h 4799"/>
              <a:gd name="T16" fmla="*/ 343 w 3704"/>
              <a:gd name="T17" fmla="*/ 1156 h 4799"/>
              <a:gd name="T18" fmla="*/ 406 w 3704"/>
              <a:gd name="T19" fmla="*/ 1627 h 4799"/>
              <a:gd name="T20" fmla="*/ 406 w 3704"/>
              <a:gd name="T21" fmla="*/ 1501 h 4799"/>
              <a:gd name="T22" fmla="*/ 2191 w 3704"/>
              <a:gd name="T23" fmla="*/ 1564 h 4799"/>
              <a:gd name="T24" fmla="*/ 406 w 3704"/>
              <a:gd name="T25" fmla="*/ 1627 h 4799"/>
              <a:gd name="T26" fmla="*/ 3144 w 3704"/>
              <a:gd name="T27" fmla="*/ 4267 h 4799"/>
              <a:gd name="T28" fmla="*/ 2379 w 3704"/>
              <a:gd name="T29" fmla="*/ 4267 h 4799"/>
              <a:gd name="T30" fmla="*/ 3203 w 3704"/>
              <a:gd name="T31" fmla="*/ 3669 h 4799"/>
              <a:gd name="T32" fmla="*/ 3144 w 3704"/>
              <a:gd name="T33" fmla="*/ 4267 h 4799"/>
              <a:gd name="T34" fmla="*/ 502 w 3704"/>
              <a:gd name="T35" fmla="*/ 4207 h 4799"/>
              <a:gd name="T36" fmla="*/ 502 w 3704"/>
              <a:gd name="T37" fmla="*/ 3669 h 4799"/>
              <a:gd name="T38" fmla="*/ 1311 w 3704"/>
              <a:gd name="T39" fmla="*/ 4267 h 4799"/>
              <a:gd name="T40" fmla="*/ 502 w 3704"/>
              <a:gd name="T41" fmla="*/ 4207 h 4799"/>
              <a:gd name="T42" fmla="*/ 561 w 3704"/>
              <a:gd name="T43" fmla="*/ 2146 h 4799"/>
              <a:gd name="T44" fmla="*/ 1311 w 3704"/>
              <a:gd name="T45" fmla="*/ 2146 h 4799"/>
              <a:gd name="T46" fmla="*/ 502 w 3704"/>
              <a:gd name="T47" fmla="*/ 2795 h 4799"/>
              <a:gd name="T48" fmla="*/ 561 w 3704"/>
              <a:gd name="T49" fmla="*/ 2146 h 4799"/>
              <a:gd name="T50" fmla="*/ 3203 w 3704"/>
              <a:gd name="T51" fmla="*/ 2206 h 4799"/>
              <a:gd name="T52" fmla="*/ 3203 w 3704"/>
              <a:gd name="T53" fmla="*/ 2795 h 4799"/>
              <a:gd name="T54" fmla="*/ 2379 w 3704"/>
              <a:gd name="T55" fmla="*/ 2146 h 4799"/>
              <a:gd name="T56" fmla="*/ 3203 w 3704"/>
              <a:gd name="T57" fmla="*/ 2206 h 4799"/>
              <a:gd name="T58" fmla="*/ 2379 w 3704"/>
              <a:gd name="T59" fmla="*/ 2920 h 4799"/>
              <a:gd name="T60" fmla="*/ 3203 w 3704"/>
              <a:gd name="T61" fmla="*/ 2920 h 4799"/>
              <a:gd name="T62" fmla="*/ 2379 w 3704"/>
              <a:gd name="T63" fmla="*/ 3543 h 4799"/>
              <a:gd name="T64" fmla="*/ 1437 w 3704"/>
              <a:gd name="T65" fmla="*/ 2146 h 4799"/>
              <a:gd name="T66" fmla="*/ 2253 w 3704"/>
              <a:gd name="T67" fmla="*/ 2146 h 4799"/>
              <a:gd name="T68" fmla="*/ 1437 w 3704"/>
              <a:gd name="T69" fmla="*/ 2795 h 4799"/>
              <a:gd name="T70" fmla="*/ 502 w 3704"/>
              <a:gd name="T71" fmla="*/ 2920 h 4799"/>
              <a:gd name="T72" fmla="*/ 1311 w 3704"/>
              <a:gd name="T73" fmla="*/ 2920 h 4799"/>
              <a:gd name="T74" fmla="*/ 502 w 3704"/>
              <a:gd name="T75" fmla="*/ 3543 h 4799"/>
              <a:gd name="T76" fmla="*/ 1437 w 3704"/>
              <a:gd name="T77" fmla="*/ 3669 h 4799"/>
              <a:gd name="T78" fmla="*/ 2253 w 3704"/>
              <a:gd name="T79" fmla="*/ 3669 h 4799"/>
              <a:gd name="T80" fmla="*/ 1437 w 3704"/>
              <a:gd name="T81" fmla="*/ 4267 h 4799"/>
              <a:gd name="T82" fmla="*/ 1437 w 3704"/>
              <a:gd name="T83" fmla="*/ 2920 h 4799"/>
              <a:gd name="T84" fmla="*/ 2253 w 3704"/>
              <a:gd name="T85" fmla="*/ 2920 h 4799"/>
              <a:gd name="T86" fmla="*/ 1437 w 3704"/>
              <a:gd name="T87" fmla="*/ 3543 h 4799"/>
              <a:gd name="T88" fmla="*/ 3144 w 3704"/>
              <a:gd name="T89" fmla="*/ 2020 h 4799"/>
              <a:gd name="T90" fmla="*/ 561 w 3704"/>
              <a:gd name="T91" fmla="*/ 2020 h 4799"/>
              <a:gd name="T92" fmla="*/ 376 w 3704"/>
              <a:gd name="T93" fmla="*/ 4207 h 4799"/>
              <a:gd name="T94" fmla="*/ 3144 w 3704"/>
              <a:gd name="T95" fmla="*/ 4392 h 4799"/>
              <a:gd name="T96" fmla="*/ 3329 w 3704"/>
              <a:gd name="T97" fmla="*/ 2206 h 4799"/>
              <a:gd name="T98" fmla="*/ 3144 w 3704"/>
              <a:gd name="T99" fmla="*/ 2020 h 4799"/>
              <a:gd name="T100" fmla="*/ 3578 w 3704"/>
              <a:gd name="T101" fmla="*/ 4491 h 4799"/>
              <a:gd name="T102" fmla="*/ 307 w 3704"/>
              <a:gd name="T103" fmla="*/ 4673 h 4799"/>
              <a:gd name="T104" fmla="*/ 125 w 3704"/>
              <a:gd name="T105" fmla="*/ 306 h 4799"/>
              <a:gd name="T106" fmla="*/ 3396 w 3704"/>
              <a:gd name="T107" fmla="*/ 124 h 4799"/>
              <a:gd name="T108" fmla="*/ 3578 w 3704"/>
              <a:gd name="T109" fmla="*/ 4491 h 4799"/>
              <a:gd name="T110" fmla="*/ 3396 w 3704"/>
              <a:gd name="T111" fmla="*/ 0 h 4799"/>
              <a:gd name="T112" fmla="*/ 307 w 3704"/>
              <a:gd name="T113" fmla="*/ 0 h 4799"/>
              <a:gd name="T114" fmla="*/ 0 w 3704"/>
              <a:gd name="T115" fmla="*/ 4491 h 4799"/>
              <a:gd name="T116" fmla="*/ 3396 w 3704"/>
              <a:gd name="T117" fmla="*/ 4799 h 4799"/>
              <a:gd name="T118" fmla="*/ 3704 w 3704"/>
              <a:gd name="T119" fmla="*/ 306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4" h="4799">
                <a:moveTo>
                  <a:pt x="343" y="749"/>
                </a:moveTo>
                <a:lnTo>
                  <a:pt x="343" y="749"/>
                </a:lnTo>
                <a:cubicBezTo>
                  <a:pt x="343" y="714"/>
                  <a:pt x="371" y="686"/>
                  <a:pt x="406" y="686"/>
                </a:cubicBezTo>
                <a:lnTo>
                  <a:pt x="2128" y="686"/>
                </a:lnTo>
                <a:cubicBezTo>
                  <a:pt x="2162" y="686"/>
                  <a:pt x="2191" y="714"/>
                  <a:pt x="2191" y="749"/>
                </a:cubicBezTo>
                <a:cubicBezTo>
                  <a:pt x="2191" y="784"/>
                  <a:pt x="2162" y="812"/>
                  <a:pt x="2128" y="812"/>
                </a:cubicBezTo>
                <a:lnTo>
                  <a:pt x="406" y="812"/>
                </a:lnTo>
                <a:cubicBezTo>
                  <a:pt x="371" y="812"/>
                  <a:pt x="343" y="784"/>
                  <a:pt x="343" y="749"/>
                </a:cubicBezTo>
                <a:lnTo>
                  <a:pt x="343" y="749"/>
                </a:lnTo>
                <a:close/>
                <a:moveTo>
                  <a:pt x="343" y="1156"/>
                </a:moveTo>
                <a:lnTo>
                  <a:pt x="343" y="1156"/>
                </a:lnTo>
                <a:cubicBezTo>
                  <a:pt x="343" y="1121"/>
                  <a:pt x="371" y="1093"/>
                  <a:pt x="406" y="1093"/>
                </a:cubicBezTo>
                <a:lnTo>
                  <a:pt x="2128" y="1093"/>
                </a:lnTo>
                <a:cubicBezTo>
                  <a:pt x="2162" y="1093"/>
                  <a:pt x="2191" y="1121"/>
                  <a:pt x="2191" y="1156"/>
                </a:cubicBezTo>
                <a:cubicBezTo>
                  <a:pt x="2191" y="1191"/>
                  <a:pt x="2162" y="1219"/>
                  <a:pt x="2128" y="1219"/>
                </a:cubicBezTo>
                <a:lnTo>
                  <a:pt x="406" y="1219"/>
                </a:lnTo>
                <a:cubicBezTo>
                  <a:pt x="371" y="1219"/>
                  <a:pt x="343" y="1191"/>
                  <a:pt x="343" y="1156"/>
                </a:cubicBezTo>
                <a:lnTo>
                  <a:pt x="343" y="1156"/>
                </a:lnTo>
                <a:close/>
                <a:moveTo>
                  <a:pt x="406" y="1627"/>
                </a:moveTo>
                <a:lnTo>
                  <a:pt x="406" y="1627"/>
                </a:lnTo>
                <a:cubicBezTo>
                  <a:pt x="371" y="1627"/>
                  <a:pt x="343" y="1599"/>
                  <a:pt x="343" y="1564"/>
                </a:cubicBezTo>
                <a:cubicBezTo>
                  <a:pt x="343" y="1529"/>
                  <a:pt x="371" y="1501"/>
                  <a:pt x="406" y="1501"/>
                </a:cubicBezTo>
                <a:lnTo>
                  <a:pt x="2128" y="1501"/>
                </a:lnTo>
                <a:cubicBezTo>
                  <a:pt x="2162" y="1501"/>
                  <a:pt x="2191" y="1529"/>
                  <a:pt x="2191" y="1564"/>
                </a:cubicBezTo>
                <a:cubicBezTo>
                  <a:pt x="2191" y="1599"/>
                  <a:pt x="2162" y="1627"/>
                  <a:pt x="2128" y="1627"/>
                </a:cubicBezTo>
                <a:lnTo>
                  <a:pt x="406" y="1627"/>
                </a:lnTo>
                <a:lnTo>
                  <a:pt x="406" y="1627"/>
                </a:lnTo>
                <a:close/>
                <a:moveTo>
                  <a:pt x="3144" y="4267"/>
                </a:moveTo>
                <a:lnTo>
                  <a:pt x="3144" y="4267"/>
                </a:lnTo>
                <a:lnTo>
                  <a:pt x="2379" y="4267"/>
                </a:lnTo>
                <a:lnTo>
                  <a:pt x="2379" y="3669"/>
                </a:lnTo>
                <a:lnTo>
                  <a:pt x="3203" y="3669"/>
                </a:lnTo>
                <a:lnTo>
                  <a:pt x="3203" y="4207"/>
                </a:lnTo>
                <a:cubicBezTo>
                  <a:pt x="3203" y="4240"/>
                  <a:pt x="3177" y="4267"/>
                  <a:pt x="3144" y="4267"/>
                </a:cubicBezTo>
                <a:lnTo>
                  <a:pt x="3144" y="4267"/>
                </a:lnTo>
                <a:close/>
                <a:moveTo>
                  <a:pt x="502" y="4207"/>
                </a:moveTo>
                <a:lnTo>
                  <a:pt x="502" y="4207"/>
                </a:lnTo>
                <a:lnTo>
                  <a:pt x="502" y="3669"/>
                </a:lnTo>
                <a:lnTo>
                  <a:pt x="1311" y="3669"/>
                </a:lnTo>
                <a:lnTo>
                  <a:pt x="1311" y="4267"/>
                </a:lnTo>
                <a:lnTo>
                  <a:pt x="561" y="4267"/>
                </a:lnTo>
                <a:cubicBezTo>
                  <a:pt x="529" y="4267"/>
                  <a:pt x="502" y="4240"/>
                  <a:pt x="502" y="4207"/>
                </a:cubicBezTo>
                <a:lnTo>
                  <a:pt x="502" y="4207"/>
                </a:lnTo>
                <a:close/>
                <a:moveTo>
                  <a:pt x="561" y="2146"/>
                </a:moveTo>
                <a:lnTo>
                  <a:pt x="561" y="2146"/>
                </a:lnTo>
                <a:lnTo>
                  <a:pt x="1311" y="2146"/>
                </a:lnTo>
                <a:lnTo>
                  <a:pt x="1311" y="2795"/>
                </a:lnTo>
                <a:lnTo>
                  <a:pt x="502" y="2795"/>
                </a:lnTo>
                <a:lnTo>
                  <a:pt x="502" y="2206"/>
                </a:lnTo>
                <a:cubicBezTo>
                  <a:pt x="502" y="2173"/>
                  <a:pt x="529" y="2146"/>
                  <a:pt x="561" y="2146"/>
                </a:cubicBezTo>
                <a:lnTo>
                  <a:pt x="561" y="2146"/>
                </a:lnTo>
                <a:close/>
                <a:moveTo>
                  <a:pt x="3203" y="2206"/>
                </a:moveTo>
                <a:lnTo>
                  <a:pt x="3203" y="2206"/>
                </a:lnTo>
                <a:lnTo>
                  <a:pt x="3203" y="2795"/>
                </a:lnTo>
                <a:lnTo>
                  <a:pt x="2379" y="2795"/>
                </a:lnTo>
                <a:lnTo>
                  <a:pt x="2379" y="2146"/>
                </a:lnTo>
                <a:lnTo>
                  <a:pt x="3144" y="2146"/>
                </a:lnTo>
                <a:cubicBezTo>
                  <a:pt x="3177" y="2146"/>
                  <a:pt x="3203" y="2173"/>
                  <a:pt x="3203" y="2206"/>
                </a:cubicBezTo>
                <a:lnTo>
                  <a:pt x="3203" y="2206"/>
                </a:lnTo>
                <a:close/>
                <a:moveTo>
                  <a:pt x="2379" y="2920"/>
                </a:moveTo>
                <a:lnTo>
                  <a:pt x="2379" y="2920"/>
                </a:lnTo>
                <a:lnTo>
                  <a:pt x="3203" y="2920"/>
                </a:lnTo>
                <a:lnTo>
                  <a:pt x="3203" y="3543"/>
                </a:lnTo>
                <a:lnTo>
                  <a:pt x="2379" y="3543"/>
                </a:lnTo>
                <a:lnTo>
                  <a:pt x="2379" y="2920"/>
                </a:lnTo>
                <a:close/>
                <a:moveTo>
                  <a:pt x="1437" y="2146"/>
                </a:moveTo>
                <a:lnTo>
                  <a:pt x="1437" y="2146"/>
                </a:lnTo>
                <a:lnTo>
                  <a:pt x="2253" y="2146"/>
                </a:lnTo>
                <a:lnTo>
                  <a:pt x="2253" y="2795"/>
                </a:lnTo>
                <a:lnTo>
                  <a:pt x="1437" y="2795"/>
                </a:lnTo>
                <a:lnTo>
                  <a:pt x="1437" y="2146"/>
                </a:lnTo>
                <a:close/>
                <a:moveTo>
                  <a:pt x="502" y="2920"/>
                </a:moveTo>
                <a:lnTo>
                  <a:pt x="502" y="2920"/>
                </a:lnTo>
                <a:lnTo>
                  <a:pt x="1311" y="2920"/>
                </a:lnTo>
                <a:lnTo>
                  <a:pt x="1311" y="3543"/>
                </a:lnTo>
                <a:lnTo>
                  <a:pt x="502" y="3543"/>
                </a:lnTo>
                <a:lnTo>
                  <a:pt x="502" y="2920"/>
                </a:lnTo>
                <a:close/>
                <a:moveTo>
                  <a:pt x="1437" y="3669"/>
                </a:moveTo>
                <a:lnTo>
                  <a:pt x="1437" y="3669"/>
                </a:lnTo>
                <a:lnTo>
                  <a:pt x="2253" y="3669"/>
                </a:lnTo>
                <a:lnTo>
                  <a:pt x="2253" y="4267"/>
                </a:lnTo>
                <a:lnTo>
                  <a:pt x="1437" y="4267"/>
                </a:lnTo>
                <a:lnTo>
                  <a:pt x="1437" y="3669"/>
                </a:lnTo>
                <a:close/>
                <a:moveTo>
                  <a:pt x="1437" y="2920"/>
                </a:moveTo>
                <a:lnTo>
                  <a:pt x="1437" y="2920"/>
                </a:lnTo>
                <a:lnTo>
                  <a:pt x="2253" y="2920"/>
                </a:lnTo>
                <a:lnTo>
                  <a:pt x="2253" y="3543"/>
                </a:lnTo>
                <a:lnTo>
                  <a:pt x="1437" y="3543"/>
                </a:lnTo>
                <a:lnTo>
                  <a:pt x="1437" y="2920"/>
                </a:lnTo>
                <a:close/>
                <a:moveTo>
                  <a:pt x="3144" y="2020"/>
                </a:moveTo>
                <a:lnTo>
                  <a:pt x="3144" y="2020"/>
                </a:lnTo>
                <a:lnTo>
                  <a:pt x="561" y="2020"/>
                </a:lnTo>
                <a:cubicBezTo>
                  <a:pt x="459" y="2020"/>
                  <a:pt x="376" y="2103"/>
                  <a:pt x="376" y="2206"/>
                </a:cubicBezTo>
                <a:lnTo>
                  <a:pt x="376" y="4207"/>
                </a:lnTo>
                <a:cubicBezTo>
                  <a:pt x="376" y="4309"/>
                  <a:pt x="459" y="4392"/>
                  <a:pt x="561" y="4392"/>
                </a:cubicBezTo>
                <a:lnTo>
                  <a:pt x="3144" y="4392"/>
                </a:lnTo>
                <a:cubicBezTo>
                  <a:pt x="3246" y="4392"/>
                  <a:pt x="3329" y="4309"/>
                  <a:pt x="3329" y="4207"/>
                </a:cubicBezTo>
                <a:lnTo>
                  <a:pt x="3329" y="2206"/>
                </a:lnTo>
                <a:cubicBezTo>
                  <a:pt x="3329" y="2103"/>
                  <a:pt x="3246" y="2020"/>
                  <a:pt x="3144" y="2020"/>
                </a:cubicBezTo>
                <a:lnTo>
                  <a:pt x="3144" y="2020"/>
                </a:lnTo>
                <a:close/>
                <a:moveTo>
                  <a:pt x="3578" y="4491"/>
                </a:moveTo>
                <a:lnTo>
                  <a:pt x="3578" y="4491"/>
                </a:lnTo>
                <a:cubicBezTo>
                  <a:pt x="3578" y="4591"/>
                  <a:pt x="3496" y="4673"/>
                  <a:pt x="3396" y="4673"/>
                </a:cubicBezTo>
                <a:lnTo>
                  <a:pt x="307" y="4673"/>
                </a:lnTo>
                <a:cubicBezTo>
                  <a:pt x="207" y="4673"/>
                  <a:pt x="125" y="4591"/>
                  <a:pt x="125" y="4491"/>
                </a:cubicBezTo>
                <a:lnTo>
                  <a:pt x="125" y="306"/>
                </a:lnTo>
                <a:cubicBezTo>
                  <a:pt x="125" y="206"/>
                  <a:pt x="207" y="124"/>
                  <a:pt x="307" y="124"/>
                </a:cubicBezTo>
                <a:lnTo>
                  <a:pt x="3396" y="124"/>
                </a:lnTo>
                <a:cubicBezTo>
                  <a:pt x="3496" y="124"/>
                  <a:pt x="3578" y="206"/>
                  <a:pt x="3578" y="306"/>
                </a:cubicBezTo>
                <a:lnTo>
                  <a:pt x="3578" y="4491"/>
                </a:lnTo>
                <a:lnTo>
                  <a:pt x="3578" y="4491"/>
                </a:lnTo>
                <a:close/>
                <a:moveTo>
                  <a:pt x="3396" y="0"/>
                </a:moveTo>
                <a:lnTo>
                  <a:pt x="3396" y="0"/>
                </a:lnTo>
                <a:lnTo>
                  <a:pt x="307" y="0"/>
                </a:lnTo>
                <a:cubicBezTo>
                  <a:pt x="137" y="0"/>
                  <a:pt x="0" y="136"/>
                  <a:pt x="0" y="306"/>
                </a:cubicBezTo>
                <a:lnTo>
                  <a:pt x="0" y="4491"/>
                </a:lnTo>
                <a:cubicBezTo>
                  <a:pt x="0" y="4661"/>
                  <a:pt x="137" y="4799"/>
                  <a:pt x="307" y="4799"/>
                </a:cubicBezTo>
                <a:lnTo>
                  <a:pt x="3396" y="4799"/>
                </a:lnTo>
                <a:cubicBezTo>
                  <a:pt x="3566" y="4799"/>
                  <a:pt x="3704" y="4661"/>
                  <a:pt x="3704" y="4491"/>
                </a:cubicBezTo>
                <a:lnTo>
                  <a:pt x="3704" y="306"/>
                </a:lnTo>
                <a:cubicBezTo>
                  <a:pt x="3704" y="136"/>
                  <a:pt x="3566" y="0"/>
                  <a:pt x="3396" y="0"/>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Light"/>
              <a:ea typeface="+mn-ea"/>
              <a:cs typeface="+mn-cs"/>
            </a:endParaRPr>
          </a:p>
        </p:txBody>
      </p:sp>
      <p:sp>
        <p:nvSpPr>
          <p:cNvPr id="243" name="Freeform 21">
            <a:extLst>
              <a:ext uri="{FF2B5EF4-FFF2-40B4-BE49-F238E27FC236}">
                <a16:creationId xmlns:a16="http://schemas.microsoft.com/office/drawing/2014/main" id="{19890AAC-12C5-4B42-84C4-37554BB94F60}"/>
              </a:ext>
            </a:extLst>
          </p:cNvPr>
          <p:cNvSpPr>
            <a:spLocks noChangeAspect="1" noEditPoints="1"/>
          </p:cNvSpPr>
          <p:nvPr/>
        </p:nvSpPr>
        <p:spPr bwMode="auto">
          <a:xfrm>
            <a:off x="1304602" y="1900592"/>
            <a:ext cx="481070" cy="375196"/>
          </a:xfrm>
          <a:custGeom>
            <a:avLst/>
            <a:gdLst>
              <a:gd name="T0" fmla="*/ 2208 w 5760"/>
              <a:gd name="T1" fmla="*/ 4540 h 5012"/>
              <a:gd name="T2" fmla="*/ 4687 w 5760"/>
              <a:gd name="T3" fmla="*/ 4182 h 5012"/>
              <a:gd name="T4" fmla="*/ 258 w 5760"/>
              <a:gd name="T5" fmla="*/ 4144 h 5012"/>
              <a:gd name="T6" fmla="*/ 318 w 5760"/>
              <a:gd name="T7" fmla="*/ 4210 h 5012"/>
              <a:gd name="T8" fmla="*/ 2623 w 5760"/>
              <a:gd name="T9" fmla="*/ 4009 h 5012"/>
              <a:gd name="T10" fmla="*/ 3735 w 5760"/>
              <a:gd name="T11" fmla="*/ 3609 h 5012"/>
              <a:gd name="T12" fmla="*/ 227 w 5760"/>
              <a:gd name="T13" fmla="*/ 3513 h 5012"/>
              <a:gd name="T14" fmla="*/ 5294 w 5760"/>
              <a:gd name="T15" fmla="*/ 3207 h 5012"/>
              <a:gd name="T16" fmla="*/ 2449 w 5760"/>
              <a:gd name="T17" fmla="*/ 3083 h 5012"/>
              <a:gd name="T18" fmla="*/ 2276 w 5760"/>
              <a:gd name="T19" fmla="*/ 3218 h 5012"/>
              <a:gd name="T20" fmla="*/ 2205 w 5760"/>
              <a:gd name="T21" fmla="*/ 3059 h 5012"/>
              <a:gd name="T22" fmla="*/ 3100 w 5760"/>
              <a:gd name="T23" fmla="*/ 2982 h 5012"/>
              <a:gd name="T24" fmla="*/ 5280 w 5760"/>
              <a:gd name="T25" fmla="*/ 2592 h 5012"/>
              <a:gd name="T26" fmla="*/ 3510 w 5760"/>
              <a:gd name="T27" fmla="*/ 2704 h 5012"/>
              <a:gd name="T28" fmla="*/ 1529 w 5760"/>
              <a:gd name="T29" fmla="*/ 2667 h 5012"/>
              <a:gd name="T30" fmla="*/ 916 w 5760"/>
              <a:gd name="T31" fmla="*/ 3279 h 5012"/>
              <a:gd name="T32" fmla="*/ 976 w 5760"/>
              <a:gd name="T33" fmla="*/ 3866 h 5012"/>
              <a:gd name="T34" fmla="*/ 1700 w 5760"/>
              <a:gd name="T35" fmla="*/ 3775 h 5012"/>
              <a:gd name="T36" fmla="*/ 1789 w 5760"/>
              <a:gd name="T37" fmla="*/ 3565 h 5012"/>
              <a:gd name="T38" fmla="*/ 977 w 5760"/>
              <a:gd name="T39" fmla="*/ 4011 h 5012"/>
              <a:gd name="T40" fmla="*/ 763 w 5760"/>
              <a:gd name="T41" fmla="*/ 3427 h 5012"/>
              <a:gd name="T42" fmla="*/ 539 w 5760"/>
              <a:gd name="T43" fmla="*/ 3197 h 5012"/>
              <a:gd name="T44" fmla="*/ 517 w 5760"/>
              <a:gd name="T45" fmla="*/ 4586 h 5012"/>
              <a:gd name="T46" fmla="*/ 892 w 5760"/>
              <a:gd name="T47" fmla="*/ 4753 h 5012"/>
              <a:gd name="T48" fmla="*/ 1300 w 5760"/>
              <a:gd name="T49" fmla="*/ 4537 h 5012"/>
              <a:gd name="T50" fmla="*/ 1805 w 5760"/>
              <a:gd name="T51" fmla="*/ 4607 h 5012"/>
              <a:gd name="T52" fmla="*/ 2335 w 5760"/>
              <a:gd name="T53" fmla="*/ 4097 h 5012"/>
              <a:gd name="T54" fmla="*/ 2690 w 5760"/>
              <a:gd name="T55" fmla="*/ 3880 h 5012"/>
              <a:gd name="T56" fmla="*/ 3329 w 5760"/>
              <a:gd name="T57" fmla="*/ 3061 h 5012"/>
              <a:gd name="T58" fmla="*/ 2943 w 5760"/>
              <a:gd name="T59" fmla="*/ 3008 h 5012"/>
              <a:gd name="T60" fmla="*/ 2877 w 5760"/>
              <a:gd name="T61" fmla="*/ 3162 h 5012"/>
              <a:gd name="T62" fmla="*/ 2774 w 5760"/>
              <a:gd name="T63" fmla="*/ 3160 h 5012"/>
              <a:gd name="T64" fmla="*/ 2835 w 5760"/>
              <a:gd name="T65" fmla="*/ 3094 h 5012"/>
              <a:gd name="T66" fmla="*/ 2787 w 5760"/>
              <a:gd name="T67" fmla="*/ 2991 h 5012"/>
              <a:gd name="T68" fmla="*/ 2775 w 5760"/>
              <a:gd name="T69" fmla="*/ 2779 h 5012"/>
              <a:gd name="T70" fmla="*/ 2643 w 5760"/>
              <a:gd name="T71" fmla="*/ 2559 h 5012"/>
              <a:gd name="T72" fmla="*/ 3264 w 5760"/>
              <a:gd name="T73" fmla="*/ 2737 h 5012"/>
              <a:gd name="T74" fmla="*/ 3435 w 5760"/>
              <a:gd name="T75" fmla="*/ 3454 h 5012"/>
              <a:gd name="T76" fmla="*/ 2592 w 5760"/>
              <a:gd name="T77" fmla="*/ 4605 h 5012"/>
              <a:gd name="T78" fmla="*/ 2575 w 5760"/>
              <a:gd name="T79" fmla="*/ 2012 h 5012"/>
              <a:gd name="T80" fmla="*/ 1267 w 5760"/>
              <a:gd name="T81" fmla="*/ 2299 h 5012"/>
              <a:gd name="T82" fmla="*/ 1695 w 5760"/>
              <a:gd name="T83" fmla="*/ 1948 h 5012"/>
              <a:gd name="T84" fmla="*/ 2287 w 5760"/>
              <a:gd name="T85" fmla="*/ 1867 h 5012"/>
              <a:gd name="T86" fmla="*/ 5535 w 5760"/>
              <a:gd name="T87" fmla="*/ 4877 h 5012"/>
              <a:gd name="T88" fmla="*/ 2218 w 5760"/>
              <a:gd name="T89" fmla="*/ 4207 h 5012"/>
              <a:gd name="T90" fmla="*/ 1944 w 5760"/>
              <a:gd name="T91" fmla="*/ 4748 h 5012"/>
              <a:gd name="T92" fmla="*/ 1347 w 5760"/>
              <a:gd name="T93" fmla="*/ 4919 h 5012"/>
              <a:gd name="T94" fmla="*/ 984 w 5760"/>
              <a:gd name="T95" fmla="*/ 4788 h 5012"/>
              <a:gd name="T96" fmla="*/ 410 w 5760"/>
              <a:gd name="T97" fmla="*/ 4820 h 5012"/>
              <a:gd name="T98" fmla="*/ 150 w 5760"/>
              <a:gd name="T99" fmla="*/ 4144 h 5012"/>
              <a:gd name="T100" fmla="*/ 12 w 5760"/>
              <a:gd name="T101" fmla="*/ 3296 h 5012"/>
              <a:gd name="T102" fmla="*/ 342 w 5760"/>
              <a:gd name="T103" fmla="*/ 3303 h 5012"/>
              <a:gd name="T104" fmla="*/ 979 w 5760"/>
              <a:gd name="T105" fmla="*/ 2577 h 5012"/>
              <a:gd name="T106" fmla="*/ 923 w 5760"/>
              <a:gd name="T107" fmla="*/ 2252 h 5012"/>
              <a:gd name="T108" fmla="*/ 967 w 5760"/>
              <a:gd name="T109" fmla="*/ 926 h 5012"/>
              <a:gd name="T110" fmla="*/ 3405 w 5760"/>
              <a:gd name="T111" fmla="*/ 1203 h 5012"/>
              <a:gd name="T112" fmla="*/ 1513 w 5760"/>
              <a:gd name="T113" fmla="*/ 828 h 5012"/>
              <a:gd name="T114" fmla="*/ 1110 w 5760"/>
              <a:gd name="T115" fmla="*/ 585 h 5012"/>
              <a:gd name="T116" fmla="*/ 3587 w 5760"/>
              <a:gd name="T117" fmla="*/ 393 h 5012"/>
              <a:gd name="T118" fmla="*/ 3550 w 5760"/>
              <a:gd name="T119" fmla="*/ 220 h 5012"/>
              <a:gd name="T120" fmla="*/ 2397 w 5760"/>
              <a:gd name="T121" fmla="*/ 1483 h 5012"/>
              <a:gd name="T122" fmla="*/ 850 w 5760"/>
              <a:gd name="T123" fmla="*/ 961 h 5012"/>
              <a:gd name="T124" fmla="*/ 2075 w 5760"/>
              <a:gd name="T125" fmla="*/ 5 h 5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0" h="5012">
                <a:moveTo>
                  <a:pt x="2149" y="4224"/>
                </a:moveTo>
                <a:lnTo>
                  <a:pt x="2131" y="4282"/>
                </a:lnTo>
                <a:lnTo>
                  <a:pt x="2110" y="4341"/>
                </a:lnTo>
                <a:lnTo>
                  <a:pt x="2084" y="4399"/>
                </a:lnTo>
                <a:lnTo>
                  <a:pt x="2051" y="4456"/>
                </a:lnTo>
                <a:lnTo>
                  <a:pt x="1999" y="4530"/>
                </a:lnTo>
                <a:lnTo>
                  <a:pt x="1937" y="4600"/>
                </a:lnTo>
                <a:lnTo>
                  <a:pt x="1875" y="4668"/>
                </a:lnTo>
                <a:lnTo>
                  <a:pt x="1882" y="4670"/>
                </a:lnTo>
                <a:lnTo>
                  <a:pt x="1889" y="4671"/>
                </a:lnTo>
                <a:lnTo>
                  <a:pt x="1903" y="4675"/>
                </a:lnTo>
                <a:lnTo>
                  <a:pt x="1925" y="4677"/>
                </a:lnTo>
                <a:lnTo>
                  <a:pt x="1958" y="4678"/>
                </a:lnTo>
                <a:lnTo>
                  <a:pt x="1997" y="4680"/>
                </a:lnTo>
                <a:lnTo>
                  <a:pt x="2037" y="4682"/>
                </a:lnTo>
                <a:lnTo>
                  <a:pt x="2081" y="4682"/>
                </a:lnTo>
                <a:lnTo>
                  <a:pt x="2121" y="4682"/>
                </a:lnTo>
                <a:lnTo>
                  <a:pt x="2149" y="4680"/>
                </a:lnTo>
                <a:lnTo>
                  <a:pt x="2171" y="4675"/>
                </a:lnTo>
                <a:lnTo>
                  <a:pt x="2187" y="4668"/>
                </a:lnTo>
                <a:lnTo>
                  <a:pt x="2199" y="4659"/>
                </a:lnTo>
                <a:lnTo>
                  <a:pt x="2206" y="4650"/>
                </a:lnTo>
                <a:lnTo>
                  <a:pt x="2211" y="4642"/>
                </a:lnTo>
                <a:lnTo>
                  <a:pt x="2213" y="4636"/>
                </a:lnTo>
                <a:lnTo>
                  <a:pt x="2215" y="4622"/>
                </a:lnTo>
                <a:lnTo>
                  <a:pt x="2215" y="4603"/>
                </a:lnTo>
                <a:lnTo>
                  <a:pt x="2215" y="4582"/>
                </a:lnTo>
                <a:lnTo>
                  <a:pt x="2211" y="4560"/>
                </a:lnTo>
                <a:lnTo>
                  <a:pt x="2208" y="4540"/>
                </a:lnTo>
                <a:lnTo>
                  <a:pt x="2203" y="4526"/>
                </a:lnTo>
                <a:lnTo>
                  <a:pt x="2196" y="4504"/>
                </a:lnTo>
                <a:lnTo>
                  <a:pt x="2192" y="4474"/>
                </a:lnTo>
                <a:lnTo>
                  <a:pt x="2192" y="4437"/>
                </a:lnTo>
                <a:lnTo>
                  <a:pt x="2191" y="4408"/>
                </a:lnTo>
                <a:lnTo>
                  <a:pt x="2189" y="4378"/>
                </a:lnTo>
                <a:lnTo>
                  <a:pt x="2184" y="4345"/>
                </a:lnTo>
                <a:lnTo>
                  <a:pt x="2175" y="4306"/>
                </a:lnTo>
                <a:lnTo>
                  <a:pt x="2163" y="4266"/>
                </a:lnTo>
                <a:lnTo>
                  <a:pt x="2149" y="4224"/>
                </a:lnTo>
                <a:close/>
                <a:moveTo>
                  <a:pt x="4751" y="4135"/>
                </a:moveTo>
                <a:lnTo>
                  <a:pt x="5236" y="4135"/>
                </a:lnTo>
                <a:lnTo>
                  <a:pt x="5259" y="4138"/>
                </a:lnTo>
                <a:lnTo>
                  <a:pt x="5277" y="4149"/>
                </a:lnTo>
                <a:lnTo>
                  <a:pt x="5292" y="4163"/>
                </a:lnTo>
                <a:lnTo>
                  <a:pt x="5303" y="4182"/>
                </a:lnTo>
                <a:lnTo>
                  <a:pt x="5306" y="4203"/>
                </a:lnTo>
                <a:lnTo>
                  <a:pt x="5303" y="4226"/>
                </a:lnTo>
                <a:lnTo>
                  <a:pt x="5292" y="4245"/>
                </a:lnTo>
                <a:lnTo>
                  <a:pt x="5277" y="4259"/>
                </a:lnTo>
                <a:lnTo>
                  <a:pt x="5259" y="4270"/>
                </a:lnTo>
                <a:lnTo>
                  <a:pt x="5236" y="4273"/>
                </a:lnTo>
                <a:lnTo>
                  <a:pt x="4751" y="4273"/>
                </a:lnTo>
                <a:lnTo>
                  <a:pt x="4730" y="4270"/>
                </a:lnTo>
                <a:lnTo>
                  <a:pt x="4711" y="4259"/>
                </a:lnTo>
                <a:lnTo>
                  <a:pt x="4695" y="4245"/>
                </a:lnTo>
                <a:lnTo>
                  <a:pt x="4687" y="4226"/>
                </a:lnTo>
                <a:lnTo>
                  <a:pt x="4683" y="4203"/>
                </a:lnTo>
                <a:lnTo>
                  <a:pt x="4687" y="4182"/>
                </a:lnTo>
                <a:lnTo>
                  <a:pt x="4695" y="4163"/>
                </a:lnTo>
                <a:lnTo>
                  <a:pt x="4711" y="4149"/>
                </a:lnTo>
                <a:lnTo>
                  <a:pt x="4730" y="4138"/>
                </a:lnTo>
                <a:lnTo>
                  <a:pt x="4751" y="4135"/>
                </a:lnTo>
                <a:close/>
                <a:moveTo>
                  <a:pt x="2875" y="4135"/>
                </a:moveTo>
                <a:lnTo>
                  <a:pt x="4330" y="4135"/>
                </a:lnTo>
                <a:lnTo>
                  <a:pt x="4353" y="4138"/>
                </a:lnTo>
                <a:lnTo>
                  <a:pt x="4372" y="4149"/>
                </a:lnTo>
                <a:lnTo>
                  <a:pt x="4386" y="4163"/>
                </a:lnTo>
                <a:lnTo>
                  <a:pt x="4397" y="4182"/>
                </a:lnTo>
                <a:lnTo>
                  <a:pt x="4400" y="4203"/>
                </a:lnTo>
                <a:lnTo>
                  <a:pt x="4397" y="4226"/>
                </a:lnTo>
                <a:lnTo>
                  <a:pt x="4386" y="4245"/>
                </a:lnTo>
                <a:lnTo>
                  <a:pt x="4372" y="4259"/>
                </a:lnTo>
                <a:lnTo>
                  <a:pt x="4353" y="4270"/>
                </a:lnTo>
                <a:lnTo>
                  <a:pt x="4330" y="4273"/>
                </a:lnTo>
                <a:lnTo>
                  <a:pt x="2875" y="4273"/>
                </a:lnTo>
                <a:lnTo>
                  <a:pt x="2854" y="4270"/>
                </a:lnTo>
                <a:lnTo>
                  <a:pt x="2835" y="4259"/>
                </a:lnTo>
                <a:lnTo>
                  <a:pt x="2821" y="4245"/>
                </a:lnTo>
                <a:lnTo>
                  <a:pt x="2810" y="4226"/>
                </a:lnTo>
                <a:lnTo>
                  <a:pt x="2807" y="4203"/>
                </a:lnTo>
                <a:lnTo>
                  <a:pt x="2810" y="4182"/>
                </a:lnTo>
                <a:lnTo>
                  <a:pt x="2821" y="4163"/>
                </a:lnTo>
                <a:lnTo>
                  <a:pt x="2835" y="4149"/>
                </a:lnTo>
                <a:lnTo>
                  <a:pt x="2854" y="4138"/>
                </a:lnTo>
                <a:lnTo>
                  <a:pt x="2875" y="4135"/>
                </a:lnTo>
                <a:close/>
                <a:moveTo>
                  <a:pt x="278" y="4114"/>
                </a:moveTo>
                <a:lnTo>
                  <a:pt x="258" y="4144"/>
                </a:lnTo>
                <a:lnTo>
                  <a:pt x="236" y="4172"/>
                </a:lnTo>
                <a:lnTo>
                  <a:pt x="209" y="4191"/>
                </a:lnTo>
                <a:lnTo>
                  <a:pt x="192" y="4203"/>
                </a:lnTo>
                <a:lnTo>
                  <a:pt x="171" y="4217"/>
                </a:lnTo>
                <a:lnTo>
                  <a:pt x="150" y="4231"/>
                </a:lnTo>
                <a:lnTo>
                  <a:pt x="134" y="4247"/>
                </a:lnTo>
                <a:lnTo>
                  <a:pt x="124" y="4263"/>
                </a:lnTo>
                <a:lnTo>
                  <a:pt x="122" y="4276"/>
                </a:lnTo>
                <a:lnTo>
                  <a:pt x="136" y="4313"/>
                </a:lnTo>
                <a:lnTo>
                  <a:pt x="154" y="4353"/>
                </a:lnTo>
                <a:lnTo>
                  <a:pt x="176" y="4395"/>
                </a:lnTo>
                <a:lnTo>
                  <a:pt x="201" y="4434"/>
                </a:lnTo>
                <a:lnTo>
                  <a:pt x="227" y="4465"/>
                </a:lnTo>
                <a:lnTo>
                  <a:pt x="255" y="4486"/>
                </a:lnTo>
                <a:lnTo>
                  <a:pt x="291" y="4505"/>
                </a:lnTo>
                <a:lnTo>
                  <a:pt x="328" y="4523"/>
                </a:lnTo>
                <a:lnTo>
                  <a:pt x="365" y="4539"/>
                </a:lnTo>
                <a:lnTo>
                  <a:pt x="398" y="4547"/>
                </a:lnTo>
                <a:lnTo>
                  <a:pt x="429" y="4553"/>
                </a:lnTo>
                <a:lnTo>
                  <a:pt x="438" y="4523"/>
                </a:lnTo>
                <a:lnTo>
                  <a:pt x="447" y="4497"/>
                </a:lnTo>
                <a:lnTo>
                  <a:pt x="452" y="4477"/>
                </a:lnTo>
                <a:lnTo>
                  <a:pt x="440" y="4455"/>
                </a:lnTo>
                <a:lnTo>
                  <a:pt x="424" y="4425"/>
                </a:lnTo>
                <a:lnTo>
                  <a:pt x="405" y="4388"/>
                </a:lnTo>
                <a:lnTo>
                  <a:pt x="386" y="4348"/>
                </a:lnTo>
                <a:lnTo>
                  <a:pt x="363" y="4304"/>
                </a:lnTo>
                <a:lnTo>
                  <a:pt x="340" y="4257"/>
                </a:lnTo>
                <a:lnTo>
                  <a:pt x="318" y="4210"/>
                </a:lnTo>
                <a:lnTo>
                  <a:pt x="297" y="4161"/>
                </a:lnTo>
                <a:lnTo>
                  <a:pt x="278" y="4114"/>
                </a:lnTo>
                <a:close/>
                <a:moveTo>
                  <a:pt x="2444" y="3883"/>
                </a:moveTo>
                <a:lnTo>
                  <a:pt x="2440" y="3908"/>
                </a:lnTo>
                <a:lnTo>
                  <a:pt x="2435" y="3931"/>
                </a:lnTo>
                <a:lnTo>
                  <a:pt x="2423" y="3960"/>
                </a:lnTo>
                <a:lnTo>
                  <a:pt x="2416" y="3986"/>
                </a:lnTo>
                <a:lnTo>
                  <a:pt x="2410" y="4004"/>
                </a:lnTo>
                <a:lnTo>
                  <a:pt x="2409" y="4020"/>
                </a:lnTo>
                <a:lnTo>
                  <a:pt x="2407" y="4028"/>
                </a:lnTo>
                <a:lnTo>
                  <a:pt x="2407" y="4035"/>
                </a:lnTo>
                <a:lnTo>
                  <a:pt x="2409" y="4039"/>
                </a:lnTo>
                <a:lnTo>
                  <a:pt x="2410" y="4042"/>
                </a:lnTo>
                <a:lnTo>
                  <a:pt x="2412" y="4044"/>
                </a:lnTo>
                <a:lnTo>
                  <a:pt x="2414" y="4046"/>
                </a:lnTo>
                <a:lnTo>
                  <a:pt x="2416" y="4049"/>
                </a:lnTo>
                <a:lnTo>
                  <a:pt x="2417" y="4051"/>
                </a:lnTo>
                <a:lnTo>
                  <a:pt x="2421" y="4056"/>
                </a:lnTo>
                <a:lnTo>
                  <a:pt x="2430" y="4063"/>
                </a:lnTo>
                <a:lnTo>
                  <a:pt x="2442" y="4072"/>
                </a:lnTo>
                <a:lnTo>
                  <a:pt x="2458" y="4079"/>
                </a:lnTo>
                <a:lnTo>
                  <a:pt x="2480" y="4086"/>
                </a:lnTo>
                <a:lnTo>
                  <a:pt x="2508" y="4090"/>
                </a:lnTo>
                <a:lnTo>
                  <a:pt x="2541" y="4091"/>
                </a:lnTo>
                <a:lnTo>
                  <a:pt x="2582" y="4088"/>
                </a:lnTo>
                <a:lnTo>
                  <a:pt x="2582" y="4088"/>
                </a:lnTo>
                <a:lnTo>
                  <a:pt x="2601" y="4062"/>
                </a:lnTo>
                <a:lnTo>
                  <a:pt x="2615" y="4035"/>
                </a:lnTo>
                <a:lnTo>
                  <a:pt x="2623" y="4009"/>
                </a:lnTo>
                <a:lnTo>
                  <a:pt x="2629" y="3983"/>
                </a:lnTo>
                <a:lnTo>
                  <a:pt x="2630" y="3960"/>
                </a:lnTo>
                <a:lnTo>
                  <a:pt x="2606" y="3953"/>
                </a:lnTo>
                <a:lnTo>
                  <a:pt x="2575" y="3941"/>
                </a:lnTo>
                <a:lnTo>
                  <a:pt x="2538" y="3927"/>
                </a:lnTo>
                <a:lnTo>
                  <a:pt x="2494" y="3908"/>
                </a:lnTo>
                <a:lnTo>
                  <a:pt x="2444" y="3883"/>
                </a:lnTo>
                <a:close/>
                <a:moveTo>
                  <a:pt x="3758" y="3606"/>
                </a:moveTo>
                <a:lnTo>
                  <a:pt x="5240" y="3606"/>
                </a:lnTo>
                <a:lnTo>
                  <a:pt x="5261" y="3609"/>
                </a:lnTo>
                <a:lnTo>
                  <a:pt x="5280" y="3620"/>
                </a:lnTo>
                <a:lnTo>
                  <a:pt x="5296" y="3634"/>
                </a:lnTo>
                <a:lnTo>
                  <a:pt x="5304" y="3653"/>
                </a:lnTo>
                <a:lnTo>
                  <a:pt x="5308" y="3674"/>
                </a:lnTo>
                <a:lnTo>
                  <a:pt x="5304" y="3696"/>
                </a:lnTo>
                <a:lnTo>
                  <a:pt x="5296" y="3716"/>
                </a:lnTo>
                <a:lnTo>
                  <a:pt x="5280" y="3730"/>
                </a:lnTo>
                <a:lnTo>
                  <a:pt x="5261" y="3740"/>
                </a:lnTo>
                <a:lnTo>
                  <a:pt x="5240" y="3744"/>
                </a:lnTo>
                <a:lnTo>
                  <a:pt x="3758" y="3744"/>
                </a:lnTo>
                <a:lnTo>
                  <a:pt x="3735" y="3740"/>
                </a:lnTo>
                <a:lnTo>
                  <a:pt x="3716" y="3730"/>
                </a:lnTo>
                <a:lnTo>
                  <a:pt x="3702" y="3716"/>
                </a:lnTo>
                <a:lnTo>
                  <a:pt x="3692" y="3696"/>
                </a:lnTo>
                <a:lnTo>
                  <a:pt x="3688" y="3674"/>
                </a:lnTo>
                <a:lnTo>
                  <a:pt x="3692" y="3653"/>
                </a:lnTo>
                <a:lnTo>
                  <a:pt x="3702" y="3634"/>
                </a:lnTo>
                <a:lnTo>
                  <a:pt x="3716" y="3620"/>
                </a:lnTo>
                <a:lnTo>
                  <a:pt x="3735" y="3609"/>
                </a:lnTo>
                <a:lnTo>
                  <a:pt x="3758" y="3606"/>
                </a:lnTo>
                <a:close/>
                <a:moveTo>
                  <a:pt x="201" y="3190"/>
                </a:moveTo>
                <a:lnTo>
                  <a:pt x="194" y="3192"/>
                </a:lnTo>
                <a:lnTo>
                  <a:pt x="187" y="3195"/>
                </a:lnTo>
                <a:lnTo>
                  <a:pt x="180" y="3200"/>
                </a:lnTo>
                <a:lnTo>
                  <a:pt x="164" y="3214"/>
                </a:lnTo>
                <a:lnTo>
                  <a:pt x="145" y="3232"/>
                </a:lnTo>
                <a:lnTo>
                  <a:pt x="124" y="3253"/>
                </a:lnTo>
                <a:lnTo>
                  <a:pt x="105" y="3277"/>
                </a:lnTo>
                <a:lnTo>
                  <a:pt x="87" y="3302"/>
                </a:lnTo>
                <a:lnTo>
                  <a:pt x="77" y="3330"/>
                </a:lnTo>
                <a:lnTo>
                  <a:pt x="72" y="3358"/>
                </a:lnTo>
                <a:lnTo>
                  <a:pt x="77" y="3385"/>
                </a:lnTo>
                <a:lnTo>
                  <a:pt x="91" y="3426"/>
                </a:lnTo>
                <a:lnTo>
                  <a:pt x="99" y="3452"/>
                </a:lnTo>
                <a:lnTo>
                  <a:pt x="106" y="3471"/>
                </a:lnTo>
                <a:lnTo>
                  <a:pt x="113" y="3485"/>
                </a:lnTo>
                <a:lnTo>
                  <a:pt x="120" y="3497"/>
                </a:lnTo>
                <a:lnTo>
                  <a:pt x="127" y="3510"/>
                </a:lnTo>
                <a:lnTo>
                  <a:pt x="138" y="3524"/>
                </a:lnTo>
                <a:lnTo>
                  <a:pt x="148" y="3532"/>
                </a:lnTo>
                <a:lnTo>
                  <a:pt x="161" y="3543"/>
                </a:lnTo>
                <a:lnTo>
                  <a:pt x="178" y="3553"/>
                </a:lnTo>
                <a:lnTo>
                  <a:pt x="197" y="3560"/>
                </a:lnTo>
                <a:lnTo>
                  <a:pt x="222" y="3562"/>
                </a:lnTo>
                <a:lnTo>
                  <a:pt x="248" y="3557"/>
                </a:lnTo>
                <a:lnTo>
                  <a:pt x="264" y="3492"/>
                </a:lnTo>
                <a:lnTo>
                  <a:pt x="243" y="3504"/>
                </a:lnTo>
                <a:lnTo>
                  <a:pt x="227" y="3513"/>
                </a:lnTo>
                <a:lnTo>
                  <a:pt x="216" y="3517"/>
                </a:lnTo>
                <a:lnTo>
                  <a:pt x="208" y="3518"/>
                </a:lnTo>
                <a:lnTo>
                  <a:pt x="202" y="3518"/>
                </a:lnTo>
                <a:lnTo>
                  <a:pt x="192" y="3518"/>
                </a:lnTo>
                <a:lnTo>
                  <a:pt x="178" y="3517"/>
                </a:lnTo>
                <a:lnTo>
                  <a:pt x="162" y="3513"/>
                </a:lnTo>
                <a:lnTo>
                  <a:pt x="147" y="3506"/>
                </a:lnTo>
                <a:lnTo>
                  <a:pt x="133" y="3496"/>
                </a:lnTo>
                <a:lnTo>
                  <a:pt x="122" y="3480"/>
                </a:lnTo>
                <a:lnTo>
                  <a:pt x="119" y="3469"/>
                </a:lnTo>
                <a:lnTo>
                  <a:pt x="117" y="3454"/>
                </a:lnTo>
                <a:lnTo>
                  <a:pt x="122" y="3434"/>
                </a:lnTo>
                <a:lnTo>
                  <a:pt x="136" y="3413"/>
                </a:lnTo>
                <a:lnTo>
                  <a:pt x="140" y="3406"/>
                </a:lnTo>
                <a:lnTo>
                  <a:pt x="147" y="3396"/>
                </a:lnTo>
                <a:lnTo>
                  <a:pt x="152" y="3379"/>
                </a:lnTo>
                <a:lnTo>
                  <a:pt x="161" y="3356"/>
                </a:lnTo>
                <a:lnTo>
                  <a:pt x="169" y="3328"/>
                </a:lnTo>
                <a:lnTo>
                  <a:pt x="178" y="3289"/>
                </a:lnTo>
                <a:lnTo>
                  <a:pt x="189" y="3244"/>
                </a:lnTo>
                <a:lnTo>
                  <a:pt x="201" y="3190"/>
                </a:lnTo>
                <a:close/>
                <a:moveTo>
                  <a:pt x="5238" y="3097"/>
                </a:moveTo>
                <a:lnTo>
                  <a:pt x="5259" y="3101"/>
                </a:lnTo>
                <a:lnTo>
                  <a:pt x="5278" y="3111"/>
                </a:lnTo>
                <a:lnTo>
                  <a:pt x="5294" y="3125"/>
                </a:lnTo>
                <a:lnTo>
                  <a:pt x="5303" y="3144"/>
                </a:lnTo>
                <a:lnTo>
                  <a:pt x="5306" y="3167"/>
                </a:lnTo>
                <a:lnTo>
                  <a:pt x="5303" y="3188"/>
                </a:lnTo>
                <a:lnTo>
                  <a:pt x="5294" y="3207"/>
                </a:lnTo>
                <a:lnTo>
                  <a:pt x="5278" y="3221"/>
                </a:lnTo>
                <a:lnTo>
                  <a:pt x="5259" y="3232"/>
                </a:lnTo>
                <a:lnTo>
                  <a:pt x="5238" y="3235"/>
                </a:lnTo>
                <a:lnTo>
                  <a:pt x="4414" y="3235"/>
                </a:lnTo>
                <a:lnTo>
                  <a:pt x="4392" y="3232"/>
                </a:lnTo>
                <a:lnTo>
                  <a:pt x="4372" y="3221"/>
                </a:lnTo>
                <a:lnTo>
                  <a:pt x="4358" y="3207"/>
                </a:lnTo>
                <a:lnTo>
                  <a:pt x="4348" y="3188"/>
                </a:lnTo>
                <a:lnTo>
                  <a:pt x="4344" y="3167"/>
                </a:lnTo>
                <a:lnTo>
                  <a:pt x="4348" y="3144"/>
                </a:lnTo>
                <a:lnTo>
                  <a:pt x="4358" y="3125"/>
                </a:lnTo>
                <a:lnTo>
                  <a:pt x="4372" y="3111"/>
                </a:lnTo>
                <a:lnTo>
                  <a:pt x="4392" y="3101"/>
                </a:lnTo>
                <a:lnTo>
                  <a:pt x="4414" y="3097"/>
                </a:lnTo>
                <a:lnTo>
                  <a:pt x="5238" y="3097"/>
                </a:lnTo>
                <a:close/>
                <a:moveTo>
                  <a:pt x="2384" y="2977"/>
                </a:moveTo>
                <a:lnTo>
                  <a:pt x="2400" y="2978"/>
                </a:lnTo>
                <a:lnTo>
                  <a:pt x="2412" y="2987"/>
                </a:lnTo>
                <a:lnTo>
                  <a:pt x="2419" y="2999"/>
                </a:lnTo>
                <a:lnTo>
                  <a:pt x="2419" y="3015"/>
                </a:lnTo>
                <a:lnTo>
                  <a:pt x="2410" y="3029"/>
                </a:lnTo>
                <a:lnTo>
                  <a:pt x="2397" y="3034"/>
                </a:lnTo>
                <a:lnTo>
                  <a:pt x="2379" y="3040"/>
                </a:lnTo>
                <a:lnTo>
                  <a:pt x="2362" y="3045"/>
                </a:lnTo>
                <a:lnTo>
                  <a:pt x="2379" y="3061"/>
                </a:lnTo>
                <a:lnTo>
                  <a:pt x="2393" y="3080"/>
                </a:lnTo>
                <a:lnTo>
                  <a:pt x="2402" y="3101"/>
                </a:lnTo>
                <a:lnTo>
                  <a:pt x="2424" y="3092"/>
                </a:lnTo>
                <a:lnTo>
                  <a:pt x="2449" y="3083"/>
                </a:lnTo>
                <a:lnTo>
                  <a:pt x="2461" y="3082"/>
                </a:lnTo>
                <a:lnTo>
                  <a:pt x="2472" y="3089"/>
                </a:lnTo>
                <a:lnTo>
                  <a:pt x="2479" y="3099"/>
                </a:lnTo>
                <a:lnTo>
                  <a:pt x="2479" y="3111"/>
                </a:lnTo>
                <a:lnTo>
                  <a:pt x="2473" y="3122"/>
                </a:lnTo>
                <a:lnTo>
                  <a:pt x="2463" y="3129"/>
                </a:lnTo>
                <a:lnTo>
                  <a:pt x="2424" y="3143"/>
                </a:lnTo>
                <a:lnTo>
                  <a:pt x="2391" y="3160"/>
                </a:lnTo>
                <a:lnTo>
                  <a:pt x="2365" y="3181"/>
                </a:lnTo>
                <a:lnTo>
                  <a:pt x="2344" y="3204"/>
                </a:lnTo>
                <a:lnTo>
                  <a:pt x="2327" y="3227"/>
                </a:lnTo>
                <a:lnTo>
                  <a:pt x="2313" y="3247"/>
                </a:lnTo>
                <a:lnTo>
                  <a:pt x="2304" y="3267"/>
                </a:lnTo>
                <a:lnTo>
                  <a:pt x="2297" y="3282"/>
                </a:lnTo>
                <a:lnTo>
                  <a:pt x="2294" y="3293"/>
                </a:lnTo>
                <a:lnTo>
                  <a:pt x="2292" y="3298"/>
                </a:lnTo>
                <a:lnTo>
                  <a:pt x="2290" y="3305"/>
                </a:lnTo>
                <a:lnTo>
                  <a:pt x="2287" y="3309"/>
                </a:lnTo>
                <a:lnTo>
                  <a:pt x="2281" y="3314"/>
                </a:lnTo>
                <a:lnTo>
                  <a:pt x="2274" y="3316"/>
                </a:lnTo>
                <a:lnTo>
                  <a:pt x="2269" y="3316"/>
                </a:lnTo>
                <a:lnTo>
                  <a:pt x="2264" y="3316"/>
                </a:lnTo>
                <a:lnTo>
                  <a:pt x="2252" y="3310"/>
                </a:lnTo>
                <a:lnTo>
                  <a:pt x="2246" y="3300"/>
                </a:lnTo>
                <a:lnTo>
                  <a:pt x="2246" y="3288"/>
                </a:lnTo>
                <a:lnTo>
                  <a:pt x="2248" y="3281"/>
                </a:lnTo>
                <a:lnTo>
                  <a:pt x="2253" y="3265"/>
                </a:lnTo>
                <a:lnTo>
                  <a:pt x="2262" y="3244"/>
                </a:lnTo>
                <a:lnTo>
                  <a:pt x="2276" y="3218"/>
                </a:lnTo>
                <a:lnTo>
                  <a:pt x="2295" y="3188"/>
                </a:lnTo>
                <a:lnTo>
                  <a:pt x="2287" y="3171"/>
                </a:lnTo>
                <a:lnTo>
                  <a:pt x="2269" y="3160"/>
                </a:lnTo>
                <a:lnTo>
                  <a:pt x="2250" y="3155"/>
                </a:lnTo>
                <a:lnTo>
                  <a:pt x="2232" y="3158"/>
                </a:lnTo>
                <a:lnTo>
                  <a:pt x="2218" y="3167"/>
                </a:lnTo>
                <a:lnTo>
                  <a:pt x="2208" y="3179"/>
                </a:lnTo>
                <a:lnTo>
                  <a:pt x="2201" y="3197"/>
                </a:lnTo>
                <a:lnTo>
                  <a:pt x="2194" y="3179"/>
                </a:lnTo>
                <a:lnTo>
                  <a:pt x="2187" y="3162"/>
                </a:lnTo>
                <a:lnTo>
                  <a:pt x="2175" y="3179"/>
                </a:lnTo>
                <a:lnTo>
                  <a:pt x="2166" y="3192"/>
                </a:lnTo>
                <a:lnTo>
                  <a:pt x="2164" y="3197"/>
                </a:lnTo>
                <a:lnTo>
                  <a:pt x="2159" y="3202"/>
                </a:lnTo>
                <a:lnTo>
                  <a:pt x="2156" y="3207"/>
                </a:lnTo>
                <a:lnTo>
                  <a:pt x="2149" y="3211"/>
                </a:lnTo>
                <a:lnTo>
                  <a:pt x="2143" y="3213"/>
                </a:lnTo>
                <a:lnTo>
                  <a:pt x="2136" y="3214"/>
                </a:lnTo>
                <a:lnTo>
                  <a:pt x="2129" y="3213"/>
                </a:lnTo>
                <a:lnTo>
                  <a:pt x="2124" y="3211"/>
                </a:lnTo>
                <a:lnTo>
                  <a:pt x="2112" y="3200"/>
                </a:lnTo>
                <a:lnTo>
                  <a:pt x="2107" y="3186"/>
                </a:lnTo>
                <a:lnTo>
                  <a:pt x="2110" y="3171"/>
                </a:lnTo>
                <a:lnTo>
                  <a:pt x="2114" y="3165"/>
                </a:lnTo>
                <a:lnTo>
                  <a:pt x="2121" y="3151"/>
                </a:lnTo>
                <a:lnTo>
                  <a:pt x="2133" y="3134"/>
                </a:lnTo>
                <a:lnTo>
                  <a:pt x="2152" y="3111"/>
                </a:lnTo>
                <a:lnTo>
                  <a:pt x="2175" y="3085"/>
                </a:lnTo>
                <a:lnTo>
                  <a:pt x="2205" y="3059"/>
                </a:lnTo>
                <a:lnTo>
                  <a:pt x="2239" y="3034"/>
                </a:lnTo>
                <a:lnTo>
                  <a:pt x="2281" y="3012"/>
                </a:lnTo>
                <a:lnTo>
                  <a:pt x="2330" y="2991"/>
                </a:lnTo>
                <a:lnTo>
                  <a:pt x="2384" y="2977"/>
                </a:lnTo>
                <a:close/>
                <a:moveTo>
                  <a:pt x="3198" y="2856"/>
                </a:moveTo>
                <a:lnTo>
                  <a:pt x="3213" y="2856"/>
                </a:lnTo>
                <a:lnTo>
                  <a:pt x="3227" y="2865"/>
                </a:lnTo>
                <a:lnTo>
                  <a:pt x="3234" y="2877"/>
                </a:lnTo>
                <a:lnTo>
                  <a:pt x="3234" y="2893"/>
                </a:lnTo>
                <a:lnTo>
                  <a:pt x="3219" y="2935"/>
                </a:lnTo>
                <a:lnTo>
                  <a:pt x="3201" y="2970"/>
                </a:lnTo>
                <a:lnTo>
                  <a:pt x="3180" y="2996"/>
                </a:lnTo>
                <a:lnTo>
                  <a:pt x="3156" y="3017"/>
                </a:lnTo>
                <a:lnTo>
                  <a:pt x="3131" y="3031"/>
                </a:lnTo>
                <a:lnTo>
                  <a:pt x="3107" y="3041"/>
                </a:lnTo>
                <a:lnTo>
                  <a:pt x="3084" y="3047"/>
                </a:lnTo>
                <a:lnTo>
                  <a:pt x="3063" y="3048"/>
                </a:lnTo>
                <a:lnTo>
                  <a:pt x="3055" y="3048"/>
                </a:lnTo>
                <a:lnTo>
                  <a:pt x="3046" y="3047"/>
                </a:lnTo>
                <a:lnTo>
                  <a:pt x="3032" y="3041"/>
                </a:lnTo>
                <a:lnTo>
                  <a:pt x="3023" y="3029"/>
                </a:lnTo>
                <a:lnTo>
                  <a:pt x="3021" y="3013"/>
                </a:lnTo>
                <a:lnTo>
                  <a:pt x="3028" y="2999"/>
                </a:lnTo>
                <a:lnTo>
                  <a:pt x="3041" y="2989"/>
                </a:lnTo>
                <a:lnTo>
                  <a:pt x="3055" y="2987"/>
                </a:lnTo>
                <a:lnTo>
                  <a:pt x="3060" y="2989"/>
                </a:lnTo>
                <a:lnTo>
                  <a:pt x="3070" y="2989"/>
                </a:lnTo>
                <a:lnTo>
                  <a:pt x="3084" y="2985"/>
                </a:lnTo>
                <a:lnTo>
                  <a:pt x="3100" y="2982"/>
                </a:lnTo>
                <a:lnTo>
                  <a:pt x="3116" y="2973"/>
                </a:lnTo>
                <a:lnTo>
                  <a:pt x="3133" y="2959"/>
                </a:lnTo>
                <a:lnTo>
                  <a:pt x="3151" y="2940"/>
                </a:lnTo>
                <a:lnTo>
                  <a:pt x="3165" y="2912"/>
                </a:lnTo>
                <a:lnTo>
                  <a:pt x="3177" y="2877"/>
                </a:lnTo>
                <a:lnTo>
                  <a:pt x="3184" y="2865"/>
                </a:lnTo>
                <a:lnTo>
                  <a:pt x="3198" y="2856"/>
                </a:lnTo>
                <a:close/>
                <a:moveTo>
                  <a:pt x="967" y="2730"/>
                </a:moveTo>
                <a:lnTo>
                  <a:pt x="965" y="2805"/>
                </a:lnTo>
                <a:lnTo>
                  <a:pt x="965" y="2884"/>
                </a:lnTo>
                <a:lnTo>
                  <a:pt x="1002" y="2875"/>
                </a:lnTo>
                <a:lnTo>
                  <a:pt x="1033" y="2870"/>
                </a:lnTo>
                <a:lnTo>
                  <a:pt x="1058" y="2865"/>
                </a:lnTo>
                <a:lnTo>
                  <a:pt x="1073" y="2863"/>
                </a:lnTo>
                <a:lnTo>
                  <a:pt x="1082" y="2861"/>
                </a:lnTo>
                <a:lnTo>
                  <a:pt x="1107" y="2858"/>
                </a:lnTo>
                <a:lnTo>
                  <a:pt x="1133" y="2849"/>
                </a:lnTo>
                <a:lnTo>
                  <a:pt x="1154" y="2840"/>
                </a:lnTo>
                <a:lnTo>
                  <a:pt x="1166" y="2832"/>
                </a:lnTo>
                <a:lnTo>
                  <a:pt x="1168" y="2830"/>
                </a:lnTo>
                <a:lnTo>
                  <a:pt x="1169" y="2828"/>
                </a:lnTo>
                <a:lnTo>
                  <a:pt x="1108" y="2805"/>
                </a:lnTo>
                <a:lnTo>
                  <a:pt x="1054" y="2783"/>
                </a:lnTo>
                <a:lnTo>
                  <a:pt x="1007" y="2757"/>
                </a:lnTo>
                <a:lnTo>
                  <a:pt x="967" y="2730"/>
                </a:lnTo>
                <a:close/>
                <a:moveTo>
                  <a:pt x="3814" y="2580"/>
                </a:moveTo>
                <a:lnTo>
                  <a:pt x="5238" y="2580"/>
                </a:lnTo>
                <a:lnTo>
                  <a:pt x="5261" y="2584"/>
                </a:lnTo>
                <a:lnTo>
                  <a:pt x="5280" y="2592"/>
                </a:lnTo>
                <a:lnTo>
                  <a:pt x="5294" y="2608"/>
                </a:lnTo>
                <a:lnTo>
                  <a:pt x="5304" y="2626"/>
                </a:lnTo>
                <a:lnTo>
                  <a:pt x="5308" y="2648"/>
                </a:lnTo>
                <a:lnTo>
                  <a:pt x="5304" y="2669"/>
                </a:lnTo>
                <a:lnTo>
                  <a:pt x="5294" y="2688"/>
                </a:lnTo>
                <a:lnTo>
                  <a:pt x="5280" y="2704"/>
                </a:lnTo>
                <a:lnTo>
                  <a:pt x="5261" y="2713"/>
                </a:lnTo>
                <a:lnTo>
                  <a:pt x="5238" y="2716"/>
                </a:lnTo>
                <a:lnTo>
                  <a:pt x="3814" y="2716"/>
                </a:lnTo>
                <a:lnTo>
                  <a:pt x="3793" y="2713"/>
                </a:lnTo>
                <a:lnTo>
                  <a:pt x="3774" y="2704"/>
                </a:lnTo>
                <a:lnTo>
                  <a:pt x="3760" y="2688"/>
                </a:lnTo>
                <a:lnTo>
                  <a:pt x="3749" y="2669"/>
                </a:lnTo>
                <a:lnTo>
                  <a:pt x="3746" y="2648"/>
                </a:lnTo>
                <a:lnTo>
                  <a:pt x="3749" y="2626"/>
                </a:lnTo>
                <a:lnTo>
                  <a:pt x="3760" y="2608"/>
                </a:lnTo>
                <a:lnTo>
                  <a:pt x="3774" y="2592"/>
                </a:lnTo>
                <a:lnTo>
                  <a:pt x="3793" y="2584"/>
                </a:lnTo>
                <a:lnTo>
                  <a:pt x="3814" y="2580"/>
                </a:lnTo>
                <a:close/>
                <a:moveTo>
                  <a:pt x="2922" y="2580"/>
                </a:moveTo>
                <a:lnTo>
                  <a:pt x="3470" y="2580"/>
                </a:lnTo>
                <a:lnTo>
                  <a:pt x="3491" y="2584"/>
                </a:lnTo>
                <a:lnTo>
                  <a:pt x="3510" y="2592"/>
                </a:lnTo>
                <a:lnTo>
                  <a:pt x="3524" y="2608"/>
                </a:lnTo>
                <a:lnTo>
                  <a:pt x="3535" y="2626"/>
                </a:lnTo>
                <a:lnTo>
                  <a:pt x="3538" y="2648"/>
                </a:lnTo>
                <a:lnTo>
                  <a:pt x="3535" y="2669"/>
                </a:lnTo>
                <a:lnTo>
                  <a:pt x="3524" y="2688"/>
                </a:lnTo>
                <a:lnTo>
                  <a:pt x="3510" y="2704"/>
                </a:lnTo>
                <a:lnTo>
                  <a:pt x="3491" y="2713"/>
                </a:lnTo>
                <a:lnTo>
                  <a:pt x="3470" y="2716"/>
                </a:lnTo>
                <a:lnTo>
                  <a:pt x="2922" y="2716"/>
                </a:lnTo>
                <a:lnTo>
                  <a:pt x="2901" y="2713"/>
                </a:lnTo>
                <a:lnTo>
                  <a:pt x="2882" y="2704"/>
                </a:lnTo>
                <a:lnTo>
                  <a:pt x="2866" y="2688"/>
                </a:lnTo>
                <a:lnTo>
                  <a:pt x="2857" y="2669"/>
                </a:lnTo>
                <a:lnTo>
                  <a:pt x="2854" y="2648"/>
                </a:lnTo>
                <a:lnTo>
                  <a:pt x="2857" y="2626"/>
                </a:lnTo>
                <a:lnTo>
                  <a:pt x="2866" y="2608"/>
                </a:lnTo>
                <a:lnTo>
                  <a:pt x="2882" y="2592"/>
                </a:lnTo>
                <a:lnTo>
                  <a:pt x="2901" y="2584"/>
                </a:lnTo>
                <a:lnTo>
                  <a:pt x="2922" y="2580"/>
                </a:lnTo>
                <a:close/>
                <a:moveTo>
                  <a:pt x="2135" y="2386"/>
                </a:moveTo>
                <a:lnTo>
                  <a:pt x="2086" y="2388"/>
                </a:lnTo>
                <a:lnTo>
                  <a:pt x="2032" y="2397"/>
                </a:lnTo>
                <a:lnTo>
                  <a:pt x="1972" y="2411"/>
                </a:lnTo>
                <a:lnTo>
                  <a:pt x="1906" y="2428"/>
                </a:lnTo>
                <a:lnTo>
                  <a:pt x="1831" y="2449"/>
                </a:lnTo>
                <a:lnTo>
                  <a:pt x="1817" y="2453"/>
                </a:lnTo>
                <a:lnTo>
                  <a:pt x="1773" y="2468"/>
                </a:lnTo>
                <a:lnTo>
                  <a:pt x="1731" y="2489"/>
                </a:lnTo>
                <a:lnTo>
                  <a:pt x="1693" y="2514"/>
                </a:lnTo>
                <a:lnTo>
                  <a:pt x="1656" y="2540"/>
                </a:lnTo>
                <a:lnTo>
                  <a:pt x="1623" y="2568"/>
                </a:lnTo>
                <a:lnTo>
                  <a:pt x="1594" y="2594"/>
                </a:lnTo>
                <a:lnTo>
                  <a:pt x="1567" y="2622"/>
                </a:lnTo>
                <a:lnTo>
                  <a:pt x="1546" y="2646"/>
                </a:lnTo>
                <a:lnTo>
                  <a:pt x="1529" y="2667"/>
                </a:lnTo>
                <a:lnTo>
                  <a:pt x="1515" y="2683"/>
                </a:lnTo>
                <a:lnTo>
                  <a:pt x="1508" y="2694"/>
                </a:lnTo>
                <a:lnTo>
                  <a:pt x="1505" y="2699"/>
                </a:lnTo>
                <a:lnTo>
                  <a:pt x="1491" y="2713"/>
                </a:lnTo>
                <a:lnTo>
                  <a:pt x="1471" y="2720"/>
                </a:lnTo>
                <a:lnTo>
                  <a:pt x="1440" y="2727"/>
                </a:lnTo>
                <a:lnTo>
                  <a:pt x="1407" y="2743"/>
                </a:lnTo>
                <a:lnTo>
                  <a:pt x="1372" y="2765"/>
                </a:lnTo>
                <a:lnTo>
                  <a:pt x="1337" y="2792"/>
                </a:lnTo>
                <a:lnTo>
                  <a:pt x="1302" y="2823"/>
                </a:lnTo>
                <a:lnTo>
                  <a:pt x="1269" y="2858"/>
                </a:lnTo>
                <a:lnTo>
                  <a:pt x="1238" y="2893"/>
                </a:lnTo>
                <a:lnTo>
                  <a:pt x="1224" y="2907"/>
                </a:lnTo>
                <a:lnTo>
                  <a:pt x="1204" y="2919"/>
                </a:lnTo>
                <a:lnTo>
                  <a:pt x="1185" y="2930"/>
                </a:lnTo>
                <a:lnTo>
                  <a:pt x="1171" y="2950"/>
                </a:lnTo>
                <a:lnTo>
                  <a:pt x="1154" y="2977"/>
                </a:lnTo>
                <a:lnTo>
                  <a:pt x="1135" y="3006"/>
                </a:lnTo>
                <a:lnTo>
                  <a:pt x="1112" y="3036"/>
                </a:lnTo>
                <a:lnTo>
                  <a:pt x="1091" y="3066"/>
                </a:lnTo>
                <a:lnTo>
                  <a:pt x="1070" y="3092"/>
                </a:lnTo>
                <a:lnTo>
                  <a:pt x="1051" y="3115"/>
                </a:lnTo>
                <a:lnTo>
                  <a:pt x="1035" y="3130"/>
                </a:lnTo>
                <a:lnTo>
                  <a:pt x="1023" y="3144"/>
                </a:lnTo>
                <a:lnTo>
                  <a:pt x="1005" y="3164"/>
                </a:lnTo>
                <a:lnTo>
                  <a:pt x="984" y="3188"/>
                </a:lnTo>
                <a:lnTo>
                  <a:pt x="962" y="3216"/>
                </a:lnTo>
                <a:lnTo>
                  <a:pt x="939" y="3247"/>
                </a:lnTo>
                <a:lnTo>
                  <a:pt x="916" y="3279"/>
                </a:lnTo>
                <a:lnTo>
                  <a:pt x="895" y="3310"/>
                </a:lnTo>
                <a:lnTo>
                  <a:pt x="876" y="3340"/>
                </a:lnTo>
                <a:lnTo>
                  <a:pt x="861" y="3366"/>
                </a:lnTo>
                <a:lnTo>
                  <a:pt x="850" y="3387"/>
                </a:lnTo>
                <a:lnTo>
                  <a:pt x="840" y="3415"/>
                </a:lnTo>
                <a:lnTo>
                  <a:pt x="833" y="3438"/>
                </a:lnTo>
                <a:lnTo>
                  <a:pt x="831" y="3454"/>
                </a:lnTo>
                <a:lnTo>
                  <a:pt x="833" y="3468"/>
                </a:lnTo>
                <a:lnTo>
                  <a:pt x="836" y="3482"/>
                </a:lnTo>
                <a:lnTo>
                  <a:pt x="843" y="3494"/>
                </a:lnTo>
                <a:lnTo>
                  <a:pt x="850" y="3504"/>
                </a:lnTo>
                <a:lnTo>
                  <a:pt x="861" y="3520"/>
                </a:lnTo>
                <a:lnTo>
                  <a:pt x="873" y="3537"/>
                </a:lnTo>
                <a:lnTo>
                  <a:pt x="887" y="3557"/>
                </a:lnTo>
                <a:lnTo>
                  <a:pt x="916" y="3597"/>
                </a:lnTo>
                <a:lnTo>
                  <a:pt x="941" y="3632"/>
                </a:lnTo>
                <a:lnTo>
                  <a:pt x="962" y="3662"/>
                </a:lnTo>
                <a:lnTo>
                  <a:pt x="976" y="3688"/>
                </a:lnTo>
                <a:lnTo>
                  <a:pt x="986" y="3707"/>
                </a:lnTo>
                <a:lnTo>
                  <a:pt x="993" y="3724"/>
                </a:lnTo>
                <a:lnTo>
                  <a:pt x="997" y="3740"/>
                </a:lnTo>
                <a:lnTo>
                  <a:pt x="997" y="3752"/>
                </a:lnTo>
                <a:lnTo>
                  <a:pt x="995" y="3759"/>
                </a:lnTo>
                <a:lnTo>
                  <a:pt x="993" y="3768"/>
                </a:lnTo>
                <a:lnTo>
                  <a:pt x="990" y="3779"/>
                </a:lnTo>
                <a:lnTo>
                  <a:pt x="986" y="3796"/>
                </a:lnTo>
                <a:lnTo>
                  <a:pt x="981" y="3819"/>
                </a:lnTo>
                <a:lnTo>
                  <a:pt x="977" y="3841"/>
                </a:lnTo>
                <a:lnTo>
                  <a:pt x="976" y="3866"/>
                </a:lnTo>
                <a:lnTo>
                  <a:pt x="977" y="3889"/>
                </a:lnTo>
                <a:lnTo>
                  <a:pt x="983" y="3908"/>
                </a:lnTo>
                <a:lnTo>
                  <a:pt x="991" y="3924"/>
                </a:lnTo>
                <a:lnTo>
                  <a:pt x="1005" y="3938"/>
                </a:lnTo>
                <a:lnTo>
                  <a:pt x="1026" y="3959"/>
                </a:lnTo>
                <a:lnTo>
                  <a:pt x="1051" y="3981"/>
                </a:lnTo>
                <a:lnTo>
                  <a:pt x="1075" y="4002"/>
                </a:lnTo>
                <a:lnTo>
                  <a:pt x="1103" y="4021"/>
                </a:lnTo>
                <a:lnTo>
                  <a:pt x="1129" y="4035"/>
                </a:lnTo>
                <a:lnTo>
                  <a:pt x="1155" y="4042"/>
                </a:lnTo>
                <a:lnTo>
                  <a:pt x="1182" y="4041"/>
                </a:lnTo>
                <a:lnTo>
                  <a:pt x="1218" y="4028"/>
                </a:lnTo>
                <a:lnTo>
                  <a:pt x="1258" y="4011"/>
                </a:lnTo>
                <a:lnTo>
                  <a:pt x="1302" y="3990"/>
                </a:lnTo>
                <a:lnTo>
                  <a:pt x="1346" y="3967"/>
                </a:lnTo>
                <a:lnTo>
                  <a:pt x="1393" y="3945"/>
                </a:lnTo>
                <a:lnTo>
                  <a:pt x="1438" y="3922"/>
                </a:lnTo>
                <a:lnTo>
                  <a:pt x="1482" y="3903"/>
                </a:lnTo>
                <a:lnTo>
                  <a:pt x="1529" y="3889"/>
                </a:lnTo>
                <a:lnTo>
                  <a:pt x="1574" y="3878"/>
                </a:lnTo>
                <a:lnTo>
                  <a:pt x="1616" y="3869"/>
                </a:lnTo>
                <a:lnTo>
                  <a:pt x="1634" y="3866"/>
                </a:lnTo>
                <a:lnTo>
                  <a:pt x="1651" y="3862"/>
                </a:lnTo>
                <a:lnTo>
                  <a:pt x="1667" y="3859"/>
                </a:lnTo>
                <a:lnTo>
                  <a:pt x="1676" y="3855"/>
                </a:lnTo>
                <a:lnTo>
                  <a:pt x="1681" y="3845"/>
                </a:lnTo>
                <a:lnTo>
                  <a:pt x="1686" y="3829"/>
                </a:lnTo>
                <a:lnTo>
                  <a:pt x="1693" y="3805"/>
                </a:lnTo>
                <a:lnTo>
                  <a:pt x="1700" y="3775"/>
                </a:lnTo>
                <a:lnTo>
                  <a:pt x="1707" y="3740"/>
                </a:lnTo>
                <a:lnTo>
                  <a:pt x="1714" y="3702"/>
                </a:lnTo>
                <a:lnTo>
                  <a:pt x="1718" y="3660"/>
                </a:lnTo>
                <a:lnTo>
                  <a:pt x="1719" y="3616"/>
                </a:lnTo>
                <a:lnTo>
                  <a:pt x="1718" y="3572"/>
                </a:lnTo>
                <a:lnTo>
                  <a:pt x="1711" y="3511"/>
                </a:lnTo>
                <a:lnTo>
                  <a:pt x="1702" y="3443"/>
                </a:lnTo>
                <a:lnTo>
                  <a:pt x="1693" y="3373"/>
                </a:lnTo>
                <a:lnTo>
                  <a:pt x="1684" y="3321"/>
                </a:lnTo>
                <a:lnTo>
                  <a:pt x="1677" y="3268"/>
                </a:lnTo>
                <a:lnTo>
                  <a:pt x="1672" y="3220"/>
                </a:lnTo>
                <a:lnTo>
                  <a:pt x="1667" y="3176"/>
                </a:lnTo>
                <a:lnTo>
                  <a:pt x="1665" y="3136"/>
                </a:lnTo>
                <a:lnTo>
                  <a:pt x="1665" y="3101"/>
                </a:lnTo>
                <a:lnTo>
                  <a:pt x="1672" y="3083"/>
                </a:lnTo>
                <a:lnTo>
                  <a:pt x="1684" y="3073"/>
                </a:lnTo>
                <a:lnTo>
                  <a:pt x="1704" y="3068"/>
                </a:lnTo>
                <a:lnTo>
                  <a:pt x="1721" y="3075"/>
                </a:lnTo>
                <a:lnTo>
                  <a:pt x="1733" y="3087"/>
                </a:lnTo>
                <a:lnTo>
                  <a:pt x="1737" y="3106"/>
                </a:lnTo>
                <a:lnTo>
                  <a:pt x="1737" y="3137"/>
                </a:lnTo>
                <a:lnTo>
                  <a:pt x="1738" y="3174"/>
                </a:lnTo>
                <a:lnTo>
                  <a:pt x="1744" y="3218"/>
                </a:lnTo>
                <a:lnTo>
                  <a:pt x="1749" y="3265"/>
                </a:lnTo>
                <a:lnTo>
                  <a:pt x="1756" y="3314"/>
                </a:lnTo>
                <a:lnTo>
                  <a:pt x="1763" y="3363"/>
                </a:lnTo>
                <a:lnTo>
                  <a:pt x="1773" y="3434"/>
                </a:lnTo>
                <a:lnTo>
                  <a:pt x="1782" y="3503"/>
                </a:lnTo>
                <a:lnTo>
                  <a:pt x="1789" y="3565"/>
                </a:lnTo>
                <a:lnTo>
                  <a:pt x="1791" y="3623"/>
                </a:lnTo>
                <a:lnTo>
                  <a:pt x="1787" y="3679"/>
                </a:lnTo>
                <a:lnTo>
                  <a:pt x="1782" y="3731"/>
                </a:lnTo>
                <a:lnTo>
                  <a:pt x="1773" y="3779"/>
                </a:lnTo>
                <a:lnTo>
                  <a:pt x="1761" y="3822"/>
                </a:lnTo>
                <a:lnTo>
                  <a:pt x="1751" y="3857"/>
                </a:lnTo>
                <a:lnTo>
                  <a:pt x="1740" y="3883"/>
                </a:lnTo>
                <a:lnTo>
                  <a:pt x="1730" y="3901"/>
                </a:lnTo>
                <a:lnTo>
                  <a:pt x="1714" y="3915"/>
                </a:lnTo>
                <a:lnTo>
                  <a:pt x="1691" y="3925"/>
                </a:lnTo>
                <a:lnTo>
                  <a:pt x="1663" y="3932"/>
                </a:lnTo>
                <a:lnTo>
                  <a:pt x="1629" y="3939"/>
                </a:lnTo>
                <a:lnTo>
                  <a:pt x="1590" y="3946"/>
                </a:lnTo>
                <a:lnTo>
                  <a:pt x="1550" y="3957"/>
                </a:lnTo>
                <a:lnTo>
                  <a:pt x="1508" y="3971"/>
                </a:lnTo>
                <a:lnTo>
                  <a:pt x="1466" y="3986"/>
                </a:lnTo>
                <a:lnTo>
                  <a:pt x="1423" y="4007"/>
                </a:lnTo>
                <a:lnTo>
                  <a:pt x="1377" y="4030"/>
                </a:lnTo>
                <a:lnTo>
                  <a:pt x="1332" y="4055"/>
                </a:lnTo>
                <a:lnTo>
                  <a:pt x="1285" y="4077"/>
                </a:lnTo>
                <a:lnTo>
                  <a:pt x="1241" y="4095"/>
                </a:lnTo>
                <a:lnTo>
                  <a:pt x="1199" y="4109"/>
                </a:lnTo>
                <a:lnTo>
                  <a:pt x="1164" y="4114"/>
                </a:lnTo>
                <a:lnTo>
                  <a:pt x="1128" y="4109"/>
                </a:lnTo>
                <a:lnTo>
                  <a:pt x="1094" y="4098"/>
                </a:lnTo>
                <a:lnTo>
                  <a:pt x="1061" y="4081"/>
                </a:lnTo>
                <a:lnTo>
                  <a:pt x="1032" y="4058"/>
                </a:lnTo>
                <a:lnTo>
                  <a:pt x="1004" y="4035"/>
                </a:lnTo>
                <a:lnTo>
                  <a:pt x="977" y="4011"/>
                </a:lnTo>
                <a:lnTo>
                  <a:pt x="955" y="3986"/>
                </a:lnTo>
                <a:lnTo>
                  <a:pt x="941" y="3974"/>
                </a:lnTo>
                <a:lnTo>
                  <a:pt x="923" y="3950"/>
                </a:lnTo>
                <a:lnTo>
                  <a:pt x="913" y="3924"/>
                </a:lnTo>
                <a:lnTo>
                  <a:pt x="906" y="3896"/>
                </a:lnTo>
                <a:lnTo>
                  <a:pt x="904" y="3866"/>
                </a:lnTo>
                <a:lnTo>
                  <a:pt x="908" y="3838"/>
                </a:lnTo>
                <a:lnTo>
                  <a:pt x="911" y="3810"/>
                </a:lnTo>
                <a:lnTo>
                  <a:pt x="916" y="3784"/>
                </a:lnTo>
                <a:lnTo>
                  <a:pt x="922" y="3761"/>
                </a:lnTo>
                <a:lnTo>
                  <a:pt x="923" y="3754"/>
                </a:lnTo>
                <a:lnTo>
                  <a:pt x="925" y="3747"/>
                </a:lnTo>
                <a:lnTo>
                  <a:pt x="925" y="3742"/>
                </a:lnTo>
                <a:lnTo>
                  <a:pt x="922" y="3731"/>
                </a:lnTo>
                <a:lnTo>
                  <a:pt x="913" y="3717"/>
                </a:lnTo>
                <a:lnTo>
                  <a:pt x="901" y="3700"/>
                </a:lnTo>
                <a:lnTo>
                  <a:pt x="887" y="3679"/>
                </a:lnTo>
                <a:lnTo>
                  <a:pt x="871" y="3658"/>
                </a:lnTo>
                <a:lnTo>
                  <a:pt x="857" y="3635"/>
                </a:lnTo>
                <a:lnTo>
                  <a:pt x="841" y="3616"/>
                </a:lnTo>
                <a:lnTo>
                  <a:pt x="829" y="3599"/>
                </a:lnTo>
                <a:lnTo>
                  <a:pt x="813" y="3578"/>
                </a:lnTo>
                <a:lnTo>
                  <a:pt x="799" y="3558"/>
                </a:lnTo>
                <a:lnTo>
                  <a:pt x="789" y="3541"/>
                </a:lnTo>
                <a:lnTo>
                  <a:pt x="780" y="3529"/>
                </a:lnTo>
                <a:lnTo>
                  <a:pt x="768" y="3504"/>
                </a:lnTo>
                <a:lnTo>
                  <a:pt x="761" y="3480"/>
                </a:lnTo>
                <a:lnTo>
                  <a:pt x="759" y="3454"/>
                </a:lnTo>
                <a:lnTo>
                  <a:pt x="763" y="3427"/>
                </a:lnTo>
                <a:lnTo>
                  <a:pt x="771" y="3396"/>
                </a:lnTo>
                <a:lnTo>
                  <a:pt x="784" y="3359"/>
                </a:lnTo>
                <a:lnTo>
                  <a:pt x="796" y="3335"/>
                </a:lnTo>
                <a:lnTo>
                  <a:pt x="813" y="3305"/>
                </a:lnTo>
                <a:lnTo>
                  <a:pt x="834" y="3272"/>
                </a:lnTo>
                <a:lnTo>
                  <a:pt x="857" y="3239"/>
                </a:lnTo>
                <a:lnTo>
                  <a:pt x="881" y="3204"/>
                </a:lnTo>
                <a:lnTo>
                  <a:pt x="908" y="3171"/>
                </a:lnTo>
                <a:lnTo>
                  <a:pt x="932" y="3141"/>
                </a:lnTo>
                <a:lnTo>
                  <a:pt x="955" y="3113"/>
                </a:lnTo>
                <a:lnTo>
                  <a:pt x="974" y="3092"/>
                </a:lnTo>
                <a:lnTo>
                  <a:pt x="990" y="3076"/>
                </a:lnTo>
                <a:lnTo>
                  <a:pt x="1000" y="3066"/>
                </a:lnTo>
                <a:lnTo>
                  <a:pt x="1012" y="3050"/>
                </a:lnTo>
                <a:lnTo>
                  <a:pt x="1028" y="3031"/>
                </a:lnTo>
                <a:lnTo>
                  <a:pt x="1046" y="3008"/>
                </a:lnTo>
                <a:lnTo>
                  <a:pt x="1063" y="2982"/>
                </a:lnTo>
                <a:lnTo>
                  <a:pt x="1080" y="2956"/>
                </a:lnTo>
                <a:lnTo>
                  <a:pt x="1059" y="2961"/>
                </a:lnTo>
                <a:lnTo>
                  <a:pt x="1026" y="2966"/>
                </a:lnTo>
                <a:lnTo>
                  <a:pt x="986" y="2975"/>
                </a:lnTo>
                <a:lnTo>
                  <a:pt x="939" y="2989"/>
                </a:lnTo>
                <a:lnTo>
                  <a:pt x="885" y="3005"/>
                </a:lnTo>
                <a:lnTo>
                  <a:pt x="829" y="3024"/>
                </a:lnTo>
                <a:lnTo>
                  <a:pt x="770" y="3048"/>
                </a:lnTo>
                <a:lnTo>
                  <a:pt x="709" y="3078"/>
                </a:lnTo>
                <a:lnTo>
                  <a:pt x="649" y="3113"/>
                </a:lnTo>
                <a:lnTo>
                  <a:pt x="593" y="3151"/>
                </a:lnTo>
                <a:lnTo>
                  <a:pt x="539" y="3197"/>
                </a:lnTo>
                <a:lnTo>
                  <a:pt x="492" y="3247"/>
                </a:lnTo>
                <a:lnTo>
                  <a:pt x="443" y="3316"/>
                </a:lnTo>
                <a:lnTo>
                  <a:pt x="403" y="3387"/>
                </a:lnTo>
                <a:lnTo>
                  <a:pt x="368" y="3466"/>
                </a:lnTo>
                <a:lnTo>
                  <a:pt x="344" y="3551"/>
                </a:lnTo>
                <a:lnTo>
                  <a:pt x="325" y="3641"/>
                </a:lnTo>
                <a:lnTo>
                  <a:pt x="316" y="3735"/>
                </a:lnTo>
                <a:lnTo>
                  <a:pt x="312" y="3834"/>
                </a:lnTo>
                <a:lnTo>
                  <a:pt x="318" y="3938"/>
                </a:lnTo>
                <a:lnTo>
                  <a:pt x="323" y="3964"/>
                </a:lnTo>
                <a:lnTo>
                  <a:pt x="332" y="3995"/>
                </a:lnTo>
                <a:lnTo>
                  <a:pt x="346" y="4034"/>
                </a:lnTo>
                <a:lnTo>
                  <a:pt x="361" y="4074"/>
                </a:lnTo>
                <a:lnTo>
                  <a:pt x="381" y="4119"/>
                </a:lnTo>
                <a:lnTo>
                  <a:pt x="401" y="4165"/>
                </a:lnTo>
                <a:lnTo>
                  <a:pt x="422" y="4212"/>
                </a:lnTo>
                <a:lnTo>
                  <a:pt x="445" y="4259"/>
                </a:lnTo>
                <a:lnTo>
                  <a:pt x="468" y="4304"/>
                </a:lnTo>
                <a:lnTo>
                  <a:pt x="489" y="4346"/>
                </a:lnTo>
                <a:lnTo>
                  <a:pt x="510" y="4387"/>
                </a:lnTo>
                <a:lnTo>
                  <a:pt x="527" y="4420"/>
                </a:lnTo>
                <a:lnTo>
                  <a:pt x="543" y="4449"/>
                </a:lnTo>
                <a:lnTo>
                  <a:pt x="548" y="4465"/>
                </a:lnTo>
                <a:lnTo>
                  <a:pt x="546" y="4483"/>
                </a:lnTo>
                <a:lnTo>
                  <a:pt x="545" y="4490"/>
                </a:lnTo>
                <a:lnTo>
                  <a:pt x="541" y="4504"/>
                </a:lnTo>
                <a:lnTo>
                  <a:pt x="536" y="4526"/>
                </a:lnTo>
                <a:lnTo>
                  <a:pt x="527" y="4554"/>
                </a:lnTo>
                <a:lnTo>
                  <a:pt x="517" y="4586"/>
                </a:lnTo>
                <a:lnTo>
                  <a:pt x="506" y="4619"/>
                </a:lnTo>
                <a:lnTo>
                  <a:pt x="494" y="4652"/>
                </a:lnTo>
                <a:lnTo>
                  <a:pt x="482" y="4685"/>
                </a:lnTo>
                <a:lnTo>
                  <a:pt x="475" y="4712"/>
                </a:lnTo>
                <a:lnTo>
                  <a:pt x="475" y="4732"/>
                </a:lnTo>
                <a:lnTo>
                  <a:pt x="478" y="4752"/>
                </a:lnTo>
                <a:lnTo>
                  <a:pt x="485" y="4764"/>
                </a:lnTo>
                <a:lnTo>
                  <a:pt x="506" y="4771"/>
                </a:lnTo>
                <a:lnTo>
                  <a:pt x="538" y="4780"/>
                </a:lnTo>
                <a:lnTo>
                  <a:pt x="573" y="4792"/>
                </a:lnTo>
                <a:lnTo>
                  <a:pt x="614" y="4802"/>
                </a:lnTo>
                <a:lnTo>
                  <a:pt x="656" y="4816"/>
                </a:lnTo>
                <a:lnTo>
                  <a:pt x="700" y="4829"/>
                </a:lnTo>
                <a:lnTo>
                  <a:pt x="742" y="4841"/>
                </a:lnTo>
                <a:lnTo>
                  <a:pt x="782" y="4851"/>
                </a:lnTo>
                <a:lnTo>
                  <a:pt x="817" y="4862"/>
                </a:lnTo>
                <a:lnTo>
                  <a:pt x="845" y="4869"/>
                </a:lnTo>
                <a:lnTo>
                  <a:pt x="852" y="4869"/>
                </a:lnTo>
                <a:lnTo>
                  <a:pt x="857" y="4869"/>
                </a:lnTo>
                <a:lnTo>
                  <a:pt x="861" y="4869"/>
                </a:lnTo>
                <a:lnTo>
                  <a:pt x="862" y="4867"/>
                </a:lnTo>
                <a:lnTo>
                  <a:pt x="864" y="4867"/>
                </a:lnTo>
                <a:lnTo>
                  <a:pt x="873" y="4855"/>
                </a:lnTo>
                <a:lnTo>
                  <a:pt x="880" y="4839"/>
                </a:lnTo>
                <a:lnTo>
                  <a:pt x="887" y="4822"/>
                </a:lnTo>
                <a:lnTo>
                  <a:pt x="890" y="4804"/>
                </a:lnTo>
                <a:lnTo>
                  <a:pt x="892" y="4788"/>
                </a:lnTo>
                <a:lnTo>
                  <a:pt x="890" y="4774"/>
                </a:lnTo>
                <a:lnTo>
                  <a:pt x="892" y="4753"/>
                </a:lnTo>
                <a:lnTo>
                  <a:pt x="895" y="4727"/>
                </a:lnTo>
                <a:lnTo>
                  <a:pt x="904" y="4696"/>
                </a:lnTo>
                <a:lnTo>
                  <a:pt x="918" y="4663"/>
                </a:lnTo>
                <a:lnTo>
                  <a:pt x="939" y="4628"/>
                </a:lnTo>
                <a:lnTo>
                  <a:pt x="969" y="4593"/>
                </a:lnTo>
                <a:lnTo>
                  <a:pt x="986" y="4570"/>
                </a:lnTo>
                <a:lnTo>
                  <a:pt x="997" y="4546"/>
                </a:lnTo>
                <a:lnTo>
                  <a:pt x="1002" y="4523"/>
                </a:lnTo>
                <a:lnTo>
                  <a:pt x="1002" y="4502"/>
                </a:lnTo>
                <a:lnTo>
                  <a:pt x="1000" y="4484"/>
                </a:lnTo>
                <a:lnTo>
                  <a:pt x="998" y="4474"/>
                </a:lnTo>
                <a:lnTo>
                  <a:pt x="997" y="4469"/>
                </a:lnTo>
                <a:lnTo>
                  <a:pt x="995" y="4455"/>
                </a:lnTo>
                <a:lnTo>
                  <a:pt x="997" y="4441"/>
                </a:lnTo>
                <a:lnTo>
                  <a:pt x="1004" y="4427"/>
                </a:lnTo>
                <a:lnTo>
                  <a:pt x="1012" y="4416"/>
                </a:lnTo>
                <a:lnTo>
                  <a:pt x="1026" y="4409"/>
                </a:lnTo>
                <a:lnTo>
                  <a:pt x="1040" y="4408"/>
                </a:lnTo>
                <a:lnTo>
                  <a:pt x="1402" y="4401"/>
                </a:lnTo>
                <a:lnTo>
                  <a:pt x="1419" y="4404"/>
                </a:lnTo>
                <a:lnTo>
                  <a:pt x="1433" y="4411"/>
                </a:lnTo>
                <a:lnTo>
                  <a:pt x="1443" y="4425"/>
                </a:lnTo>
                <a:lnTo>
                  <a:pt x="1449" y="4441"/>
                </a:lnTo>
                <a:lnTo>
                  <a:pt x="1449" y="4456"/>
                </a:lnTo>
                <a:lnTo>
                  <a:pt x="1443" y="4472"/>
                </a:lnTo>
                <a:lnTo>
                  <a:pt x="1433" y="4484"/>
                </a:lnTo>
                <a:lnTo>
                  <a:pt x="1419" y="4491"/>
                </a:lnTo>
                <a:lnTo>
                  <a:pt x="1321" y="4526"/>
                </a:lnTo>
                <a:lnTo>
                  <a:pt x="1300" y="4537"/>
                </a:lnTo>
                <a:lnTo>
                  <a:pt x="1285" y="4551"/>
                </a:lnTo>
                <a:lnTo>
                  <a:pt x="1274" y="4565"/>
                </a:lnTo>
                <a:lnTo>
                  <a:pt x="1269" y="4579"/>
                </a:lnTo>
                <a:lnTo>
                  <a:pt x="1265" y="4591"/>
                </a:lnTo>
                <a:lnTo>
                  <a:pt x="1265" y="4601"/>
                </a:lnTo>
                <a:lnTo>
                  <a:pt x="1285" y="4636"/>
                </a:lnTo>
                <a:lnTo>
                  <a:pt x="1306" y="4673"/>
                </a:lnTo>
                <a:lnTo>
                  <a:pt x="1328" y="4712"/>
                </a:lnTo>
                <a:lnTo>
                  <a:pt x="1351" y="4750"/>
                </a:lnTo>
                <a:lnTo>
                  <a:pt x="1374" y="4788"/>
                </a:lnTo>
                <a:lnTo>
                  <a:pt x="1396" y="4823"/>
                </a:lnTo>
                <a:lnTo>
                  <a:pt x="1417" y="4857"/>
                </a:lnTo>
                <a:lnTo>
                  <a:pt x="1437" y="4883"/>
                </a:lnTo>
                <a:lnTo>
                  <a:pt x="1454" y="4904"/>
                </a:lnTo>
                <a:lnTo>
                  <a:pt x="1466" y="4918"/>
                </a:lnTo>
                <a:lnTo>
                  <a:pt x="1487" y="4912"/>
                </a:lnTo>
                <a:lnTo>
                  <a:pt x="1510" y="4898"/>
                </a:lnTo>
                <a:lnTo>
                  <a:pt x="1534" y="4879"/>
                </a:lnTo>
                <a:lnTo>
                  <a:pt x="1559" y="4857"/>
                </a:lnTo>
                <a:lnTo>
                  <a:pt x="1580" y="4832"/>
                </a:lnTo>
                <a:lnTo>
                  <a:pt x="1601" y="4806"/>
                </a:lnTo>
                <a:lnTo>
                  <a:pt x="1608" y="4795"/>
                </a:lnTo>
                <a:lnTo>
                  <a:pt x="1620" y="4783"/>
                </a:lnTo>
                <a:lnTo>
                  <a:pt x="1635" y="4769"/>
                </a:lnTo>
                <a:lnTo>
                  <a:pt x="1655" y="4750"/>
                </a:lnTo>
                <a:lnTo>
                  <a:pt x="1679" y="4727"/>
                </a:lnTo>
                <a:lnTo>
                  <a:pt x="1718" y="4691"/>
                </a:lnTo>
                <a:lnTo>
                  <a:pt x="1759" y="4650"/>
                </a:lnTo>
                <a:lnTo>
                  <a:pt x="1805" y="4607"/>
                </a:lnTo>
                <a:lnTo>
                  <a:pt x="1850" y="4558"/>
                </a:lnTo>
                <a:lnTo>
                  <a:pt x="1896" y="4509"/>
                </a:lnTo>
                <a:lnTo>
                  <a:pt x="1936" y="4456"/>
                </a:lnTo>
                <a:lnTo>
                  <a:pt x="1972" y="4406"/>
                </a:lnTo>
                <a:lnTo>
                  <a:pt x="1999" y="4359"/>
                </a:lnTo>
                <a:lnTo>
                  <a:pt x="2021" y="4311"/>
                </a:lnTo>
                <a:lnTo>
                  <a:pt x="2040" y="4263"/>
                </a:lnTo>
                <a:lnTo>
                  <a:pt x="2054" y="4214"/>
                </a:lnTo>
                <a:lnTo>
                  <a:pt x="2067" y="4168"/>
                </a:lnTo>
                <a:lnTo>
                  <a:pt x="2075" y="4126"/>
                </a:lnTo>
                <a:lnTo>
                  <a:pt x="2082" y="4088"/>
                </a:lnTo>
                <a:lnTo>
                  <a:pt x="2086" y="4056"/>
                </a:lnTo>
                <a:lnTo>
                  <a:pt x="2089" y="4032"/>
                </a:lnTo>
                <a:lnTo>
                  <a:pt x="2091" y="4014"/>
                </a:lnTo>
                <a:lnTo>
                  <a:pt x="2091" y="4009"/>
                </a:lnTo>
                <a:lnTo>
                  <a:pt x="2095" y="3993"/>
                </a:lnTo>
                <a:lnTo>
                  <a:pt x="2105" y="3979"/>
                </a:lnTo>
                <a:lnTo>
                  <a:pt x="2119" y="3969"/>
                </a:lnTo>
                <a:lnTo>
                  <a:pt x="2135" y="3966"/>
                </a:lnTo>
                <a:lnTo>
                  <a:pt x="2150" y="3967"/>
                </a:lnTo>
                <a:lnTo>
                  <a:pt x="2166" y="3974"/>
                </a:lnTo>
                <a:lnTo>
                  <a:pt x="2264" y="4049"/>
                </a:lnTo>
                <a:lnTo>
                  <a:pt x="2269" y="4053"/>
                </a:lnTo>
                <a:lnTo>
                  <a:pt x="2280" y="4062"/>
                </a:lnTo>
                <a:lnTo>
                  <a:pt x="2295" y="4074"/>
                </a:lnTo>
                <a:lnTo>
                  <a:pt x="2314" y="4088"/>
                </a:lnTo>
                <a:lnTo>
                  <a:pt x="2339" y="4104"/>
                </a:lnTo>
                <a:lnTo>
                  <a:pt x="2337" y="4100"/>
                </a:lnTo>
                <a:lnTo>
                  <a:pt x="2335" y="4097"/>
                </a:lnTo>
                <a:lnTo>
                  <a:pt x="2321" y="4074"/>
                </a:lnTo>
                <a:lnTo>
                  <a:pt x="2314" y="4049"/>
                </a:lnTo>
                <a:lnTo>
                  <a:pt x="2314" y="4021"/>
                </a:lnTo>
                <a:lnTo>
                  <a:pt x="2318" y="3992"/>
                </a:lnTo>
                <a:lnTo>
                  <a:pt x="2325" y="3960"/>
                </a:lnTo>
                <a:lnTo>
                  <a:pt x="2335" y="3929"/>
                </a:lnTo>
                <a:lnTo>
                  <a:pt x="2346" y="3897"/>
                </a:lnTo>
                <a:lnTo>
                  <a:pt x="2351" y="3876"/>
                </a:lnTo>
                <a:lnTo>
                  <a:pt x="2351" y="3852"/>
                </a:lnTo>
                <a:lnTo>
                  <a:pt x="2348" y="3831"/>
                </a:lnTo>
                <a:lnTo>
                  <a:pt x="2346" y="3817"/>
                </a:lnTo>
                <a:lnTo>
                  <a:pt x="2344" y="3800"/>
                </a:lnTo>
                <a:lnTo>
                  <a:pt x="2349" y="3782"/>
                </a:lnTo>
                <a:lnTo>
                  <a:pt x="2362" y="3768"/>
                </a:lnTo>
                <a:lnTo>
                  <a:pt x="2377" y="3759"/>
                </a:lnTo>
                <a:lnTo>
                  <a:pt x="2395" y="3758"/>
                </a:lnTo>
                <a:lnTo>
                  <a:pt x="2412" y="3763"/>
                </a:lnTo>
                <a:lnTo>
                  <a:pt x="2470" y="3793"/>
                </a:lnTo>
                <a:lnTo>
                  <a:pt x="2520" y="3817"/>
                </a:lnTo>
                <a:lnTo>
                  <a:pt x="2564" y="3836"/>
                </a:lnTo>
                <a:lnTo>
                  <a:pt x="2602" y="3852"/>
                </a:lnTo>
                <a:lnTo>
                  <a:pt x="2632" y="3862"/>
                </a:lnTo>
                <a:lnTo>
                  <a:pt x="2657" y="3871"/>
                </a:lnTo>
                <a:lnTo>
                  <a:pt x="2672" y="3876"/>
                </a:lnTo>
                <a:lnTo>
                  <a:pt x="2683" y="3878"/>
                </a:lnTo>
                <a:lnTo>
                  <a:pt x="2686" y="3880"/>
                </a:lnTo>
                <a:lnTo>
                  <a:pt x="2688" y="3880"/>
                </a:lnTo>
                <a:lnTo>
                  <a:pt x="2690" y="3880"/>
                </a:lnTo>
                <a:lnTo>
                  <a:pt x="2690" y="3880"/>
                </a:lnTo>
                <a:lnTo>
                  <a:pt x="2691" y="3880"/>
                </a:lnTo>
                <a:lnTo>
                  <a:pt x="2697" y="3882"/>
                </a:lnTo>
                <a:lnTo>
                  <a:pt x="2712" y="3887"/>
                </a:lnTo>
                <a:lnTo>
                  <a:pt x="2735" y="3890"/>
                </a:lnTo>
                <a:lnTo>
                  <a:pt x="2765" y="3896"/>
                </a:lnTo>
                <a:lnTo>
                  <a:pt x="2801" y="3901"/>
                </a:lnTo>
                <a:lnTo>
                  <a:pt x="2842" y="3903"/>
                </a:lnTo>
                <a:lnTo>
                  <a:pt x="2887" y="3904"/>
                </a:lnTo>
                <a:lnTo>
                  <a:pt x="2934" y="3899"/>
                </a:lnTo>
                <a:lnTo>
                  <a:pt x="2985" y="3892"/>
                </a:lnTo>
                <a:lnTo>
                  <a:pt x="3035" y="3878"/>
                </a:lnTo>
                <a:lnTo>
                  <a:pt x="3084" y="3857"/>
                </a:lnTo>
                <a:lnTo>
                  <a:pt x="3133" y="3829"/>
                </a:lnTo>
                <a:lnTo>
                  <a:pt x="3182" y="3791"/>
                </a:lnTo>
                <a:lnTo>
                  <a:pt x="3224" y="3749"/>
                </a:lnTo>
                <a:lnTo>
                  <a:pt x="3257" y="3703"/>
                </a:lnTo>
                <a:lnTo>
                  <a:pt x="3283" y="3655"/>
                </a:lnTo>
                <a:lnTo>
                  <a:pt x="3304" y="3604"/>
                </a:lnTo>
                <a:lnTo>
                  <a:pt x="3320" y="3553"/>
                </a:lnTo>
                <a:lnTo>
                  <a:pt x="3332" y="3501"/>
                </a:lnTo>
                <a:lnTo>
                  <a:pt x="3341" y="3448"/>
                </a:lnTo>
                <a:lnTo>
                  <a:pt x="3346" y="3398"/>
                </a:lnTo>
                <a:lnTo>
                  <a:pt x="3351" y="3349"/>
                </a:lnTo>
                <a:lnTo>
                  <a:pt x="3355" y="3302"/>
                </a:lnTo>
                <a:lnTo>
                  <a:pt x="3355" y="3256"/>
                </a:lnTo>
                <a:lnTo>
                  <a:pt x="3353" y="3207"/>
                </a:lnTo>
                <a:lnTo>
                  <a:pt x="3346" y="3158"/>
                </a:lnTo>
                <a:lnTo>
                  <a:pt x="3339" y="3108"/>
                </a:lnTo>
                <a:lnTo>
                  <a:pt x="3329" y="3061"/>
                </a:lnTo>
                <a:lnTo>
                  <a:pt x="3318" y="3013"/>
                </a:lnTo>
                <a:lnTo>
                  <a:pt x="3308" y="2970"/>
                </a:lnTo>
                <a:lnTo>
                  <a:pt x="3297" y="2933"/>
                </a:lnTo>
                <a:lnTo>
                  <a:pt x="3287" y="2900"/>
                </a:lnTo>
                <a:lnTo>
                  <a:pt x="3278" y="2875"/>
                </a:lnTo>
                <a:lnTo>
                  <a:pt x="3271" y="2858"/>
                </a:lnTo>
                <a:lnTo>
                  <a:pt x="3264" y="2847"/>
                </a:lnTo>
                <a:lnTo>
                  <a:pt x="3254" y="2839"/>
                </a:lnTo>
                <a:lnTo>
                  <a:pt x="3240" y="2828"/>
                </a:lnTo>
                <a:lnTo>
                  <a:pt x="3224" y="2821"/>
                </a:lnTo>
                <a:lnTo>
                  <a:pt x="3212" y="2816"/>
                </a:lnTo>
                <a:lnTo>
                  <a:pt x="3201" y="2814"/>
                </a:lnTo>
                <a:lnTo>
                  <a:pt x="3191" y="2821"/>
                </a:lnTo>
                <a:lnTo>
                  <a:pt x="3177" y="2833"/>
                </a:lnTo>
                <a:lnTo>
                  <a:pt x="3163" y="2851"/>
                </a:lnTo>
                <a:lnTo>
                  <a:pt x="3149" y="2868"/>
                </a:lnTo>
                <a:lnTo>
                  <a:pt x="3133" y="2889"/>
                </a:lnTo>
                <a:lnTo>
                  <a:pt x="3128" y="2896"/>
                </a:lnTo>
                <a:lnTo>
                  <a:pt x="3105" y="2921"/>
                </a:lnTo>
                <a:lnTo>
                  <a:pt x="3081" y="2942"/>
                </a:lnTo>
                <a:lnTo>
                  <a:pt x="3056" y="2957"/>
                </a:lnTo>
                <a:lnTo>
                  <a:pt x="3032" y="2971"/>
                </a:lnTo>
                <a:lnTo>
                  <a:pt x="3009" y="2982"/>
                </a:lnTo>
                <a:lnTo>
                  <a:pt x="2992" y="2991"/>
                </a:lnTo>
                <a:lnTo>
                  <a:pt x="2973" y="2996"/>
                </a:lnTo>
                <a:lnTo>
                  <a:pt x="2955" y="2998"/>
                </a:lnTo>
                <a:lnTo>
                  <a:pt x="2950" y="3001"/>
                </a:lnTo>
                <a:lnTo>
                  <a:pt x="2946" y="3005"/>
                </a:lnTo>
                <a:lnTo>
                  <a:pt x="2943" y="3008"/>
                </a:lnTo>
                <a:lnTo>
                  <a:pt x="2941" y="3010"/>
                </a:lnTo>
                <a:lnTo>
                  <a:pt x="2943" y="3012"/>
                </a:lnTo>
                <a:lnTo>
                  <a:pt x="2945" y="3015"/>
                </a:lnTo>
                <a:lnTo>
                  <a:pt x="2946" y="3020"/>
                </a:lnTo>
                <a:lnTo>
                  <a:pt x="2952" y="3038"/>
                </a:lnTo>
                <a:lnTo>
                  <a:pt x="2957" y="3059"/>
                </a:lnTo>
                <a:lnTo>
                  <a:pt x="2960" y="3083"/>
                </a:lnTo>
                <a:lnTo>
                  <a:pt x="2964" y="3113"/>
                </a:lnTo>
                <a:lnTo>
                  <a:pt x="2967" y="3148"/>
                </a:lnTo>
                <a:lnTo>
                  <a:pt x="2967" y="3188"/>
                </a:lnTo>
                <a:lnTo>
                  <a:pt x="2964" y="3235"/>
                </a:lnTo>
                <a:lnTo>
                  <a:pt x="2957" y="3288"/>
                </a:lnTo>
                <a:lnTo>
                  <a:pt x="2946" y="3349"/>
                </a:lnTo>
                <a:lnTo>
                  <a:pt x="2931" y="3417"/>
                </a:lnTo>
                <a:lnTo>
                  <a:pt x="2924" y="3431"/>
                </a:lnTo>
                <a:lnTo>
                  <a:pt x="2911" y="3440"/>
                </a:lnTo>
                <a:lnTo>
                  <a:pt x="2896" y="3443"/>
                </a:lnTo>
                <a:lnTo>
                  <a:pt x="2887" y="3443"/>
                </a:lnTo>
                <a:lnTo>
                  <a:pt x="2875" y="3436"/>
                </a:lnTo>
                <a:lnTo>
                  <a:pt x="2864" y="3426"/>
                </a:lnTo>
                <a:lnTo>
                  <a:pt x="2861" y="3413"/>
                </a:lnTo>
                <a:lnTo>
                  <a:pt x="2861" y="3399"/>
                </a:lnTo>
                <a:lnTo>
                  <a:pt x="2875" y="3340"/>
                </a:lnTo>
                <a:lnTo>
                  <a:pt x="2885" y="3288"/>
                </a:lnTo>
                <a:lnTo>
                  <a:pt x="2890" y="3242"/>
                </a:lnTo>
                <a:lnTo>
                  <a:pt x="2894" y="3202"/>
                </a:lnTo>
                <a:lnTo>
                  <a:pt x="2896" y="3165"/>
                </a:lnTo>
                <a:lnTo>
                  <a:pt x="2887" y="3164"/>
                </a:lnTo>
                <a:lnTo>
                  <a:pt x="2877" y="3162"/>
                </a:lnTo>
                <a:lnTo>
                  <a:pt x="2870" y="3160"/>
                </a:lnTo>
                <a:lnTo>
                  <a:pt x="2859" y="3162"/>
                </a:lnTo>
                <a:lnTo>
                  <a:pt x="2847" y="3165"/>
                </a:lnTo>
                <a:lnTo>
                  <a:pt x="2835" y="3174"/>
                </a:lnTo>
                <a:lnTo>
                  <a:pt x="2826" y="3190"/>
                </a:lnTo>
                <a:lnTo>
                  <a:pt x="2817" y="3211"/>
                </a:lnTo>
                <a:lnTo>
                  <a:pt x="2810" y="3235"/>
                </a:lnTo>
                <a:lnTo>
                  <a:pt x="2803" y="3261"/>
                </a:lnTo>
                <a:lnTo>
                  <a:pt x="2798" y="3286"/>
                </a:lnTo>
                <a:lnTo>
                  <a:pt x="2794" y="3309"/>
                </a:lnTo>
                <a:lnTo>
                  <a:pt x="2791" y="3328"/>
                </a:lnTo>
                <a:lnTo>
                  <a:pt x="2787" y="3340"/>
                </a:lnTo>
                <a:lnTo>
                  <a:pt x="2787" y="3344"/>
                </a:lnTo>
                <a:lnTo>
                  <a:pt x="2782" y="3358"/>
                </a:lnTo>
                <a:lnTo>
                  <a:pt x="2772" y="3366"/>
                </a:lnTo>
                <a:lnTo>
                  <a:pt x="2758" y="3370"/>
                </a:lnTo>
                <a:lnTo>
                  <a:pt x="2753" y="3368"/>
                </a:lnTo>
                <a:lnTo>
                  <a:pt x="2739" y="3363"/>
                </a:lnTo>
                <a:lnTo>
                  <a:pt x="2730" y="3351"/>
                </a:lnTo>
                <a:lnTo>
                  <a:pt x="2728" y="3335"/>
                </a:lnTo>
                <a:lnTo>
                  <a:pt x="2730" y="3328"/>
                </a:lnTo>
                <a:lnTo>
                  <a:pt x="2732" y="3314"/>
                </a:lnTo>
                <a:lnTo>
                  <a:pt x="2735" y="3295"/>
                </a:lnTo>
                <a:lnTo>
                  <a:pt x="2740" y="3272"/>
                </a:lnTo>
                <a:lnTo>
                  <a:pt x="2747" y="3246"/>
                </a:lnTo>
                <a:lnTo>
                  <a:pt x="2754" y="3218"/>
                </a:lnTo>
                <a:lnTo>
                  <a:pt x="2761" y="3192"/>
                </a:lnTo>
                <a:lnTo>
                  <a:pt x="2770" y="3167"/>
                </a:lnTo>
                <a:lnTo>
                  <a:pt x="2774" y="3160"/>
                </a:lnTo>
                <a:lnTo>
                  <a:pt x="2777" y="3153"/>
                </a:lnTo>
                <a:lnTo>
                  <a:pt x="2774" y="3155"/>
                </a:lnTo>
                <a:lnTo>
                  <a:pt x="2770" y="3155"/>
                </a:lnTo>
                <a:lnTo>
                  <a:pt x="2767" y="3155"/>
                </a:lnTo>
                <a:lnTo>
                  <a:pt x="2751" y="3164"/>
                </a:lnTo>
                <a:lnTo>
                  <a:pt x="2737" y="3179"/>
                </a:lnTo>
                <a:lnTo>
                  <a:pt x="2721" y="3200"/>
                </a:lnTo>
                <a:lnTo>
                  <a:pt x="2709" y="3223"/>
                </a:lnTo>
                <a:lnTo>
                  <a:pt x="2697" y="3247"/>
                </a:lnTo>
                <a:lnTo>
                  <a:pt x="2688" y="3268"/>
                </a:lnTo>
                <a:lnTo>
                  <a:pt x="2681" y="3279"/>
                </a:lnTo>
                <a:lnTo>
                  <a:pt x="2672" y="3286"/>
                </a:lnTo>
                <a:lnTo>
                  <a:pt x="2660" y="3288"/>
                </a:lnTo>
                <a:lnTo>
                  <a:pt x="2655" y="3288"/>
                </a:lnTo>
                <a:lnTo>
                  <a:pt x="2650" y="3286"/>
                </a:lnTo>
                <a:lnTo>
                  <a:pt x="2637" y="3277"/>
                </a:lnTo>
                <a:lnTo>
                  <a:pt x="2630" y="3265"/>
                </a:lnTo>
                <a:lnTo>
                  <a:pt x="2632" y="3249"/>
                </a:lnTo>
                <a:lnTo>
                  <a:pt x="2637" y="3237"/>
                </a:lnTo>
                <a:lnTo>
                  <a:pt x="2644" y="3220"/>
                </a:lnTo>
                <a:lnTo>
                  <a:pt x="2655" y="3197"/>
                </a:lnTo>
                <a:lnTo>
                  <a:pt x="2667" y="3172"/>
                </a:lnTo>
                <a:lnTo>
                  <a:pt x="2685" y="3150"/>
                </a:lnTo>
                <a:lnTo>
                  <a:pt x="2704" y="3127"/>
                </a:lnTo>
                <a:lnTo>
                  <a:pt x="2725" y="3109"/>
                </a:lnTo>
                <a:lnTo>
                  <a:pt x="2749" y="3097"/>
                </a:lnTo>
                <a:lnTo>
                  <a:pt x="2775" y="3094"/>
                </a:lnTo>
                <a:lnTo>
                  <a:pt x="2805" y="3092"/>
                </a:lnTo>
                <a:lnTo>
                  <a:pt x="2835" y="3094"/>
                </a:lnTo>
                <a:lnTo>
                  <a:pt x="2864" y="3099"/>
                </a:lnTo>
                <a:lnTo>
                  <a:pt x="2890" y="3104"/>
                </a:lnTo>
                <a:lnTo>
                  <a:pt x="2885" y="3068"/>
                </a:lnTo>
                <a:lnTo>
                  <a:pt x="2878" y="3041"/>
                </a:lnTo>
                <a:lnTo>
                  <a:pt x="2850" y="3043"/>
                </a:lnTo>
                <a:lnTo>
                  <a:pt x="2826" y="3048"/>
                </a:lnTo>
                <a:lnTo>
                  <a:pt x="2805" y="3055"/>
                </a:lnTo>
                <a:lnTo>
                  <a:pt x="2791" y="3062"/>
                </a:lnTo>
                <a:lnTo>
                  <a:pt x="2781" y="3069"/>
                </a:lnTo>
                <a:lnTo>
                  <a:pt x="2777" y="3071"/>
                </a:lnTo>
                <a:lnTo>
                  <a:pt x="2772" y="3075"/>
                </a:lnTo>
                <a:lnTo>
                  <a:pt x="2767" y="3075"/>
                </a:lnTo>
                <a:lnTo>
                  <a:pt x="2761" y="3075"/>
                </a:lnTo>
                <a:lnTo>
                  <a:pt x="2756" y="3073"/>
                </a:lnTo>
                <a:lnTo>
                  <a:pt x="2753" y="3068"/>
                </a:lnTo>
                <a:lnTo>
                  <a:pt x="2749" y="3064"/>
                </a:lnTo>
                <a:lnTo>
                  <a:pt x="2749" y="3059"/>
                </a:lnTo>
                <a:lnTo>
                  <a:pt x="2749" y="3054"/>
                </a:lnTo>
                <a:lnTo>
                  <a:pt x="2751" y="3048"/>
                </a:lnTo>
                <a:lnTo>
                  <a:pt x="2754" y="3043"/>
                </a:lnTo>
                <a:lnTo>
                  <a:pt x="2760" y="3040"/>
                </a:lnTo>
                <a:lnTo>
                  <a:pt x="2770" y="3033"/>
                </a:lnTo>
                <a:lnTo>
                  <a:pt x="2787" y="3024"/>
                </a:lnTo>
                <a:lnTo>
                  <a:pt x="2810" y="3015"/>
                </a:lnTo>
                <a:lnTo>
                  <a:pt x="2808" y="3008"/>
                </a:lnTo>
                <a:lnTo>
                  <a:pt x="2805" y="3003"/>
                </a:lnTo>
                <a:lnTo>
                  <a:pt x="2800" y="2998"/>
                </a:lnTo>
                <a:lnTo>
                  <a:pt x="2794" y="2992"/>
                </a:lnTo>
                <a:lnTo>
                  <a:pt x="2787" y="2991"/>
                </a:lnTo>
                <a:lnTo>
                  <a:pt x="2772" y="2991"/>
                </a:lnTo>
                <a:lnTo>
                  <a:pt x="2760" y="2998"/>
                </a:lnTo>
                <a:lnTo>
                  <a:pt x="2751" y="3008"/>
                </a:lnTo>
                <a:lnTo>
                  <a:pt x="2747" y="2989"/>
                </a:lnTo>
                <a:lnTo>
                  <a:pt x="2749" y="2968"/>
                </a:lnTo>
                <a:lnTo>
                  <a:pt x="2749" y="2966"/>
                </a:lnTo>
                <a:lnTo>
                  <a:pt x="2751" y="2964"/>
                </a:lnTo>
                <a:lnTo>
                  <a:pt x="2749" y="2966"/>
                </a:lnTo>
                <a:lnTo>
                  <a:pt x="2747" y="2966"/>
                </a:lnTo>
                <a:lnTo>
                  <a:pt x="2744" y="2968"/>
                </a:lnTo>
                <a:lnTo>
                  <a:pt x="2739" y="2968"/>
                </a:lnTo>
                <a:lnTo>
                  <a:pt x="2733" y="2968"/>
                </a:lnTo>
                <a:lnTo>
                  <a:pt x="2728" y="2964"/>
                </a:lnTo>
                <a:lnTo>
                  <a:pt x="2723" y="2959"/>
                </a:lnTo>
                <a:lnTo>
                  <a:pt x="2721" y="2954"/>
                </a:lnTo>
                <a:lnTo>
                  <a:pt x="2721" y="2949"/>
                </a:lnTo>
                <a:lnTo>
                  <a:pt x="2723" y="2943"/>
                </a:lnTo>
                <a:lnTo>
                  <a:pt x="2725" y="2938"/>
                </a:lnTo>
                <a:lnTo>
                  <a:pt x="2730" y="2935"/>
                </a:lnTo>
                <a:lnTo>
                  <a:pt x="2735" y="2933"/>
                </a:lnTo>
                <a:lnTo>
                  <a:pt x="2747" y="2926"/>
                </a:lnTo>
                <a:lnTo>
                  <a:pt x="2765" y="2921"/>
                </a:lnTo>
                <a:lnTo>
                  <a:pt x="2787" y="2914"/>
                </a:lnTo>
                <a:lnTo>
                  <a:pt x="2815" y="2910"/>
                </a:lnTo>
                <a:lnTo>
                  <a:pt x="2847" y="2909"/>
                </a:lnTo>
                <a:lnTo>
                  <a:pt x="2878" y="2914"/>
                </a:lnTo>
                <a:lnTo>
                  <a:pt x="2843" y="2860"/>
                </a:lnTo>
                <a:lnTo>
                  <a:pt x="2808" y="2814"/>
                </a:lnTo>
                <a:lnTo>
                  <a:pt x="2775" y="2779"/>
                </a:lnTo>
                <a:lnTo>
                  <a:pt x="2746" y="2750"/>
                </a:lnTo>
                <a:lnTo>
                  <a:pt x="2718" y="2727"/>
                </a:lnTo>
                <a:lnTo>
                  <a:pt x="2693" y="2709"/>
                </a:lnTo>
                <a:lnTo>
                  <a:pt x="2672" y="2697"/>
                </a:lnTo>
                <a:lnTo>
                  <a:pt x="2660" y="2688"/>
                </a:lnTo>
                <a:lnTo>
                  <a:pt x="2650" y="2681"/>
                </a:lnTo>
                <a:lnTo>
                  <a:pt x="2643" y="2676"/>
                </a:lnTo>
                <a:lnTo>
                  <a:pt x="2630" y="2667"/>
                </a:lnTo>
                <a:lnTo>
                  <a:pt x="2615" y="2655"/>
                </a:lnTo>
                <a:lnTo>
                  <a:pt x="2590" y="2636"/>
                </a:lnTo>
                <a:lnTo>
                  <a:pt x="2559" y="2613"/>
                </a:lnTo>
                <a:lnTo>
                  <a:pt x="2524" y="2587"/>
                </a:lnTo>
                <a:lnTo>
                  <a:pt x="2487" y="2561"/>
                </a:lnTo>
                <a:lnTo>
                  <a:pt x="2447" y="2531"/>
                </a:lnTo>
                <a:lnTo>
                  <a:pt x="2405" y="2503"/>
                </a:lnTo>
                <a:lnTo>
                  <a:pt x="2365" y="2475"/>
                </a:lnTo>
                <a:lnTo>
                  <a:pt x="2325" y="2451"/>
                </a:lnTo>
                <a:lnTo>
                  <a:pt x="2288" y="2430"/>
                </a:lnTo>
                <a:lnTo>
                  <a:pt x="2255" y="2412"/>
                </a:lnTo>
                <a:lnTo>
                  <a:pt x="2227" y="2400"/>
                </a:lnTo>
                <a:lnTo>
                  <a:pt x="2182" y="2390"/>
                </a:lnTo>
                <a:lnTo>
                  <a:pt x="2135" y="2386"/>
                </a:lnTo>
                <a:close/>
                <a:moveTo>
                  <a:pt x="2575" y="2337"/>
                </a:moveTo>
                <a:lnTo>
                  <a:pt x="2575" y="2484"/>
                </a:lnTo>
                <a:lnTo>
                  <a:pt x="2573" y="2491"/>
                </a:lnTo>
                <a:lnTo>
                  <a:pt x="2573" y="2498"/>
                </a:lnTo>
                <a:lnTo>
                  <a:pt x="2569" y="2505"/>
                </a:lnTo>
                <a:lnTo>
                  <a:pt x="2608" y="2533"/>
                </a:lnTo>
                <a:lnTo>
                  <a:pt x="2643" y="2559"/>
                </a:lnTo>
                <a:lnTo>
                  <a:pt x="2672" y="2582"/>
                </a:lnTo>
                <a:lnTo>
                  <a:pt x="2686" y="2592"/>
                </a:lnTo>
                <a:lnTo>
                  <a:pt x="2697" y="2601"/>
                </a:lnTo>
                <a:lnTo>
                  <a:pt x="2704" y="2606"/>
                </a:lnTo>
                <a:lnTo>
                  <a:pt x="2712" y="2612"/>
                </a:lnTo>
                <a:lnTo>
                  <a:pt x="2723" y="2619"/>
                </a:lnTo>
                <a:lnTo>
                  <a:pt x="2744" y="2633"/>
                </a:lnTo>
                <a:lnTo>
                  <a:pt x="2770" y="2648"/>
                </a:lnTo>
                <a:lnTo>
                  <a:pt x="2798" y="2671"/>
                </a:lnTo>
                <a:lnTo>
                  <a:pt x="2829" y="2699"/>
                </a:lnTo>
                <a:lnTo>
                  <a:pt x="2863" y="2734"/>
                </a:lnTo>
                <a:lnTo>
                  <a:pt x="2897" y="2774"/>
                </a:lnTo>
                <a:lnTo>
                  <a:pt x="2934" y="2825"/>
                </a:lnTo>
                <a:lnTo>
                  <a:pt x="2971" y="2884"/>
                </a:lnTo>
                <a:lnTo>
                  <a:pt x="2973" y="2889"/>
                </a:lnTo>
                <a:lnTo>
                  <a:pt x="2974" y="2895"/>
                </a:lnTo>
                <a:lnTo>
                  <a:pt x="2995" y="2884"/>
                </a:lnTo>
                <a:lnTo>
                  <a:pt x="3016" y="2872"/>
                </a:lnTo>
                <a:lnTo>
                  <a:pt x="3037" y="2858"/>
                </a:lnTo>
                <a:lnTo>
                  <a:pt x="3053" y="2840"/>
                </a:lnTo>
                <a:lnTo>
                  <a:pt x="3058" y="2833"/>
                </a:lnTo>
                <a:lnTo>
                  <a:pt x="3081" y="2804"/>
                </a:lnTo>
                <a:lnTo>
                  <a:pt x="3102" y="2779"/>
                </a:lnTo>
                <a:lnTo>
                  <a:pt x="3124" y="2757"/>
                </a:lnTo>
                <a:lnTo>
                  <a:pt x="3147" y="2739"/>
                </a:lnTo>
                <a:lnTo>
                  <a:pt x="3173" y="2725"/>
                </a:lnTo>
                <a:lnTo>
                  <a:pt x="3203" y="2722"/>
                </a:lnTo>
                <a:lnTo>
                  <a:pt x="3233" y="2725"/>
                </a:lnTo>
                <a:lnTo>
                  <a:pt x="3264" y="2737"/>
                </a:lnTo>
                <a:lnTo>
                  <a:pt x="3294" y="2753"/>
                </a:lnTo>
                <a:lnTo>
                  <a:pt x="3322" y="2774"/>
                </a:lnTo>
                <a:lnTo>
                  <a:pt x="3343" y="2797"/>
                </a:lnTo>
                <a:lnTo>
                  <a:pt x="3358" y="2821"/>
                </a:lnTo>
                <a:lnTo>
                  <a:pt x="3362" y="2833"/>
                </a:lnTo>
                <a:lnTo>
                  <a:pt x="3370" y="2854"/>
                </a:lnTo>
                <a:lnTo>
                  <a:pt x="3379" y="2882"/>
                </a:lnTo>
                <a:lnTo>
                  <a:pt x="3390" y="2917"/>
                </a:lnTo>
                <a:lnTo>
                  <a:pt x="3400" y="2956"/>
                </a:lnTo>
                <a:lnTo>
                  <a:pt x="3412" y="3001"/>
                </a:lnTo>
                <a:lnTo>
                  <a:pt x="3423" y="3048"/>
                </a:lnTo>
                <a:lnTo>
                  <a:pt x="3432" y="3097"/>
                </a:lnTo>
                <a:lnTo>
                  <a:pt x="4020" y="3097"/>
                </a:lnTo>
                <a:lnTo>
                  <a:pt x="4041" y="3101"/>
                </a:lnTo>
                <a:lnTo>
                  <a:pt x="4060" y="3111"/>
                </a:lnTo>
                <a:lnTo>
                  <a:pt x="4074" y="3125"/>
                </a:lnTo>
                <a:lnTo>
                  <a:pt x="4084" y="3144"/>
                </a:lnTo>
                <a:lnTo>
                  <a:pt x="4088" y="3167"/>
                </a:lnTo>
                <a:lnTo>
                  <a:pt x="4084" y="3188"/>
                </a:lnTo>
                <a:lnTo>
                  <a:pt x="4074" y="3207"/>
                </a:lnTo>
                <a:lnTo>
                  <a:pt x="4060" y="3221"/>
                </a:lnTo>
                <a:lnTo>
                  <a:pt x="4041" y="3232"/>
                </a:lnTo>
                <a:lnTo>
                  <a:pt x="4020" y="3235"/>
                </a:lnTo>
                <a:lnTo>
                  <a:pt x="3447" y="3235"/>
                </a:lnTo>
                <a:lnTo>
                  <a:pt x="3449" y="3272"/>
                </a:lnTo>
                <a:lnTo>
                  <a:pt x="3447" y="3307"/>
                </a:lnTo>
                <a:lnTo>
                  <a:pt x="3444" y="3354"/>
                </a:lnTo>
                <a:lnTo>
                  <a:pt x="3440" y="3401"/>
                </a:lnTo>
                <a:lnTo>
                  <a:pt x="3435" y="3454"/>
                </a:lnTo>
                <a:lnTo>
                  <a:pt x="3426" y="3506"/>
                </a:lnTo>
                <a:lnTo>
                  <a:pt x="3414" y="3560"/>
                </a:lnTo>
                <a:lnTo>
                  <a:pt x="3400" y="3614"/>
                </a:lnTo>
                <a:lnTo>
                  <a:pt x="3379" y="3667"/>
                </a:lnTo>
                <a:lnTo>
                  <a:pt x="3355" y="3721"/>
                </a:lnTo>
                <a:lnTo>
                  <a:pt x="3323" y="3772"/>
                </a:lnTo>
                <a:lnTo>
                  <a:pt x="3285" y="3819"/>
                </a:lnTo>
                <a:lnTo>
                  <a:pt x="3240" y="3864"/>
                </a:lnTo>
                <a:lnTo>
                  <a:pt x="3185" y="3906"/>
                </a:lnTo>
                <a:lnTo>
                  <a:pt x="3128" y="3939"/>
                </a:lnTo>
                <a:lnTo>
                  <a:pt x="3070" y="3964"/>
                </a:lnTo>
                <a:lnTo>
                  <a:pt x="3013" y="3981"/>
                </a:lnTo>
                <a:lnTo>
                  <a:pt x="2955" y="3992"/>
                </a:lnTo>
                <a:lnTo>
                  <a:pt x="2901" y="3997"/>
                </a:lnTo>
                <a:lnTo>
                  <a:pt x="2849" y="3997"/>
                </a:lnTo>
                <a:lnTo>
                  <a:pt x="2801" y="3995"/>
                </a:lnTo>
                <a:lnTo>
                  <a:pt x="2758" y="3990"/>
                </a:lnTo>
                <a:lnTo>
                  <a:pt x="2723" y="3985"/>
                </a:lnTo>
                <a:lnTo>
                  <a:pt x="2718" y="4014"/>
                </a:lnTo>
                <a:lnTo>
                  <a:pt x="2711" y="4046"/>
                </a:lnTo>
                <a:lnTo>
                  <a:pt x="2698" y="4077"/>
                </a:lnTo>
                <a:lnTo>
                  <a:pt x="2683" y="4107"/>
                </a:lnTo>
                <a:lnTo>
                  <a:pt x="2664" y="4137"/>
                </a:lnTo>
                <a:lnTo>
                  <a:pt x="2639" y="4163"/>
                </a:lnTo>
                <a:lnTo>
                  <a:pt x="2609" y="4187"/>
                </a:lnTo>
                <a:lnTo>
                  <a:pt x="2575" y="4207"/>
                </a:lnTo>
                <a:lnTo>
                  <a:pt x="2575" y="4507"/>
                </a:lnTo>
                <a:lnTo>
                  <a:pt x="2578" y="4558"/>
                </a:lnTo>
                <a:lnTo>
                  <a:pt x="2592" y="4605"/>
                </a:lnTo>
                <a:lnTo>
                  <a:pt x="2613" y="4649"/>
                </a:lnTo>
                <a:lnTo>
                  <a:pt x="2639" y="4687"/>
                </a:lnTo>
                <a:lnTo>
                  <a:pt x="2672" y="4720"/>
                </a:lnTo>
                <a:lnTo>
                  <a:pt x="2712" y="4748"/>
                </a:lnTo>
                <a:lnTo>
                  <a:pt x="2754" y="4767"/>
                </a:lnTo>
                <a:lnTo>
                  <a:pt x="2801" y="4781"/>
                </a:lnTo>
                <a:lnTo>
                  <a:pt x="2852" y="4785"/>
                </a:lnTo>
                <a:lnTo>
                  <a:pt x="5345" y="4785"/>
                </a:lnTo>
                <a:lnTo>
                  <a:pt x="5395" y="4781"/>
                </a:lnTo>
                <a:lnTo>
                  <a:pt x="5442" y="4767"/>
                </a:lnTo>
                <a:lnTo>
                  <a:pt x="5484" y="4748"/>
                </a:lnTo>
                <a:lnTo>
                  <a:pt x="5524" y="4720"/>
                </a:lnTo>
                <a:lnTo>
                  <a:pt x="5558" y="4687"/>
                </a:lnTo>
                <a:lnTo>
                  <a:pt x="5585" y="4649"/>
                </a:lnTo>
                <a:lnTo>
                  <a:pt x="5605" y="4605"/>
                </a:lnTo>
                <a:lnTo>
                  <a:pt x="5619" y="4558"/>
                </a:lnTo>
                <a:lnTo>
                  <a:pt x="5622" y="4507"/>
                </a:lnTo>
                <a:lnTo>
                  <a:pt x="5622" y="2337"/>
                </a:lnTo>
                <a:lnTo>
                  <a:pt x="2575" y="2337"/>
                </a:lnTo>
                <a:close/>
                <a:moveTo>
                  <a:pt x="2852" y="1735"/>
                </a:moveTo>
                <a:lnTo>
                  <a:pt x="2801" y="1740"/>
                </a:lnTo>
                <a:lnTo>
                  <a:pt x="2754" y="1752"/>
                </a:lnTo>
                <a:lnTo>
                  <a:pt x="2712" y="1773"/>
                </a:lnTo>
                <a:lnTo>
                  <a:pt x="2672" y="1799"/>
                </a:lnTo>
                <a:lnTo>
                  <a:pt x="2639" y="1834"/>
                </a:lnTo>
                <a:lnTo>
                  <a:pt x="2613" y="1873"/>
                </a:lnTo>
                <a:lnTo>
                  <a:pt x="2592" y="1916"/>
                </a:lnTo>
                <a:lnTo>
                  <a:pt x="2578" y="1962"/>
                </a:lnTo>
                <a:lnTo>
                  <a:pt x="2575" y="2012"/>
                </a:lnTo>
                <a:lnTo>
                  <a:pt x="2575" y="2199"/>
                </a:lnTo>
                <a:lnTo>
                  <a:pt x="5622" y="2199"/>
                </a:lnTo>
                <a:lnTo>
                  <a:pt x="5622" y="2012"/>
                </a:lnTo>
                <a:lnTo>
                  <a:pt x="5619" y="1962"/>
                </a:lnTo>
                <a:lnTo>
                  <a:pt x="5605" y="1916"/>
                </a:lnTo>
                <a:lnTo>
                  <a:pt x="5585" y="1873"/>
                </a:lnTo>
                <a:lnTo>
                  <a:pt x="5558" y="1834"/>
                </a:lnTo>
                <a:lnTo>
                  <a:pt x="5524" y="1799"/>
                </a:lnTo>
                <a:lnTo>
                  <a:pt x="5484" y="1773"/>
                </a:lnTo>
                <a:lnTo>
                  <a:pt x="5442" y="1752"/>
                </a:lnTo>
                <a:lnTo>
                  <a:pt x="5395" y="1740"/>
                </a:lnTo>
                <a:lnTo>
                  <a:pt x="5345" y="1735"/>
                </a:lnTo>
                <a:lnTo>
                  <a:pt x="2852" y="1735"/>
                </a:lnTo>
                <a:close/>
                <a:moveTo>
                  <a:pt x="969" y="1728"/>
                </a:moveTo>
                <a:lnTo>
                  <a:pt x="969" y="1792"/>
                </a:lnTo>
                <a:lnTo>
                  <a:pt x="969" y="1855"/>
                </a:lnTo>
                <a:lnTo>
                  <a:pt x="967" y="1916"/>
                </a:lnTo>
                <a:lnTo>
                  <a:pt x="967" y="1974"/>
                </a:lnTo>
                <a:lnTo>
                  <a:pt x="967" y="2023"/>
                </a:lnTo>
                <a:lnTo>
                  <a:pt x="969" y="2065"/>
                </a:lnTo>
                <a:lnTo>
                  <a:pt x="969" y="2096"/>
                </a:lnTo>
                <a:lnTo>
                  <a:pt x="969" y="2115"/>
                </a:lnTo>
                <a:lnTo>
                  <a:pt x="981" y="2140"/>
                </a:lnTo>
                <a:lnTo>
                  <a:pt x="1004" y="2166"/>
                </a:lnTo>
                <a:lnTo>
                  <a:pt x="1035" y="2192"/>
                </a:lnTo>
                <a:lnTo>
                  <a:pt x="1079" y="2218"/>
                </a:lnTo>
                <a:lnTo>
                  <a:pt x="1131" y="2246"/>
                </a:lnTo>
                <a:lnTo>
                  <a:pt x="1194" y="2273"/>
                </a:lnTo>
                <a:lnTo>
                  <a:pt x="1267" y="2299"/>
                </a:lnTo>
                <a:lnTo>
                  <a:pt x="1351" y="2323"/>
                </a:lnTo>
                <a:lnTo>
                  <a:pt x="1445" y="2346"/>
                </a:lnTo>
                <a:lnTo>
                  <a:pt x="1550" y="2367"/>
                </a:lnTo>
                <a:lnTo>
                  <a:pt x="1665" y="2386"/>
                </a:lnTo>
                <a:lnTo>
                  <a:pt x="1683" y="2391"/>
                </a:lnTo>
                <a:lnTo>
                  <a:pt x="1697" y="2404"/>
                </a:lnTo>
                <a:lnTo>
                  <a:pt x="1744" y="2381"/>
                </a:lnTo>
                <a:lnTo>
                  <a:pt x="1793" y="2363"/>
                </a:lnTo>
                <a:lnTo>
                  <a:pt x="1805" y="2360"/>
                </a:lnTo>
                <a:lnTo>
                  <a:pt x="1885" y="2337"/>
                </a:lnTo>
                <a:lnTo>
                  <a:pt x="1958" y="2318"/>
                </a:lnTo>
                <a:lnTo>
                  <a:pt x="2025" y="2304"/>
                </a:lnTo>
                <a:lnTo>
                  <a:pt x="2086" y="2295"/>
                </a:lnTo>
                <a:lnTo>
                  <a:pt x="2143" y="2292"/>
                </a:lnTo>
                <a:lnTo>
                  <a:pt x="2199" y="2299"/>
                </a:lnTo>
                <a:lnTo>
                  <a:pt x="2255" y="2313"/>
                </a:lnTo>
                <a:lnTo>
                  <a:pt x="2287" y="2325"/>
                </a:lnTo>
                <a:lnTo>
                  <a:pt x="2320" y="2341"/>
                </a:lnTo>
                <a:lnTo>
                  <a:pt x="2358" y="2362"/>
                </a:lnTo>
                <a:lnTo>
                  <a:pt x="2397" y="2386"/>
                </a:lnTo>
                <a:lnTo>
                  <a:pt x="2437" y="2412"/>
                </a:lnTo>
                <a:lnTo>
                  <a:pt x="2437" y="2012"/>
                </a:lnTo>
                <a:lnTo>
                  <a:pt x="2438" y="1981"/>
                </a:lnTo>
                <a:lnTo>
                  <a:pt x="2363" y="1983"/>
                </a:lnTo>
                <a:lnTo>
                  <a:pt x="2287" y="1984"/>
                </a:lnTo>
                <a:lnTo>
                  <a:pt x="2133" y="1981"/>
                </a:lnTo>
                <a:lnTo>
                  <a:pt x="1983" y="1974"/>
                </a:lnTo>
                <a:lnTo>
                  <a:pt x="1836" y="1963"/>
                </a:lnTo>
                <a:lnTo>
                  <a:pt x="1695" y="1948"/>
                </a:lnTo>
                <a:lnTo>
                  <a:pt x="1560" y="1927"/>
                </a:lnTo>
                <a:lnTo>
                  <a:pt x="1435" y="1902"/>
                </a:lnTo>
                <a:lnTo>
                  <a:pt x="1316" y="1874"/>
                </a:lnTo>
                <a:lnTo>
                  <a:pt x="1229" y="1848"/>
                </a:lnTo>
                <a:lnTo>
                  <a:pt x="1150" y="1820"/>
                </a:lnTo>
                <a:lnTo>
                  <a:pt x="1080" y="1790"/>
                </a:lnTo>
                <a:lnTo>
                  <a:pt x="1019" y="1759"/>
                </a:lnTo>
                <a:lnTo>
                  <a:pt x="969" y="1728"/>
                </a:lnTo>
                <a:close/>
                <a:moveTo>
                  <a:pt x="902" y="1506"/>
                </a:moveTo>
                <a:lnTo>
                  <a:pt x="925" y="1506"/>
                </a:lnTo>
                <a:lnTo>
                  <a:pt x="943" y="1514"/>
                </a:lnTo>
                <a:lnTo>
                  <a:pt x="958" y="1530"/>
                </a:lnTo>
                <a:lnTo>
                  <a:pt x="967" y="1549"/>
                </a:lnTo>
                <a:lnTo>
                  <a:pt x="976" y="1569"/>
                </a:lnTo>
                <a:lnTo>
                  <a:pt x="991" y="1591"/>
                </a:lnTo>
                <a:lnTo>
                  <a:pt x="1014" y="1614"/>
                </a:lnTo>
                <a:lnTo>
                  <a:pt x="1046" y="1637"/>
                </a:lnTo>
                <a:lnTo>
                  <a:pt x="1086" y="1661"/>
                </a:lnTo>
                <a:lnTo>
                  <a:pt x="1136" y="1687"/>
                </a:lnTo>
                <a:lnTo>
                  <a:pt x="1196" y="1712"/>
                </a:lnTo>
                <a:lnTo>
                  <a:pt x="1265" y="1736"/>
                </a:lnTo>
                <a:lnTo>
                  <a:pt x="1347" y="1761"/>
                </a:lnTo>
                <a:lnTo>
                  <a:pt x="1461" y="1787"/>
                </a:lnTo>
                <a:lnTo>
                  <a:pt x="1583" y="1811"/>
                </a:lnTo>
                <a:lnTo>
                  <a:pt x="1712" y="1831"/>
                </a:lnTo>
                <a:lnTo>
                  <a:pt x="1848" y="1846"/>
                </a:lnTo>
                <a:lnTo>
                  <a:pt x="1992" y="1857"/>
                </a:lnTo>
                <a:lnTo>
                  <a:pt x="2138" y="1864"/>
                </a:lnTo>
                <a:lnTo>
                  <a:pt x="2287" y="1867"/>
                </a:lnTo>
                <a:lnTo>
                  <a:pt x="2377" y="1866"/>
                </a:lnTo>
                <a:lnTo>
                  <a:pt x="2465" y="1862"/>
                </a:lnTo>
                <a:lnTo>
                  <a:pt x="2493" y="1806"/>
                </a:lnTo>
                <a:lnTo>
                  <a:pt x="2526" y="1756"/>
                </a:lnTo>
                <a:lnTo>
                  <a:pt x="2568" y="1710"/>
                </a:lnTo>
                <a:lnTo>
                  <a:pt x="2615" y="1672"/>
                </a:lnTo>
                <a:lnTo>
                  <a:pt x="2669" y="1640"/>
                </a:lnTo>
                <a:lnTo>
                  <a:pt x="2726" y="1616"/>
                </a:lnTo>
                <a:lnTo>
                  <a:pt x="2787" y="1602"/>
                </a:lnTo>
                <a:lnTo>
                  <a:pt x="2852" y="1597"/>
                </a:lnTo>
                <a:lnTo>
                  <a:pt x="5345" y="1597"/>
                </a:lnTo>
                <a:lnTo>
                  <a:pt x="5413" y="1602"/>
                </a:lnTo>
                <a:lnTo>
                  <a:pt x="5475" y="1617"/>
                </a:lnTo>
                <a:lnTo>
                  <a:pt x="5535" y="1644"/>
                </a:lnTo>
                <a:lnTo>
                  <a:pt x="5591" y="1677"/>
                </a:lnTo>
                <a:lnTo>
                  <a:pt x="5638" y="1719"/>
                </a:lnTo>
                <a:lnTo>
                  <a:pt x="5680" y="1768"/>
                </a:lnTo>
                <a:lnTo>
                  <a:pt x="5713" y="1822"/>
                </a:lnTo>
                <a:lnTo>
                  <a:pt x="5739" y="1881"/>
                </a:lnTo>
                <a:lnTo>
                  <a:pt x="5755" y="1946"/>
                </a:lnTo>
                <a:lnTo>
                  <a:pt x="5760" y="2012"/>
                </a:lnTo>
                <a:lnTo>
                  <a:pt x="5760" y="4507"/>
                </a:lnTo>
                <a:lnTo>
                  <a:pt x="5755" y="4575"/>
                </a:lnTo>
                <a:lnTo>
                  <a:pt x="5739" y="4638"/>
                </a:lnTo>
                <a:lnTo>
                  <a:pt x="5713" y="4699"/>
                </a:lnTo>
                <a:lnTo>
                  <a:pt x="5680" y="4753"/>
                </a:lnTo>
                <a:lnTo>
                  <a:pt x="5638" y="4801"/>
                </a:lnTo>
                <a:lnTo>
                  <a:pt x="5591" y="4843"/>
                </a:lnTo>
                <a:lnTo>
                  <a:pt x="5535" y="4877"/>
                </a:lnTo>
                <a:lnTo>
                  <a:pt x="5475" y="4902"/>
                </a:lnTo>
                <a:lnTo>
                  <a:pt x="5413" y="4918"/>
                </a:lnTo>
                <a:lnTo>
                  <a:pt x="5345" y="4923"/>
                </a:lnTo>
                <a:lnTo>
                  <a:pt x="2852" y="4923"/>
                </a:lnTo>
                <a:lnTo>
                  <a:pt x="2784" y="4918"/>
                </a:lnTo>
                <a:lnTo>
                  <a:pt x="2721" y="4902"/>
                </a:lnTo>
                <a:lnTo>
                  <a:pt x="2662" y="4877"/>
                </a:lnTo>
                <a:lnTo>
                  <a:pt x="2608" y="4843"/>
                </a:lnTo>
                <a:lnTo>
                  <a:pt x="2559" y="4801"/>
                </a:lnTo>
                <a:lnTo>
                  <a:pt x="2517" y="4753"/>
                </a:lnTo>
                <a:lnTo>
                  <a:pt x="2484" y="4699"/>
                </a:lnTo>
                <a:lnTo>
                  <a:pt x="2458" y="4638"/>
                </a:lnTo>
                <a:lnTo>
                  <a:pt x="2442" y="4575"/>
                </a:lnTo>
                <a:lnTo>
                  <a:pt x="2437" y="4507"/>
                </a:lnTo>
                <a:lnTo>
                  <a:pt x="2437" y="4231"/>
                </a:lnTo>
                <a:lnTo>
                  <a:pt x="2395" y="4224"/>
                </a:lnTo>
                <a:lnTo>
                  <a:pt x="2356" y="4214"/>
                </a:lnTo>
                <a:lnTo>
                  <a:pt x="2320" y="4198"/>
                </a:lnTo>
                <a:lnTo>
                  <a:pt x="2288" y="4182"/>
                </a:lnTo>
                <a:lnTo>
                  <a:pt x="2260" y="4165"/>
                </a:lnTo>
                <a:lnTo>
                  <a:pt x="2238" y="4149"/>
                </a:lnTo>
                <a:lnTo>
                  <a:pt x="2220" y="4135"/>
                </a:lnTo>
                <a:lnTo>
                  <a:pt x="2208" y="4125"/>
                </a:lnTo>
                <a:lnTo>
                  <a:pt x="2203" y="4119"/>
                </a:lnTo>
                <a:lnTo>
                  <a:pt x="2175" y="4098"/>
                </a:lnTo>
                <a:lnTo>
                  <a:pt x="2175" y="4104"/>
                </a:lnTo>
                <a:lnTo>
                  <a:pt x="2189" y="4131"/>
                </a:lnTo>
                <a:lnTo>
                  <a:pt x="2205" y="4170"/>
                </a:lnTo>
                <a:lnTo>
                  <a:pt x="2218" y="4207"/>
                </a:lnTo>
                <a:lnTo>
                  <a:pt x="2232" y="4247"/>
                </a:lnTo>
                <a:lnTo>
                  <a:pt x="2243" y="4289"/>
                </a:lnTo>
                <a:lnTo>
                  <a:pt x="2253" y="4331"/>
                </a:lnTo>
                <a:lnTo>
                  <a:pt x="2259" y="4369"/>
                </a:lnTo>
                <a:lnTo>
                  <a:pt x="2262" y="4402"/>
                </a:lnTo>
                <a:lnTo>
                  <a:pt x="2262" y="4435"/>
                </a:lnTo>
                <a:lnTo>
                  <a:pt x="2264" y="4453"/>
                </a:lnTo>
                <a:lnTo>
                  <a:pt x="2264" y="4470"/>
                </a:lnTo>
                <a:lnTo>
                  <a:pt x="2266" y="4486"/>
                </a:lnTo>
                <a:lnTo>
                  <a:pt x="2267" y="4495"/>
                </a:lnTo>
                <a:lnTo>
                  <a:pt x="2273" y="4511"/>
                </a:lnTo>
                <a:lnTo>
                  <a:pt x="2280" y="4533"/>
                </a:lnTo>
                <a:lnTo>
                  <a:pt x="2283" y="4560"/>
                </a:lnTo>
                <a:lnTo>
                  <a:pt x="2287" y="4589"/>
                </a:lnTo>
                <a:lnTo>
                  <a:pt x="2287" y="4617"/>
                </a:lnTo>
                <a:lnTo>
                  <a:pt x="2285" y="4642"/>
                </a:lnTo>
                <a:lnTo>
                  <a:pt x="2280" y="4663"/>
                </a:lnTo>
                <a:lnTo>
                  <a:pt x="2271" y="4680"/>
                </a:lnTo>
                <a:lnTo>
                  <a:pt x="2259" y="4699"/>
                </a:lnTo>
                <a:lnTo>
                  <a:pt x="2243" y="4717"/>
                </a:lnTo>
                <a:lnTo>
                  <a:pt x="2220" y="4731"/>
                </a:lnTo>
                <a:lnTo>
                  <a:pt x="2194" y="4743"/>
                </a:lnTo>
                <a:lnTo>
                  <a:pt x="2161" y="4752"/>
                </a:lnTo>
                <a:lnTo>
                  <a:pt x="2121" y="4753"/>
                </a:lnTo>
                <a:lnTo>
                  <a:pt x="2091" y="4753"/>
                </a:lnTo>
                <a:lnTo>
                  <a:pt x="2056" y="4753"/>
                </a:lnTo>
                <a:lnTo>
                  <a:pt x="2019" y="4752"/>
                </a:lnTo>
                <a:lnTo>
                  <a:pt x="1981" y="4750"/>
                </a:lnTo>
                <a:lnTo>
                  <a:pt x="1944" y="4748"/>
                </a:lnTo>
                <a:lnTo>
                  <a:pt x="1913" y="4746"/>
                </a:lnTo>
                <a:lnTo>
                  <a:pt x="1887" y="4745"/>
                </a:lnTo>
                <a:lnTo>
                  <a:pt x="1871" y="4741"/>
                </a:lnTo>
                <a:lnTo>
                  <a:pt x="1855" y="4736"/>
                </a:lnTo>
                <a:lnTo>
                  <a:pt x="1838" y="4731"/>
                </a:lnTo>
                <a:lnTo>
                  <a:pt x="1819" y="4722"/>
                </a:lnTo>
                <a:lnTo>
                  <a:pt x="1779" y="4760"/>
                </a:lnTo>
                <a:lnTo>
                  <a:pt x="1744" y="4795"/>
                </a:lnTo>
                <a:lnTo>
                  <a:pt x="1726" y="4811"/>
                </a:lnTo>
                <a:lnTo>
                  <a:pt x="1709" y="4827"/>
                </a:lnTo>
                <a:lnTo>
                  <a:pt x="1695" y="4841"/>
                </a:lnTo>
                <a:lnTo>
                  <a:pt x="1683" y="4853"/>
                </a:lnTo>
                <a:lnTo>
                  <a:pt x="1676" y="4860"/>
                </a:lnTo>
                <a:lnTo>
                  <a:pt x="1669" y="4870"/>
                </a:lnTo>
                <a:lnTo>
                  <a:pt x="1656" y="4888"/>
                </a:lnTo>
                <a:lnTo>
                  <a:pt x="1639" y="4907"/>
                </a:lnTo>
                <a:lnTo>
                  <a:pt x="1618" y="4928"/>
                </a:lnTo>
                <a:lnTo>
                  <a:pt x="1595" y="4951"/>
                </a:lnTo>
                <a:lnTo>
                  <a:pt x="1569" y="4972"/>
                </a:lnTo>
                <a:lnTo>
                  <a:pt x="1543" y="4991"/>
                </a:lnTo>
                <a:lnTo>
                  <a:pt x="1515" y="5003"/>
                </a:lnTo>
                <a:lnTo>
                  <a:pt x="1485" y="5012"/>
                </a:lnTo>
                <a:lnTo>
                  <a:pt x="1471" y="5012"/>
                </a:lnTo>
                <a:lnTo>
                  <a:pt x="1449" y="5010"/>
                </a:lnTo>
                <a:lnTo>
                  <a:pt x="1428" y="5002"/>
                </a:lnTo>
                <a:lnTo>
                  <a:pt x="1409" y="4989"/>
                </a:lnTo>
                <a:lnTo>
                  <a:pt x="1389" y="4972"/>
                </a:lnTo>
                <a:lnTo>
                  <a:pt x="1370" y="4947"/>
                </a:lnTo>
                <a:lnTo>
                  <a:pt x="1347" y="4919"/>
                </a:lnTo>
                <a:lnTo>
                  <a:pt x="1325" y="4884"/>
                </a:lnTo>
                <a:lnTo>
                  <a:pt x="1300" y="4850"/>
                </a:lnTo>
                <a:lnTo>
                  <a:pt x="1278" y="4811"/>
                </a:lnTo>
                <a:lnTo>
                  <a:pt x="1255" y="4774"/>
                </a:lnTo>
                <a:lnTo>
                  <a:pt x="1234" y="4738"/>
                </a:lnTo>
                <a:lnTo>
                  <a:pt x="1217" y="4705"/>
                </a:lnTo>
                <a:lnTo>
                  <a:pt x="1199" y="4677"/>
                </a:lnTo>
                <a:lnTo>
                  <a:pt x="1187" y="4654"/>
                </a:lnTo>
                <a:lnTo>
                  <a:pt x="1178" y="4636"/>
                </a:lnTo>
                <a:lnTo>
                  <a:pt x="1175" y="4629"/>
                </a:lnTo>
                <a:lnTo>
                  <a:pt x="1173" y="4621"/>
                </a:lnTo>
                <a:lnTo>
                  <a:pt x="1173" y="4594"/>
                </a:lnTo>
                <a:lnTo>
                  <a:pt x="1176" y="4563"/>
                </a:lnTo>
                <a:lnTo>
                  <a:pt x="1187" y="4532"/>
                </a:lnTo>
                <a:lnTo>
                  <a:pt x="1206" y="4498"/>
                </a:lnTo>
                <a:lnTo>
                  <a:pt x="1096" y="4500"/>
                </a:lnTo>
                <a:lnTo>
                  <a:pt x="1094" y="4528"/>
                </a:lnTo>
                <a:lnTo>
                  <a:pt x="1089" y="4560"/>
                </a:lnTo>
                <a:lnTo>
                  <a:pt x="1079" y="4593"/>
                </a:lnTo>
                <a:lnTo>
                  <a:pt x="1061" y="4626"/>
                </a:lnTo>
                <a:lnTo>
                  <a:pt x="1033" y="4659"/>
                </a:lnTo>
                <a:lnTo>
                  <a:pt x="1011" y="4687"/>
                </a:lnTo>
                <a:lnTo>
                  <a:pt x="997" y="4715"/>
                </a:lnTo>
                <a:lnTo>
                  <a:pt x="988" y="4741"/>
                </a:lnTo>
                <a:lnTo>
                  <a:pt x="984" y="4760"/>
                </a:lnTo>
                <a:lnTo>
                  <a:pt x="984" y="4776"/>
                </a:lnTo>
                <a:lnTo>
                  <a:pt x="984" y="4781"/>
                </a:lnTo>
                <a:lnTo>
                  <a:pt x="984" y="4785"/>
                </a:lnTo>
                <a:lnTo>
                  <a:pt x="984" y="4788"/>
                </a:lnTo>
                <a:lnTo>
                  <a:pt x="984" y="4799"/>
                </a:lnTo>
                <a:lnTo>
                  <a:pt x="983" y="4816"/>
                </a:lnTo>
                <a:lnTo>
                  <a:pt x="977" y="4839"/>
                </a:lnTo>
                <a:lnTo>
                  <a:pt x="970" y="4865"/>
                </a:lnTo>
                <a:lnTo>
                  <a:pt x="958" y="4893"/>
                </a:lnTo>
                <a:lnTo>
                  <a:pt x="943" y="4919"/>
                </a:lnTo>
                <a:lnTo>
                  <a:pt x="920" y="4940"/>
                </a:lnTo>
                <a:lnTo>
                  <a:pt x="908" y="4949"/>
                </a:lnTo>
                <a:lnTo>
                  <a:pt x="892" y="4956"/>
                </a:lnTo>
                <a:lnTo>
                  <a:pt x="873" y="4961"/>
                </a:lnTo>
                <a:lnTo>
                  <a:pt x="850" y="4963"/>
                </a:lnTo>
                <a:lnTo>
                  <a:pt x="824" y="4960"/>
                </a:lnTo>
                <a:lnTo>
                  <a:pt x="798" y="4953"/>
                </a:lnTo>
                <a:lnTo>
                  <a:pt x="768" y="4944"/>
                </a:lnTo>
                <a:lnTo>
                  <a:pt x="733" y="4935"/>
                </a:lnTo>
                <a:lnTo>
                  <a:pt x="696" y="4925"/>
                </a:lnTo>
                <a:lnTo>
                  <a:pt x="658" y="4914"/>
                </a:lnTo>
                <a:lnTo>
                  <a:pt x="620" y="4902"/>
                </a:lnTo>
                <a:lnTo>
                  <a:pt x="581" y="4891"/>
                </a:lnTo>
                <a:lnTo>
                  <a:pt x="546" y="4881"/>
                </a:lnTo>
                <a:lnTo>
                  <a:pt x="515" y="4870"/>
                </a:lnTo>
                <a:lnTo>
                  <a:pt x="487" y="4862"/>
                </a:lnTo>
                <a:lnTo>
                  <a:pt x="464" y="4857"/>
                </a:lnTo>
                <a:lnTo>
                  <a:pt x="449" y="4851"/>
                </a:lnTo>
                <a:lnTo>
                  <a:pt x="442" y="4850"/>
                </a:lnTo>
                <a:lnTo>
                  <a:pt x="435" y="4846"/>
                </a:lnTo>
                <a:lnTo>
                  <a:pt x="428" y="4841"/>
                </a:lnTo>
                <a:lnTo>
                  <a:pt x="421" y="4836"/>
                </a:lnTo>
                <a:lnTo>
                  <a:pt x="410" y="4820"/>
                </a:lnTo>
                <a:lnTo>
                  <a:pt x="398" y="4801"/>
                </a:lnTo>
                <a:lnTo>
                  <a:pt x="389" y="4776"/>
                </a:lnTo>
                <a:lnTo>
                  <a:pt x="382" y="4748"/>
                </a:lnTo>
                <a:lnTo>
                  <a:pt x="381" y="4717"/>
                </a:lnTo>
                <a:lnTo>
                  <a:pt x="384" y="4684"/>
                </a:lnTo>
                <a:lnTo>
                  <a:pt x="396" y="4649"/>
                </a:lnTo>
                <a:lnTo>
                  <a:pt x="401" y="4635"/>
                </a:lnTo>
                <a:lnTo>
                  <a:pt x="407" y="4621"/>
                </a:lnTo>
                <a:lnTo>
                  <a:pt x="361" y="4610"/>
                </a:lnTo>
                <a:lnTo>
                  <a:pt x="316" y="4594"/>
                </a:lnTo>
                <a:lnTo>
                  <a:pt x="269" y="4573"/>
                </a:lnTo>
                <a:lnTo>
                  <a:pt x="220" y="4549"/>
                </a:lnTo>
                <a:lnTo>
                  <a:pt x="192" y="4530"/>
                </a:lnTo>
                <a:lnTo>
                  <a:pt x="166" y="4504"/>
                </a:lnTo>
                <a:lnTo>
                  <a:pt x="143" y="4476"/>
                </a:lnTo>
                <a:lnTo>
                  <a:pt x="122" y="4444"/>
                </a:lnTo>
                <a:lnTo>
                  <a:pt x="103" y="4411"/>
                </a:lnTo>
                <a:lnTo>
                  <a:pt x="87" y="4380"/>
                </a:lnTo>
                <a:lnTo>
                  <a:pt x="75" y="4352"/>
                </a:lnTo>
                <a:lnTo>
                  <a:pt x="65" y="4327"/>
                </a:lnTo>
                <a:lnTo>
                  <a:pt x="58" y="4310"/>
                </a:lnTo>
                <a:lnTo>
                  <a:pt x="54" y="4299"/>
                </a:lnTo>
                <a:lnTo>
                  <a:pt x="49" y="4270"/>
                </a:lnTo>
                <a:lnTo>
                  <a:pt x="54" y="4243"/>
                </a:lnTo>
                <a:lnTo>
                  <a:pt x="65" y="4219"/>
                </a:lnTo>
                <a:lnTo>
                  <a:pt x="82" y="4198"/>
                </a:lnTo>
                <a:lnTo>
                  <a:pt x="103" y="4177"/>
                </a:lnTo>
                <a:lnTo>
                  <a:pt x="126" y="4159"/>
                </a:lnTo>
                <a:lnTo>
                  <a:pt x="150" y="4144"/>
                </a:lnTo>
                <a:lnTo>
                  <a:pt x="173" y="4130"/>
                </a:lnTo>
                <a:lnTo>
                  <a:pt x="190" y="4116"/>
                </a:lnTo>
                <a:lnTo>
                  <a:pt x="206" y="4095"/>
                </a:lnTo>
                <a:lnTo>
                  <a:pt x="220" y="4070"/>
                </a:lnTo>
                <a:lnTo>
                  <a:pt x="232" y="4044"/>
                </a:lnTo>
                <a:lnTo>
                  <a:pt x="243" y="4018"/>
                </a:lnTo>
                <a:lnTo>
                  <a:pt x="234" y="3992"/>
                </a:lnTo>
                <a:lnTo>
                  <a:pt x="229" y="3967"/>
                </a:lnTo>
                <a:lnTo>
                  <a:pt x="225" y="3946"/>
                </a:lnTo>
                <a:lnTo>
                  <a:pt x="220" y="3838"/>
                </a:lnTo>
                <a:lnTo>
                  <a:pt x="222" y="3733"/>
                </a:lnTo>
                <a:lnTo>
                  <a:pt x="232" y="3632"/>
                </a:lnTo>
                <a:lnTo>
                  <a:pt x="225" y="3634"/>
                </a:lnTo>
                <a:lnTo>
                  <a:pt x="216" y="3634"/>
                </a:lnTo>
                <a:lnTo>
                  <a:pt x="185" y="3630"/>
                </a:lnTo>
                <a:lnTo>
                  <a:pt x="155" y="3621"/>
                </a:lnTo>
                <a:lnTo>
                  <a:pt x="127" y="3607"/>
                </a:lnTo>
                <a:lnTo>
                  <a:pt x="105" y="3590"/>
                </a:lnTo>
                <a:lnTo>
                  <a:pt x="84" y="3569"/>
                </a:lnTo>
                <a:lnTo>
                  <a:pt x="70" y="3551"/>
                </a:lnTo>
                <a:lnTo>
                  <a:pt x="58" y="3534"/>
                </a:lnTo>
                <a:lnTo>
                  <a:pt x="49" y="3518"/>
                </a:lnTo>
                <a:lnTo>
                  <a:pt x="40" y="3499"/>
                </a:lnTo>
                <a:lnTo>
                  <a:pt x="33" y="3476"/>
                </a:lnTo>
                <a:lnTo>
                  <a:pt x="23" y="3450"/>
                </a:lnTo>
                <a:lnTo>
                  <a:pt x="9" y="3408"/>
                </a:lnTo>
                <a:lnTo>
                  <a:pt x="0" y="3370"/>
                </a:lnTo>
                <a:lnTo>
                  <a:pt x="2" y="3331"/>
                </a:lnTo>
                <a:lnTo>
                  <a:pt x="12" y="3296"/>
                </a:lnTo>
                <a:lnTo>
                  <a:pt x="28" y="3263"/>
                </a:lnTo>
                <a:lnTo>
                  <a:pt x="49" y="3232"/>
                </a:lnTo>
                <a:lnTo>
                  <a:pt x="72" y="3206"/>
                </a:lnTo>
                <a:lnTo>
                  <a:pt x="94" y="3181"/>
                </a:lnTo>
                <a:lnTo>
                  <a:pt x="115" y="3162"/>
                </a:lnTo>
                <a:lnTo>
                  <a:pt x="133" y="3146"/>
                </a:lnTo>
                <a:lnTo>
                  <a:pt x="157" y="3130"/>
                </a:lnTo>
                <a:lnTo>
                  <a:pt x="182" y="3122"/>
                </a:lnTo>
                <a:lnTo>
                  <a:pt x="204" y="3118"/>
                </a:lnTo>
                <a:lnTo>
                  <a:pt x="225" y="3120"/>
                </a:lnTo>
                <a:lnTo>
                  <a:pt x="244" y="3123"/>
                </a:lnTo>
                <a:lnTo>
                  <a:pt x="260" y="3129"/>
                </a:lnTo>
                <a:lnTo>
                  <a:pt x="271" y="3139"/>
                </a:lnTo>
                <a:lnTo>
                  <a:pt x="278" y="3153"/>
                </a:lnTo>
                <a:lnTo>
                  <a:pt x="278" y="3169"/>
                </a:lnTo>
                <a:lnTo>
                  <a:pt x="264" y="3240"/>
                </a:lnTo>
                <a:lnTo>
                  <a:pt x="250" y="3300"/>
                </a:lnTo>
                <a:lnTo>
                  <a:pt x="236" y="3351"/>
                </a:lnTo>
                <a:lnTo>
                  <a:pt x="223" y="3391"/>
                </a:lnTo>
                <a:lnTo>
                  <a:pt x="211" y="3424"/>
                </a:lnTo>
                <a:lnTo>
                  <a:pt x="199" y="3447"/>
                </a:lnTo>
                <a:lnTo>
                  <a:pt x="202" y="3447"/>
                </a:lnTo>
                <a:lnTo>
                  <a:pt x="211" y="3443"/>
                </a:lnTo>
                <a:lnTo>
                  <a:pt x="225" y="3433"/>
                </a:lnTo>
                <a:lnTo>
                  <a:pt x="243" y="3420"/>
                </a:lnTo>
                <a:lnTo>
                  <a:pt x="264" y="3405"/>
                </a:lnTo>
                <a:lnTo>
                  <a:pt x="286" y="3385"/>
                </a:lnTo>
                <a:lnTo>
                  <a:pt x="311" y="3366"/>
                </a:lnTo>
                <a:lnTo>
                  <a:pt x="342" y="3303"/>
                </a:lnTo>
                <a:lnTo>
                  <a:pt x="379" y="3244"/>
                </a:lnTo>
                <a:lnTo>
                  <a:pt x="419" y="3188"/>
                </a:lnTo>
                <a:lnTo>
                  <a:pt x="466" y="3139"/>
                </a:lnTo>
                <a:lnTo>
                  <a:pt x="517" y="3094"/>
                </a:lnTo>
                <a:lnTo>
                  <a:pt x="569" y="3054"/>
                </a:lnTo>
                <a:lnTo>
                  <a:pt x="625" y="3017"/>
                </a:lnTo>
                <a:lnTo>
                  <a:pt x="682" y="2987"/>
                </a:lnTo>
                <a:lnTo>
                  <a:pt x="738" y="2959"/>
                </a:lnTo>
                <a:lnTo>
                  <a:pt x="794" y="2937"/>
                </a:lnTo>
                <a:lnTo>
                  <a:pt x="848" y="2917"/>
                </a:lnTo>
                <a:lnTo>
                  <a:pt x="848" y="2868"/>
                </a:lnTo>
                <a:lnTo>
                  <a:pt x="848" y="2818"/>
                </a:lnTo>
                <a:lnTo>
                  <a:pt x="848" y="2769"/>
                </a:lnTo>
                <a:lnTo>
                  <a:pt x="848" y="2722"/>
                </a:lnTo>
                <a:lnTo>
                  <a:pt x="850" y="2678"/>
                </a:lnTo>
                <a:lnTo>
                  <a:pt x="850" y="2640"/>
                </a:lnTo>
                <a:lnTo>
                  <a:pt x="850" y="2608"/>
                </a:lnTo>
                <a:lnTo>
                  <a:pt x="852" y="2582"/>
                </a:lnTo>
                <a:lnTo>
                  <a:pt x="852" y="2566"/>
                </a:lnTo>
                <a:lnTo>
                  <a:pt x="852" y="2561"/>
                </a:lnTo>
                <a:lnTo>
                  <a:pt x="855" y="2540"/>
                </a:lnTo>
                <a:lnTo>
                  <a:pt x="867" y="2522"/>
                </a:lnTo>
                <a:lnTo>
                  <a:pt x="883" y="2510"/>
                </a:lnTo>
                <a:lnTo>
                  <a:pt x="904" y="2503"/>
                </a:lnTo>
                <a:lnTo>
                  <a:pt x="925" y="2505"/>
                </a:lnTo>
                <a:lnTo>
                  <a:pt x="944" y="2514"/>
                </a:lnTo>
                <a:lnTo>
                  <a:pt x="958" y="2529"/>
                </a:lnTo>
                <a:lnTo>
                  <a:pt x="967" y="2549"/>
                </a:lnTo>
                <a:lnTo>
                  <a:pt x="979" y="2577"/>
                </a:lnTo>
                <a:lnTo>
                  <a:pt x="1000" y="2605"/>
                </a:lnTo>
                <a:lnTo>
                  <a:pt x="1032" y="2633"/>
                </a:lnTo>
                <a:lnTo>
                  <a:pt x="1072" y="2659"/>
                </a:lnTo>
                <a:lnTo>
                  <a:pt x="1122" y="2685"/>
                </a:lnTo>
                <a:lnTo>
                  <a:pt x="1182" y="2709"/>
                </a:lnTo>
                <a:lnTo>
                  <a:pt x="1250" y="2732"/>
                </a:lnTo>
                <a:lnTo>
                  <a:pt x="1255" y="2734"/>
                </a:lnTo>
                <a:lnTo>
                  <a:pt x="1258" y="2737"/>
                </a:lnTo>
                <a:lnTo>
                  <a:pt x="1300" y="2702"/>
                </a:lnTo>
                <a:lnTo>
                  <a:pt x="1344" y="2671"/>
                </a:lnTo>
                <a:lnTo>
                  <a:pt x="1391" y="2646"/>
                </a:lnTo>
                <a:lnTo>
                  <a:pt x="1440" y="2629"/>
                </a:lnTo>
                <a:lnTo>
                  <a:pt x="1454" y="2610"/>
                </a:lnTo>
                <a:lnTo>
                  <a:pt x="1475" y="2585"/>
                </a:lnTo>
                <a:lnTo>
                  <a:pt x="1503" y="2556"/>
                </a:lnTo>
                <a:lnTo>
                  <a:pt x="1534" y="2522"/>
                </a:lnTo>
                <a:lnTo>
                  <a:pt x="1571" y="2489"/>
                </a:lnTo>
                <a:lnTo>
                  <a:pt x="1519" y="2481"/>
                </a:lnTo>
                <a:lnTo>
                  <a:pt x="1464" y="2470"/>
                </a:lnTo>
                <a:lnTo>
                  <a:pt x="1407" y="2458"/>
                </a:lnTo>
                <a:lnTo>
                  <a:pt x="1347" y="2442"/>
                </a:lnTo>
                <a:lnTo>
                  <a:pt x="1286" y="2426"/>
                </a:lnTo>
                <a:lnTo>
                  <a:pt x="1227" y="2407"/>
                </a:lnTo>
                <a:lnTo>
                  <a:pt x="1168" y="2388"/>
                </a:lnTo>
                <a:lnTo>
                  <a:pt x="1110" y="2365"/>
                </a:lnTo>
                <a:lnTo>
                  <a:pt x="1056" y="2341"/>
                </a:lnTo>
                <a:lnTo>
                  <a:pt x="1007" y="2313"/>
                </a:lnTo>
                <a:lnTo>
                  <a:pt x="962" y="2283"/>
                </a:lnTo>
                <a:lnTo>
                  <a:pt x="923" y="2252"/>
                </a:lnTo>
                <a:lnTo>
                  <a:pt x="892" y="2217"/>
                </a:lnTo>
                <a:lnTo>
                  <a:pt x="867" y="2178"/>
                </a:lnTo>
                <a:lnTo>
                  <a:pt x="854" y="2138"/>
                </a:lnTo>
                <a:lnTo>
                  <a:pt x="854" y="2136"/>
                </a:lnTo>
                <a:lnTo>
                  <a:pt x="852" y="2135"/>
                </a:lnTo>
                <a:lnTo>
                  <a:pt x="852" y="2131"/>
                </a:lnTo>
                <a:lnTo>
                  <a:pt x="852" y="2124"/>
                </a:lnTo>
                <a:lnTo>
                  <a:pt x="852" y="2114"/>
                </a:lnTo>
                <a:lnTo>
                  <a:pt x="852" y="2100"/>
                </a:lnTo>
                <a:lnTo>
                  <a:pt x="850" y="2082"/>
                </a:lnTo>
                <a:lnTo>
                  <a:pt x="850" y="2058"/>
                </a:lnTo>
                <a:lnTo>
                  <a:pt x="850" y="2026"/>
                </a:lnTo>
                <a:lnTo>
                  <a:pt x="850" y="1990"/>
                </a:lnTo>
                <a:lnTo>
                  <a:pt x="850" y="1942"/>
                </a:lnTo>
                <a:lnTo>
                  <a:pt x="850" y="1888"/>
                </a:lnTo>
                <a:lnTo>
                  <a:pt x="850" y="1824"/>
                </a:lnTo>
                <a:lnTo>
                  <a:pt x="850" y="1749"/>
                </a:lnTo>
                <a:lnTo>
                  <a:pt x="852" y="1661"/>
                </a:lnTo>
                <a:lnTo>
                  <a:pt x="852" y="1563"/>
                </a:lnTo>
                <a:lnTo>
                  <a:pt x="855" y="1542"/>
                </a:lnTo>
                <a:lnTo>
                  <a:pt x="866" y="1525"/>
                </a:lnTo>
                <a:lnTo>
                  <a:pt x="883" y="1511"/>
                </a:lnTo>
                <a:lnTo>
                  <a:pt x="902" y="1506"/>
                </a:lnTo>
                <a:close/>
                <a:moveTo>
                  <a:pt x="969" y="634"/>
                </a:moveTo>
                <a:lnTo>
                  <a:pt x="969" y="697"/>
                </a:lnTo>
                <a:lnTo>
                  <a:pt x="969" y="758"/>
                </a:lnTo>
                <a:lnTo>
                  <a:pt x="967" y="817"/>
                </a:lnTo>
                <a:lnTo>
                  <a:pt x="967" y="875"/>
                </a:lnTo>
                <a:lnTo>
                  <a:pt x="967" y="926"/>
                </a:lnTo>
                <a:lnTo>
                  <a:pt x="967" y="971"/>
                </a:lnTo>
                <a:lnTo>
                  <a:pt x="969" y="1008"/>
                </a:lnTo>
                <a:lnTo>
                  <a:pt x="969" y="1037"/>
                </a:lnTo>
                <a:lnTo>
                  <a:pt x="969" y="1055"/>
                </a:lnTo>
                <a:lnTo>
                  <a:pt x="983" y="1081"/>
                </a:lnTo>
                <a:lnTo>
                  <a:pt x="1007" y="1109"/>
                </a:lnTo>
                <a:lnTo>
                  <a:pt x="1046" y="1139"/>
                </a:lnTo>
                <a:lnTo>
                  <a:pt x="1093" y="1167"/>
                </a:lnTo>
                <a:lnTo>
                  <a:pt x="1150" y="1195"/>
                </a:lnTo>
                <a:lnTo>
                  <a:pt x="1220" y="1223"/>
                </a:lnTo>
                <a:lnTo>
                  <a:pt x="1299" y="1249"/>
                </a:lnTo>
                <a:lnTo>
                  <a:pt x="1389" y="1273"/>
                </a:lnTo>
                <a:lnTo>
                  <a:pt x="1489" y="1296"/>
                </a:lnTo>
                <a:lnTo>
                  <a:pt x="1599" y="1315"/>
                </a:lnTo>
                <a:lnTo>
                  <a:pt x="1718" y="1333"/>
                </a:lnTo>
                <a:lnTo>
                  <a:pt x="1847" y="1348"/>
                </a:lnTo>
                <a:lnTo>
                  <a:pt x="1985" y="1359"/>
                </a:lnTo>
                <a:lnTo>
                  <a:pt x="2131" y="1366"/>
                </a:lnTo>
                <a:lnTo>
                  <a:pt x="2287" y="1368"/>
                </a:lnTo>
                <a:lnTo>
                  <a:pt x="2431" y="1366"/>
                </a:lnTo>
                <a:lnTo>
                  <a:pt x="2569" y="1359"/>
                </a:lnTo>
                <a:lnTo>
                  <a:pt x="2700" y="1350"/>
                </a:lnTo>
                <a:lnTo>
                  <a:pt x="2826" y="1336"/>
                </a:lnTo>
                <a:lnTo>
                  <a:pt x="2943" y="1320"/>
                </a:lnTo>
                <a:lnTo>
                  <a:pt x="3053" y="1301"/>
                </a:lnTo>
                <a:lnTo>
                  <a:pt x="3156" y="1279"/>
                </a:lnTo>
                <a:lnTo>
                  <a:pt x="3248" y="1256"/>
                </a:lnTo>
                <a:lnTo>
                  <a:pt x="3332" y="1230"/>
                </a:lnTo>
                <a:lnTo>
                  <a:pt x="3405" y="1203"/>
                </a:lnTo>
                <a:lnTo>
                  <a:pt x="3468" y="1174"/>
                </a:lnTo>
                <a:lnTo>
                  <a:pt x="3521" y="1144"/>
                </a:lnTo>
                <a:lnTo>
                  <a:pt x="3561" y="1114"/>
                </a:lnTo>
                <a:lnTo>
                  <a:pt x="3590" y="1085"/>
                </a:lnTo>
                <a:lnTo>
                  <a:pt x="3606" y="1055"/>
                </a:lnTo>
                <a:lnTo>
                  <a:pt x="3608" y="1046"/>
                </a:lnTo>
                <a:lnTo>
                  <a:pt x="3610" y="1037"/>
                </a:lnTo>
                <a:lnTo>
                  <a:pt x="3610" y="636"/>
                </a:lnTo>
                <a:lnTo>
                  <a:pt x="3555" y="671"/>
                </a:lnTo>
                <a:lnTo>
                  <a:pt x="3491" y="702"/>
                </a:lnTo>
                <a:lnTo>
                  <a:pt x="3419" y="733"/>
                </a:lnTo>
                <a:lnTo>
                  <a:pt x="3341" y="761"/>
                </a:lnTo>
                <a:lnTo>
                  <a:pt x="3255" y="786"/>
                </a:lnTo>
                <a:lnTo>
                  <a:pt x="3163" y="809"/>
                </a:lnTo>
                <a:lnTo>
                  <a:pt x="3065" y="828"/>
                </a:lnTo>
                <a:lnTo>
                  <a:pt x="2962" y="845"/>
                </a:lnTo>
                <a:lnTo>
                  <a:pt x="2857" y="861"/>
                </a:lnTo>
                <a:lnTo>
                  <a:pt x="2747" y="871"/>
                </a:lnTo>
                <a:lnTo>
                  <a:pt x="2636" y="882"/>
                </a:lnTo>
                <a:lnTo>
                  <a:pt x="2520" y="889"/>
                </a:lnTo>
                <a:lnTo>
                  <a:pt x="2405" y="892"/>
                </a:lnTo>
                <a:lnTo>
                  <a:pt x="2290" y="894"/>
                </a:lnTo>
                <a:lnTo>
                  <a:pt x="2173" y="892"/>
                </a:lnTo>
                <a:lnTo>
                  <a:pt x="2058" y="889"/>
                </a:lnTo>
                <a:lnTo>
                  <a:pt x="1943" y="882"/>
                </a:lnTo>
                <a:lnTo>
                  <a:pt x="1831" y="871"/>
                </a:lnTo>
                <a:lnTo>
                  <a:pt x="1721" y="859"/>
                </a:lnTo>
                <a:lnTo>
                  <a:pt x="1615" y="845"/>
                </a:lnTo>
                <a:lnTo>
                  <a:pt x="1513" y="828"/>
                </a:lnTo>
                <a:lnTo>
                  <a:pt x="1416" y="809"/>
                </a:lnTo>
                <a:lnTo>
                  <a:pt x="1323" y="786"/>
                </a:lnTo>
                <a:lnTo>
                  <a:pt x="1238" y="760"/>
                </a:lnTo>
                <a:lnTo>
                  <a:pt x="1157" y="732"/>
                </a:lnTo>
                <a:lnTo>
                  <a:pt x="1086" y="702"/>
                </a:lnTo>
                <a:lnTo>
                  <a:pt x="1023" y="669"/>
                </a:lnTo>
                <a:lnTo>
                  <a:pt x="969" y="634"/>
                </a:lnTo>
                <a:close/>
                <a:moveTo>
                  <a:pt x="2290" y="117"/>
                </a:moveTo>
                <a:lnTo>
                  <a:pt x="2140" y="119"/>
                </a:lnTo>
                <a:lnTo>
                  <a:pt x="1999" y="126"/>
                </a:lnTo>
                <a:lnTo>
                  <a:pt x="1864" y="136"/>
                </a:lnTo>
                <a:lnTo>
                  <a:pt x="1738" y="148"/>
                </a:lnTo>
                <a:lnTo>
                  <a:pt x="1622" y="166"/>
                </a:lnTo>
                <a:lnTo>
                  <a:pt x="1512" y="185"/>
                </a:lnTo>
                <a:lnTo>
                  <a:pt x="1412" y="206"/>
                </a:lnTo>
                <a:lnTo>
                  <a:pt x="1323" y="230"/>
                </a:lnTo>
                <a:lnTo>
                  <a:pt x="1243" y="255"/>
                </a:lnTo>
                <a:lnTo>
                  <a:pt x="1171" y="281"/>
                </a:lnTo>
                <a:lnTo>
                  <a:pt x="1110" y="309"/>
                </a:lnTo>
                <a:lnTo>
                  <a:pt x="1061" y="337"/>
                </a:lnTo>
                <a:lnTo>
                  <a:pt x="1021" y="365"/>
                </a:lnTo>
                <a:lnTo>
                  <a:pt x="993" y="393"/>
                </a:lnTo>
                <a:lnTo>
                  <a:pt x="976" y="421"/>
                </a:lnTo>
                <a:lnTo>
                  <a:pt x="969" y="447"/>
                </a:lnTo>
                <a:lnTo>
                  <a:pt x="976" y="473"/>
                </a:lnTo>
                <a:lnTo>
                  <a:pt x="993" y="501"/>
                </a:lnTo>
                <a:lnTo>
                  <a:pt x="1021" y="529"/>
                </a:lnTo>
                <a:lnTo>
                  <a:pt x="1061" y="557"/>
                </a:lnTo>
                <a:lnTo>
                  <a:pt x="1110" y="585"/>
                </a:lnTo>
                <a:lnTo>
                  <a:pt x="1171" y="611"/>
                </a:lnTo>
                <a:lnTo>
                  <a:pt x="1243" y="637"/>
                </a:lnTo>
                <a:lnTo>
                  <a:pt x="1323" y="664"/>
                </a:lnTo>
                <a:lnTo>
                  <a:pt x="1412" y="686"/>
                </a:lnTo>
                <a:lnTo>
                  <a:pt x="1512" y="709"/>
                </a:lnTo>
                <a:lnTo>
                  <a:pt x="1622" y="728"/>
                </a:lnTo>
                <a:lnTo>
                  <a:pt x="1738" y="744"/>
                </a:lnTo>
                <a:lnTo>
                  <a:pt x="1864" y="758"/>
                </a:lnTo>
                <a:lnTo>
                  <a:pt x="1999" y="768"/>
                </a:lnTo>
                <a:lnTo>
                  <a:pt x="2140" y="774"/>
                </a:lnTo>
                <a:lnTo>
                  <a:pt x="2290" y="777"/>
                </a:lnTo>
                <a:lnTo>
                  <a:pt x="2438" y="774"/>
                </a:lnTo>
                <a:lnTo>
                  <a:pt x="2582" y="768"/>
                </a:lnTo>
                <a:lnTo>
                  <a:pt x="2714" y="758"/>
                </a:lnTo>
                <a:lnTo>
                  <a:pt x="2840" y="744"/>
                </a:lnTo>
                <a:lnTo>
                  <a:pt x="2959" y="728"/>
                </a:lnTo>
                <a:lnTo>
                  <a:pt x="3067" y="709"/>
                </a:lnTo>
                <a:lnTo>
                  <a:pt x="3166" y="686"/>
                </a:lnTo>
                <a:lnTo>
                  <a:pt x="3255" y="664"/>
                </a:lnTo>
                <a:lnTo>
                  <a:pt x="3337" y="637"/>
                </a:lnTo>
                <a:lnTo>
                  <a:pt x="3407" y="611"/>
                </a:lnTo>
                <a:lnTo>
                  <a:pt x="3468" y="585"/>
                </a:lnTo>
                <a:lnTo>
                  <a:pt x="3519" y="557"/>
                </a:lnTo>
                <a:lnTo>
                  <a:pt x="3557" y="529"/>
                </a:lnTo>
                <a:lnTo>
                  <a:pt x="3587" y="501"/>
                </a:lnTo>
                <a:lnTo>
                  <a:pt x="3603" y="473"/>
                </a:lnTo>
                <a:lnTo>
                  <a:pt x="3610" y="447"/>
                </a:lnTo>
                <a:lnTo>
                  <a:pt x="3603" y="421"/>
                </a:lnTo>
                <a:lnTo>
                  <a:pt x="3587" y="393"/>
                </a:lnTo>
                <a:lnTo>
                  <a:pt x="3557" y="365"/>
                </a:lnTo>
                <a:lnTo>
                  <a:pt x="3519" y="337"/>
                </a:lnTo>
                <a:lnTo>
                  <a:pt x="3468" y="309"/>
                </a:lnTo>
                <a:lnTo>
                  <a:pt x="3407" y="281"/>
                </a:lnTo>
                <a:lnTo>
                  <a:pt x="3337" y="255"/>
                </a:lnTo>
                <a:lnTo>
                  <a:pt x="3255" y="230"/>
                </a:lnTo>
                <a:lnTo>
                  <a:pt x="3166" y="206"/>
                </a:lnTo>
                <a:lnTo>
                  <a:pt x="3067" y="185"/>
                </a:lnTo>
                <a:lnTo>
                  <a:pt x="2959" y="166"/>
                </a:lnTo>
                <a:lnTo>
                  <a:pt x="2840" y="148"/>
                </a:lnTo>
                <a:lnTo>
                  <a:pt x="2714" y="136"/>
                </a:lnTo>
                <a:lnTo>
                  <a:pt x="2582" y="126"/>
                </a:lnTo>
                <a:lnTo>
                  <a:pt x="2438" y="119"/>
                </a:lnTo>
                <a:lnTo>
                  <a:pt x="2290" y="117"/>
                </a:lnTo>
                <a:close/>
                <a:moveTo>
                  <a:pt x="2290" y="0"/>
                </a:moveTo>
                <a:lnTo>
                  <a:pt x="2397" y="1"/>
                </a:lnTo>
                <a:lnTo>
                  <a:pt x="2503" y="5"/>
                </a:lnTo>
                <a:lnTo>
                  <a:pt x="2609" y="10"/>
                </a:lnTo>
                <a:lnTo>
                  <a:pt x="2712" y="17"/>
                </a:lnTo>
                <a:lnTo>
                  <a:pt x="2815" y="28"/>
                </a:lnTo>
                <a:lnTo>
                  <a:pt x="2915" y="40"/>
                </a:lnTo>
                <a:lnTo>
                  <a:pt x="3011" y="56"/>
                </a:lnTo>
                <a:lnTo>
                  <a:pt x="3103" y="73"/>
                </a:lnTo>
                <a:lnTo>
                  <a:pt x="3192" y="92"/>
                </a:lnTo>
                <a:lnTo>
                  <a:pt x="3276" y="113"/>
                </a:lnTo>
                <a:lnTo>
                  <a:pt x="3353" y="136"/>
                </a:lnTo>
                <a:lnTo>
                  <a:pt x="3426" y="162"/>
                </a:lnTo>
                <a:lnTo>
                  <a:pt x="3493" y="190"/>
                </a:lnTo>
                <a:lnTo>
                  <a:pt x="3550" y="220"/>
                </a:lnTo>
                <a:lnTo>
                  <a:pt x="3603" y="253"/>
                </a:lnTo>
                <a:lnTo>
                  <a:pt x="3645" y="288"/>
                </a:lnTo>
                <a:lnTo>
                  <a:pt x="3679" y="325"/>
                </a:lnTo>
                <a:lnTo>
                  <a:pt x="3706" y="363"/>
                </a:lnTo>
                <a:lnTo>
                  <a:pt x="3721" y="403"/>
                </a:lnTo>
                <a:lnTo>
                  <a:pt x="3727" y="447"/>
                </a:lnTo>
                <a:lnTo>
                  <a:pt x="3727" y="454"/>
                </a:lnTo>
                <a:lnTo>
                  <a:pt x="3727" y="456"/>
                </a:lnTo>
                <a:lnTo>
                  <a:pt x="3727" y="459"/>
                </a:lnTo>
                <a:lnTo>
                  <a:pt x="3727" y="1037"/>
                </a:lnTo>
                <a:lnTo>
                  <a:pt x="3725" y="1064"/>
                </a:lnTo>
                <a:lnTo>
                  <a:pt x="3718" y="1090"/>
                </a:lnTo>
                <a:lnTo>
                  <a:pt x="3699" y="1132"/>
                </a:lnTo>
                <a:lnTo>
                  <a:pt x="3669" y="1172"/>
                </a:lnTo>
                <a:lnTo>
                  <a:pt x="3629" y="1209"/>
                </a:lnTo>
                <a:lnTo>
                  <a:pt x="3580" y="1244"/>
                </a:lnTo>
                <a:lnTo>
                  <a:pt x="3521" y="1277"/>
                </a:lnTo>
                <a:lnTo>
                  <a:pt x="3454" y="1307"/>
                </a:lnTo>
                <a:lnTo>
                  <a:pt x="3381" y="1336"/>
                </a:lnTo>
                <a:lnTo>
                  <a:pt x="3301" y="1361"/>
                </a:lnTo>
                <a:lnTo>
                  <a:pt x="3215" y="1385"/>
                </a:lnTo>
                <a:lnTo>
                  <a:pt x="3124" y="1406"/>
                </a:lnTo>
                <a:lnTo>
                  <a:pt x="3028" y="1424"/>
                </a:lnTo>
                <a:lnTo>
                  <a:pt x="2929" y="1439"/>
                </a:lnTo>
                <a:lnTo>
                  <a:pt x="2826" y="1453"/>
                </a:lnTo>
                <a:lnTo>
                  <a:pt x="2719" y="1465"/>
                </a:lnTo>
                <a:lnTo>
                  <a:pt x="2613" y="1474"/>
                </a:lnTo>
                <a:lnTo>
                  <a:pt x="2505" y="1479"/>
                </a:lnTo>
                <a:lnTo>
                  <a:pt x="2397" y="1483"/>
                </a:lnTo>
                <a:lnTo>
                  <a:pt x="2287" y="1485"/>
                </a:lnTo>
                <a:lnTo>
                  <a:pt x="2182" y="1483"/>
                </a:lnTo>
                <a:lnTo>
                  <a:pt x="2077" y="1479"/>
                </a:lnTo>
                <a:lnTo>
                  <a:pt x="1972" y="1474"/>
                </a:lnTo>
                <a:lnTo>
                  <a:pt x="1869" y="1465"/>
                </a:lnTo>
                <a:lnTo>
                  <a:pt x="1768" y="1457"/>
                </a:lnTo>
                <a:lnTo>
                  <a:pt x="1667" y="1443"/>
                </a:lnTo>
                <a:lnTo>
                  <a:pt x="1571" y="1429"/>
                </a:lnTo>
                <a:lnTo>
                  <a:pt x="1478" y="1411"/>
                </a:lnTo>
                <a:lnTo>
                  <a:pt x="1389" y="1392"/>
                </a:lnTo>
                <a:lnTo>
                  <a:pt x="1304" y="1371"/>
                </a:lnTo>
                <a:lnTo>
                  <a:pt x="1225" y="1347"/>
                </a:lnTo>
                <a:lnTo>
                  <a:pt x="1152" y="1320"/>
                </a:lnTo>
                <a:lnTo>
                  <a:pt x="1086" y="1293"/>
                </a:lnTo>
                <a:lnTo>
                  <a:pt x="1025" y="1263"/>
                </a:lnTo>
                <a:lnTo>
                  <a:pt x="974" y="1230"/>
                </a:lnTo>
                <a:lnTo>
                  <a:pt x="929" y="1195"/>
                </a:lnTo>
                <a:lnTo>
                  <a:pt x="894" y="1158"/>
                </a:lnTo>
                <a:lnTo>
                  <a:pt x="869" y="1120"/>
                </a:lnTo>
                <a:lnTo>
                  <a:pt x="854" y="1078"/>
                </a:lnTo>
                <a:lnTo>
                  <a:pt x="854" y="1076"/>
                </a:lnTo>
                <a:lnTo>
                  <a:pt x="852" y="1074"/>
                </a:lnTo>
                <a:lnTo>
                  <a:pt x="852" y="1069"/>
                </a:lnTo>
                <a:lnTo>
                  <a:pt x="852" y="1062"/>
                </a:lnTo>
                <a:lnTo>
                  <a:pt x="852" y="1051"/>
                </a:lnTo>
                <a:lnTo>
                  <a:pt x="852" y="1037"/>
                </a:lnTo>
                <a:lnTo>
                  <a:pt x="850" y="1018"/>
                </a:lnTo>
                <a:lnTo>
                  <a:pt x="850" y="992"/>
                </a:lnTo>
                <a:lnTo>
                  <a:pt x="850" y="961"/>
                </a:lnTo>
                <a:lnTo>
                  <a:pt x="850" y="920"/>
                </a:lnTo>
                <a:lnTo>
                  <a:pt x="850" y="871"/>
                </a:lnTo>
                <a:lnTo>
                  <a:pt x="850" y="814"/>
                </a:lnTo>
                <a:lnTo>
                  <a:pt x="850" y="746"/>
                </a:lnTo>
                <a:lnTo>
                  <a:pt x="850" y="665"/>
                </a:lnTo>
                <a:lnTo>
                  <a:pt x="852" y="575"/>
                </a:lnTo>
                <a:lnTo>
                  <a:pt x="852" y="471"/>
                </a:lnTo>
                <a:lnTo>
                  <a:pt x="852" y="466"/>
                </a:lnTo>
                <a:lnTo>
                  <a:pt x="854" y="461"/>
                </a:lnTo>
                <a:lnTo>
                  <a:pt x="854" y="454"/>
                </a:lnTo>
                <a:lnTo>
                  <a:pt x="852" y="447"/>
                </a:lnTo>
                <a:lnTo>
                  <a:pt x="857" y="403"/>
                </a:lnTo>
                <a:lnTo>
                  <a:pt x="873" y="363"/>
                </a:lnTo>
                <a:lnTo>
                  <a:pt x="899" y="325"/>
                </a:lnTo>
                <a:lnTo>
                  <a:pt x="934" y="288"/>
                </a:lnTo>
                <a:lnTo>
                  <a:pt x="976" y="253"/>
                </a:lnTo>
                <a:lnTo>
                  <a:pt x="1028" y="220"/>
                </a:lnTo>
                <a:lnTo>
                  <a:pt x="1087" y="190"/>
                </a:lnTo>
                <a:lnTo>
                  <a:pt x="1152" y="162"/>
                </a:lnTo>
                <a:lnTo>
                  <a:pt x="1225" y="136"/>
                </a:lnTo>
                <a:lnTo>
                  <a:pt x="1304" y="113"/>
                </a:lnTo>
                <a:lnTo>
                  <a:pt x="1386" y="92"/>
                </a:lnTo>
                <a:lnTo>
                  <a:pt x="1475" y="73"/>
                </a:lnTo>
                <a:lnTo>
                  <a:pt x="1567" y="56"/>
                </a:lnTo>
                <a:lnTo>
                  <a:pt x="1663" y="40"/>
                </a:lnTo>
                <a:lnTo>
                  <a:pt x="1763" y="28"/>
                </a:lnTo>
                <a:lnTo>
                  <a:pt x="1866" y="17"/>
                </a:lnTo>
                <a:lnTo>
                  <a:pt x="1971" y="10"/>
                </a:lnTo>
                <a:lnTo>
                  <a:pt x="2075" y="5"/>
                </a:lnTo>
                <a:lnTo>
                  <a:pt x="2182" y="1"/>
                </a:lnTo>
                <a:lnTo>
                  <a:pt x="2290"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Light"/>
              <a:ea typeface="+mn-ea"/>
              <a:cs typeface="+mn-cs"/>
            </a:endParaRPr>
          </a:p>
        </p:txBody>
      </p:sp>
      <p:sp>
        <p:nvSpPr>
          <p:cNvPr id="244" name="Freeform 17">
            <a:extLst>
              <a:ext uri="{FF2B5EF4-FFF2-40B4-BE49-F238E27FC236}">
                <a16:creationId xmlns:a16="http://schemas.microsoft.com/office/drawing/2014/main" id="{7011B20A-C5DA-4EE2-9E39-B2A5567D5463}"/>
              </a:ext>
            </a:extLst>
          </p:cNvPr>
          <p:cNvSpPr>
            <a:spLocks noChangeAspect="1" noEditPoints="1"/>
          </p:cNvSpPr>
          <p:nvPr/>
        </p:nvSpPr>
        <p:spPr bwMode="auto">
          <a:xfrm>
            <a:off x="188600" y="2689339"/>
            <a:ext cx="525266" cy="338295"/>
          </a:xfrm>
          <a:custGeom>
            <a:avLst/>
            <a:gdLst>
              <a:gd name="T0" fmla="*/ 3738 w 4820"/>
              <a:gd name="T1" fmla="*/ 2566 h 3454"/>
              <a:gd name="T2" fmla="*/ 3738 w 4820"/>
              <a:gd name="T3" fmla="*/ 1642 h 3454"/>
              <a:gd name="T4" fmla="*/ 4642 w 4820"/>
              <a:gd name="T5" fmla="*/ 2157 h 3454"/>
              <a:gd name="T6" fmla="*/ 1319 w 4820"/>
              <a:gd name="T7" fmla="*/ 2349 h 3454"/>
              <a:gd name="T8" fmla="*/ 1436 w 4820"/>
              <a:gd name="T9" fmla="*/ 1519 h 3454"/>
              <a:gd name="T10" fmla="*/ 2372 w 4820"/>
              <a:gd name="T11" fmla="*/ 2788 h 3454"/>
              <a:gd name="T12" fmla="*/ 1979 w 4820"/>
              <a:gd name="T13" fmla="*/ 2921 h 3454"/>
              <a:gd name="T14" fmla="*/ 1526 w 4820"/>
              <a:gd name="T15" fmla="*/ 3319 h 3454"/>
              <a:gd name="T16" fmla="*/ 876 w 4820"/>
              <a:gd name="T17" fmla="*/ 2913 h 3454"/>
              <a:gd name="T18" fmla="*/ 402 w 4820"/>
              <a:gd name="T19" fmla="*/ 2788 h 3454"/>
              <a:gd name="T20" fmla="*/ 367 w 4820"/>
              <a:gd name="T21" fmla="*/ 2253 h 3454"/>
              <a:gd name="T22" fmla="*/ 372 w 4820"/>
              <a:gd name="T23" fmla="*/ 1880 h 3454"/>
              <a:gd name="T24" fmla="*/ 402 w 4820"/>
              <a:gd name="T25" fmla="*/ 1345 h 3454"/>
              <a:gd name="T26" fmla="*/ 905 w 4820"/>
              <a:gd name="T27" fmla="*/ 1227 h 3454"/>
              <a:gd name="T28" fmla="*/ 1200 w 4820"/>
              <a:gd name="T29" fmla="*/ 860 h 3454"/>
              <a:gd name="T30" fmla="*/ 1574 w 4820"/>
              <a:gd name="T31" fmla="*/ 1070 h 3454"/>
              <a:gd name="T32" fmla="*/ 2174 w 4820"/>
              <a:gd name="T33" fmla="*/ 1081 h 3454"/>
              <a:gd name="T34" fmla="*/ 1788 w 4820"/>
              <a:gd name="T35" fmla="*/ 1508 h 3454"/>
              <a:gd name="T36" fmla="*/ 1703 w 4820"/>
              <a:gd name="T37" fmla="*/ 2700 h 3454"/>
              <a:gd name="T38" fmla="*/ 3625 w 4820"/>
              <a:gd name="T39" fmla="*/ 1123 h 3454"/>
              <a:gd name="T40" fmla="*/ 3625 w 4820"/>
              <a:gd name="T41" fmla="*/ 1123 h 3454"/>
              <a:gd name="T42" fmla="*/ 2860 w 4820"/>
              <a:gd name="T43" fmla="*/ 1349 h 3454"/>
              <a:gd name="T44" fmla="*/ 2573 w 4820"/>
              <a:gd name="T45" fmla="*/ 1088 h 3454"/>
              <a:gd name="T46" fmla="*/ 2733 w 4820"/>
              <a:gd name="T47" fmla="*/ 828 h 3454"/>
              <a:gd name="T48" fmla="*/ 2785 w 4820"/>
              <a:gd name="T49" fmla="*/ 343 h 3454"/>
              <a:gd name="T50" fmla="*/ 3134 w 4820"/>
              <a:gd name="T51" fmla="*/ 321 h 3454"/>
              <a:gd name="T52" fmla="*/ 3376 w 4820"/>
              <a:gd name="T53" fmla="*/ 126 h 3454"/>
              <a:gd name="T54" fmla="*/ 3746 w 4820"/>
              <a:gd name="T55" fmla="*/ 231 h 3454"/>
              <a:gd name="T56" fmla="*/ 3922 w 4820"/>
              <a:gd name="T57" fmla="*/ 370 h 3454"/>
              <a:gd name="T58" fmla="*/ 3990 w 4820"/>
              <a:gd name="T59" fmla="*/ 721 h 3454"/>
              <a:gd name="T60" fmla="*/ 4135 w 4820"/>
              <a:gd name="T61" fmla="*/ 930 h 3454"/>
              <a:gd name="T62" fmla="*/ 3889 w 4820"/>
              <a:gd name="T63" fmla="*/ 1101 h 3454"/>
              <a:gd name="T64" fmla="*/ 3062 w 4820"/>
              <a:gd name="T65" fmla="*/ 1260 h 3454"/>
              <a:gd name="T66" fmla="*/ 2781 w 4820"/>
              <a:gd name="T67" fmla="*/ 1462 h 3454"/>
              <a:gd name="T68" fmla="*/ 4007 w 4820"/>
              <a:gd name="T69" fmla="*/ 1201 h 3454"/>
              <a:gd name="T70" fmla="*/ 4234 w 4820"/>
              <a:gd name="T71" fmla="*/ 715 h 3454"/>
              <a:gd name="T72" fmla="*/ 4026 w 4820"/>
              <a:gd name="T73" fmla="*/ 342 h 3454"/>
              <a:gd name="T74" fmla="*/ 3617 w 4820"/>
              <a:gd name="T75" fmla="*/ 232 h 3454"/>
              <a:gd name="T76" fmla="*/ 3079 w 4820"/>
              <a:gd name="T77" fmla="*/ 73 h 3454"/>
              <a:gd name="T78" fmla="*/ 2788 w 4820"/>
              <a:gd name="T79" fmla="*/ 235 h 3454"/>
              <a:gd name="T80" fmla="*/ 2639 w 4820"/>
              <a:gd name="T81" fmla="*/ 777 h 3454"/>
              <a:gd name="T82" fmla="*/ 2609 w 4820"/>
              <a:gd name="T83" fmla="*/ 1208 h 3454"/>
              <a:gd name="T84" fmla="*/ 2691 w 4820"/>
              <a:gd name="T85" fmla="*/ 1508 h 3454"/>
              <a:gd name="T86" fmla="*/ 2013 w 4820"/>
              <a:gd name="T87" fmla="*/ 987 h 3454"/>
              <a:gd name="T88" fmla="*/ 1247 w 4820"/>
              <a:gd name="T89" fmla="*/ 679 h 3454"/>
              <a:gd name="T90" fmla="*/ 505 w 4820"/>
              <a:gd name="T91" fmla="*/ 987 h 3454"/>
              <a:gd name="T92" fmla="*/ 321 w 4820"/>
              <a:gd name="T93" fmla="*/ 1746 h 3454"/>
              <a:gd name="T94" fmla="*/ 315 w 4820"/>
              <a:gd name="T95" fmla="*/ 2387 h 3454"/>
              <a:gd name="T96" fmla="*/ 760 w 4820"/>
              <a:gd name="T97" fmla="*/ 3146 h 3454"/>
              <a:gd name="T98" fmla="*/ 1526 w 4820"/>
              <a:gd name="T99" fmla="*/ 3454 h 3454"/>
              <a:gd name="T100" fmla="*/ 2269 w 4820"/>
              <a:gd name="T101" fmla="*/ 3146 h 3454"/>
              <a:gd name="T102" fmla="*/ 3738 w 4820"/>
              <a:gd name="T103" fmla="*/ 3162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20" h="3454">
                <a:moveTo>
                  <a:pt x="4642" y="2157"/>
                </a:moveTo>
                <a:lnTo>
                  <a:pt x="4642" y="2157"/>
                </a:lnTo>
                <a:lnTo>
                  <a:pt x="3805" y="2994"/>
                </a:lnTo>
                <a:lnTo>
                  <a:pt x="3805" y="2633"/>
                </a:lnTo>
                <a:cubicBezTo>
                  <a:pt x="3805" y="2596"/>
                  <a:pt x="3775" y="2566"/>
                  <a:pt x="3738" y="2566"/>
                </a:cubicBezTo>
                <a:lnTo>
                  <a:pt x="1518" y="2566"/>
                </a:lnTo>
                <a:cubicBezTo>
                  <a:pt x="1489" y="2491"/>
                  <a:pt x="1469" y="2418"/>
                  <a:pt x="1451" y="2324"/>
                </a:cubicBezTo>
                <a:cubicBezTo>
                  <a:pt x="1418" y="2151"/>
                  <a:pt x="1449" y="1898"/>
                  <a:pt x="1449" y="1897"/>
                </a:cubicBezTo>
                <a:cubicBezTo>
                  <a:pt x="1462" y="1811"/>
                  <a:pt x="1483" y="1731"/>
                  <a:pt x="1517" y="1642"/>
                </a:cubicBezTo>
                <a:lnTo>
                  <a:pt x="3738" y="1642"/>
                </a:lnTo>
                <a:cubicBezTo>
                  <a:pt x="3775" y="1642"/>
                  <a:pt x="3805" y="1612"/>
                  <a:pt x="3805" y="1575"/>
                </a:cubicBezTo>
                <a:lnTo>
                  <a:pt x="3805" y="1207"/>
                </a:lnTo>
                <a:lnTo>
                  <a:pt x="4642" y="2044"/>
                </a:lnTo>
                <a:cubicBezTo>
                  <a:pt x="4657" y="2059"/>
                  <a:pt x="4665" y="2079"/>
                  <a:pt x="4665" y="2100"/>
                </a:cubicBezTo>
                <a:cubicBezTo>
                  <a:pt x="4665" y="2122"/>
                  <a:pt x="4657" y="2142"/>
                  <a:pt x="4642" y="2157"/>
                </a:cubicBezTo>
                <a:lnTo>
                  <a:pt x="4642" y="2157"/>
                </a:lnTo>
                <a:close/>
                <a:moveTo>
                  <a:pt x="1409" y="1551"/>
                </a:moveTo>
                <a:lnTo>
                  <a:pt x="1409" y="1551"/>
                </a:lnTo>
                <a:cubicBezTo>
                  <a:pt x="1362" y="1666"/>
                  <a:pt x="1333" y="1766"/>
                  <a:pt x="1316" y="1879"/>
                </a:cubicBezTo>
                <a:cubicBezTo>
                  <a:pt x="1315" y="1890"/>
                  <a:pt x="1283" y="2156"/>
                  <a:pt x="1319" y="2349"/>
                </a:cubicBezTo>
                <a:cubicBezTo>
                  <a:pt x="1341" y="2464"/>
                  <a:pt x="1367" y="2554"/>
                  <a:pt x="1406" y="2648"/>
                </a:cubicBezTo>
                <a:cubicBezTo>
                  <a:pt x="1400" y="2648"/>
                  <a:pt x="1393" y="2649"/>
                  <a:pt x="1387" y="2649"/>
                </a:cubicBezTo>
                <a:cubicBezTo>
                  <a:pt x="1074" y="2649"/>
                  <a:pt x="820" y="2395"/>
                  <a:pt x="820" y="2082"/>
                </a:cubicBezTo>
                <a:cubicBezTo>
                  <a:pt x="820" y="1769"/>
                  <a:pt x="1074" y="1515"/>
                  <a:pt x="1387" y="1515"/>
                </a:cubicBezTo>
                <a:cubicBezTo>
                  <a:pt x="1404" y="1515"/>
                  <a:pt x="1420" y="1518"/>
                  <a:pt x="1436" y="1519"/>
                </a:cubicBezTo>
                <a:cubicBezTo>
                  <a:pt x="1424" y="1527"/>
                  <a:pt x="1415" y="1538"/>
                  <a:pt x="1409" y="1551"/>
                </a:cubicBezTo>
                <a:lnTo>
                  <a:pt x="1409" y="1551"/>
                </a:lnTo>
                <a:close/>
                <a:moveTo>
                  <a:pt x="2290" y="2707"/>
                </a:moveTo>
                <a:lnTo>
                  <a:pt x="2290" y="2707"/>
                </a:lnTo>
                <a:lnTo>
                  <a:pt x="2372" y="2788"/>
                </a:lnTo>
                <a:cubicBezTo>
                  <a:pt x="2380" y="2796"/>
                  <a:pt x="2385" y="2808"/>
                  <a:pt x="2385" y="2821"/>
                </a:cubicBezTo>
                <a:cubicBezTo>
                  <a:pt x="2385" y="2833"/>
                  <a:pt x="2380" y="2845"/>
                  <a:pt x="2372" y="2854"/>
                </a:cubicBezTo>
                <a:lnTo>
                  <a:pt x="2174" y="3051"/>
                </a:lnTo>
                <a:cubicBezTo>
                  <a:pt x="2156" y="3069"/>
                  <a:pt x="2126" y="3069"/>
                  <a:pt x="2108" y="3051"/>
                </a:cubicBezTo>
                <a:lnTo>
                  <a:pt x="1979" y="2921"/>
                </a:lnTo>
                <a:cubicBezTo>
                  <a:pt x="1957" y="2899"/>
                  <a:pt x="1923" y="2895"/>
                  <a:pt x="1896" y="2912"/>
                </a:cubicBezTo>
                <a:cubicBezTo>
                  <a:pt x="1811" y="2964"/>
                  <a:pt x="1720" y="3002"/>
                  <a:pt x="1624" y="3026"/>
                </a:cubicBezTo>
                <a:cubicBezTo>
                  <a:pt x="1593" y="3034"/>
                  <a:pt x="1572" y="3062"/>
                  <a:pt x="1573" y="3093"/>
                </a:cubicBezTo>
                <a:lnTo>
                  <a:pt x="1573" y="3273"/>
                </a:lnTo>
                <a:cubicBezTo>
                  <a:pt x="1573" y="3298"/>
                  <a:pt x="1552" y="3319"/>
                  <a:pt x="1526" y="3319"/>
                </a:cubicBezTo>
                <a:lnTo>
                  <a:pt x="1247" y="3319"/>
                </a:lnTo>
                <a:cubicBezTo>
                  <a:pt x="1221" y="3319"/>
                  <a:pt x="1200" y="3299"/>
                  <a:pt x="1200" y="3273"/>
                </a:cubicBezTo>
                <a:lnTo>
                  <a:pt x="1200" y="3092"/>
                </a:lnTo>
                <a:cubicBezTo>
                  <a:pt x="1200" y="3061"/>
                  <a:pt x="1178" y="3034"/>
                  <a:pt x="1148" y="3027"/>
                </a:cubicBezTo>
                <a:cubicBezTo>
                  <a:pt x="1052" y="3003"/>
                  <a:pt x="960" y="2964"/>
                  <a:pt x="876" y="2913"/>
                </a:cubicBezTo>
                <a:cubicBezTo>
                  <a:pt x="850" y="2897"/>
                  <a:pt x="816" y="2901"/>
                  <a:pt x="794" y="2923"/>
                </a:cubicBezTo>
                <a:lnTo>
                  <a:pt x="665" y="3051"/>
                </a:lnTo>
                <a:cubicBezTo>
                  <a:pt x="647" y="3069"/>
                  <a:pt x="618" y="3069"/>
                  <a:pt x="599" y="3051"/>
                </a:cubicBezTo>
                <a:lnTo>
                  <a:pt x="402" y="2854"/>
                </a:lnTo>
                <a:cubicBezTo>
                  <a:pt x="384" y="2836"/>
                  <a:pt x="384" y="2806"/>
                  <a:pt x="402" y="2788"/>
                </a:cubicBezTo>
                <a:lnTo>
                  <a:pt x="532" y="2657"/>
                </a:lnTo>
                <a:cubicBezTo>
                  <a:pt x="554" y="2636"/>
                  <a:pt x="558" y="2602"/>
                  <a:pt x="542" y="2576"/>
                </a:cubicBezTo>
                <a:cubicBezTo>
                  <a:pt x="492" y="2491"/>
                  <a:pt x="455" y="2399"/>
                  <a:pt x="432" y="2304"/>
                </a:cubicBezTo>
                <a:cubicBezTo>
                  <a:pt x="431" y="2299"/>
                  <a:pt x="429" y="2294"/>
                  <a:pt x="427" y="2290"/>
                </a:cubicBezTo>
                <a:cubicBezTo>
                  <a:pt x="416" y="2267"/>
                  <a:pt x="392" y="2253"/>
                  <a:pt x="367" y="2253"/>
                </a:cubicBezTo>
                <a:lnTo>
                  <a:pt x="180" y="2253"/>
                </a:lnTo>
                <a:cubicBezTo>
                  <a:pt x="154" y="2253"/>
                  <a:pt x="134" y="2232"/>
                  <a:pt x="134" y="2206"/>
                </a:cubicBezTo>
                <a:lnTo>
                  <a:pt x="134" y="1927"/>
                </a:lnTo>
                <a:cubicBezTo>
                  <a:pt x="134" y="1901"/>
                  <a:pt x="154" y="1880"/>
                  <a:pt x="180" y="1880"/>
                </a:cubicBezTo>
                <a:lnTo>
                  <a:pt x="372" y="1880"/>
                </a:lnTo>
                <a:cubicBezTo>
                  <a:pt x="400" y="1880"/>
                  <a:pt x="426" y="1862"/>
                  <a:pt x="435" y="1835"/>
                </a:cubicBezTo>
                <a:cubicBezTo>
                  <a:pt x="436" y="1833"/>
                  <a:pt x="437" y="1830"/>
                  <a:pt x="437" y="1829"/>
                </a:cubicBezTo>
                <a:cubicBezTo>
                  <a:pt x="461" y="1736"/>
                  <a:pt x="499" y="1647"/>
                  <a:pt x="549" y="1565"/>
                </a:cubicBezTo>
                <a:cubicBezTo>
                  <a:pt x="565" y="1539"/>
                  <a:pt x="561" y="1506"/>
                  <a:pt x="541" y="1484"/>
                </a:cubicBezTo>
                <a:lnTo>
                  <a:pt x="402" y="1345"/>
                </a:lnTo>
                <a:cubicBezTo>
                  <a:pt x="384" y="1327"/>
                  <a:pt x="384" y="1297"/>
                  <a:pt x="402" y="1279"/>
                </a:cubicBezTo>
                <a:lnTo>
                  <a:pt x="599" y="1081"/>
                </a:lnTo>
                <a:cubicBezTo>
                  <a:pt x="617" y="1064"/>
                  <a:pt x="648" y="1064"/>
                  <a:pt x="665" y="1081"/>
                </a:cubicBezTo>
                <a:lnTo>
                  <a:pt x="811" y="1227"/>
                </a:lnTo>
                <a:cubicBezTo>
                  <a:pt x="837" y="1253"/>
                  <a:pt x="879" y="1253"/>
                  <a:pt x="905" y="1227"/>
                </a:cubicBezTo>
                <a:cubicBezTo>
                  <a:pt x="908" y="1225"/>
                  <a:pt x="908" y="1222"/>
                  <a:pt x="910" y="1220"/>
                </a:cubicBezTo>
                <a:cubicBezTo>
                  <a:pt x="985" y="1178"/>
                  <a:pt x="1065" y="1146"/>
                  <a:pt x="1148" y="1125"/>
                </a:cubicBezTo>
                <a:cubicBezTo>
                  <a:pt x="1158" y="1123"/>
                  <a:pt x="1167" y="1118"/>
                  <a:pt x="1175" y="1112"/>
                </a:cubicBezTo>
                <a:cubicBezTo>
                  <a:pt x="1191" y="1099"/>
                  <a:pt x="1200" y="1076"/>
                  <a:pt x="1200" y="1055"/>
                </a:cubicBezTo>
                <a:lnTo>
                  <a:pt x="1200" y="860"/>
                </a:lnTo>
                <a:cubicBezTo>
                  <a:pt x="1200" y="834"/>
                  <a:pt x="1221" y="813"/>
                  <a:pt x="1247" y="813"/>
                </a:cubicBezTo>
                <a:lnTo>
                  <a:pt x="1526" y="813"/>
                </a:lnTo>
                <a:cubicBezTo>
                  <a:pt x="1552" y="813"/>
                  <a:pt x="1573" y="835"/>
                  <a:pt x="1573" y="860"/>
                </a:cubicBezTo>
                <a:lnTo>
                  <a:pt x="1573" y="1058"/>
                </a:lnTo>
                <a:cubicBezTo>
                  <a:pt x="1573" y="1061"/>
                  <a:pt x="1574" y="1067"/>
                  <a:pt x="1574" y="1070"/>
                </a:cubicBezTo>
                <a:cubicBezTo>
                  <a:pt x="1578" y="1097"/>
                  <a:pt x="1598" y="1119"/>
                  <a:pt x="1624" y="1126"/>
                </a:cubicBezTo>
                <a:cubicBezTo>
                  <a:pt x="1716" y="1149"/>
                  <a:pt x="1803" y="1185"/>
                  <a:pt x="1885" y="1233"/>
                </a:cubicBezTo>
                <a:cubicBezTo>
                  <a:pt x="1912" y="1250"/>
                  <a:pt x="1946" y="1244"/>
                  <a:pt x="1968" y="1222"/>
                </a:cubicBezTo>
                <a:lnTo>
                  <a:pt x="2108" y="1081"/>
                </a:lnTo>
                <a:cubicBezTo>
                  <a:pt x="2126" y="1064"/>
                  <a:pt x="2157" y="1064"/>
                  <a:pt x="2174" y="1081"/>
                </a:cubicBezTo>
                <a:lnTo>
                  <a:pt x="2372" y="1279"/>
                </a:lnTo>
                <a:cubicBezTo>
                  <a:pt x="2389" y="1297"/>
                  <a:pt x="2389" y="1327"/>
                  <a:pt x="2372" y="1345"/>
                </a:cubicBezTo>
                <a:lnTo>
                  <a:pt x="2231" y="1483"/>
                </a:lnTo>
                <a:cubicBezTo>
                  <a:pt x="2224" y="1490"/>
                  <a:pt x="2219" y="1499"/>
                  <a:pt x="2216" y="1508"/>
                </a:cubicBezTo>
                <a:lnTo>
                  <a:pt x="1788" y="1508"/>
                </a:lnTo>
                <a:cubicBezTo>
                  <a:pt x="1670" y="1425"/>
                  <a:pt x="1532" y="1381"/>
                  <a:pt x="1387" y="1381"/>
                </a:cubicBezTo>
                <a:cubicBezTo>
                  <a:pt x="1000" y="1381"/>
                  <a:pt x="686" y="1695"/>
                  <a:pt x="686" y="2082"/>
                </a:cubicBezTo>
                <a:cubicBezTo>
                  <a:pt x="686" y="2469"/>
                  <a:pt x="1000" y="2783"/>
                  <a:pt x="1387" y="2783"/>
                </a:cubicBezTo>
                <a:cubicBezTo>
                  <a:pt x="1489" y="2783"/>
                  <a:pt x="1588" y="2761"/>
                  <a:pt x="1680" y="2719"/>
                </a:cubicBezTo>
                <a:cubicBezTo>
                  <a:pt x="1690" y="2714"/>
                  <a:pt x="1697" y="2708"/>
                  <a:pt x="1703" y="2700"/>
                </a:cubicBezTo>
                <a:lnTo>
                  <a:pt x="2286" y="2700"/>
                </a:lnTo>
                <a:cubicBezTo>
                  <a:pt x="2287" y="2703"/>
                  <a:pt x="2288" y="2705"/>
                  <a:pt x="2290" y="2707"/>
                </a:cubicBezTo>
                <a:lnTo>
                  <a:pt x="2290" y="2707"/>
                </a:lnTo>
                <a:close/>
                <a:moveTo>
                  <a:pt x="3625" y="1123"/>
                </a:moveTo>
                <a:lnTo>
                  <a:pt x="3625" y="1123"/>
                </a:lnTo>
                <a:cubicBezTo>
                  <a:pt x="3503" y="1277"/>
                  <a:pt x="3278" y="1303"/>
                  <a:pt x="3124" y="1181"/>
                </a:cubicBezTo>
                <a:cubicBezTo>
                  <a:pt x="2970" y="1059"/>
                  <a:pt x="2944" y="834"/>
                  <a:pt x="3066" y="680"/>
                </a:cubicBezTo>
                <a:cubicBezTo>
                  <a:pt x="3136" y="592"/>
                  <a:pt x="3241" y="545"/>
                  <a:pt x="3346" y="545"/>
                </a:cubicBezTo>
                <a:cubicBezTo>
                  <a:pt x="3423" y="545"/>
                  <a:pt x="3501" y="570"/>
                  <a:pt x="3567" y="622"/>
                </a:cubicBezTo>
                <a:cubicBezTo>
                  <a:pt x="3721" y="744"/>
                  <a:pt x="3747" y="969"/>
                  <a:pt x="3625" y="1123"/>
                </a:cubicBezTo>
                <a:lnTo>
                  <a:pt x="3625" y="1123"/>
                </a:lnTo>
                <a:close/>
                <a:moveTo>
                  <a:pt x="2781" y="1462"/>
                </a:moveTo>
                <a:lnTo>
                  <a:pt x="2781" y="1462"/>
                </a:lnTo>
                <a:cubicBezTo>
                  <a:pt x="2780" y="1456"/>
                  <a:pt x="2781" y="1450"/>
                  <a:pt x="2785" y="1445"/>
                </a:cubicBezTo>
                <a:lnTo>
                  <a:pt x="2860" y="1349"/>
                </a:lnTo>
                <a:cubicBezTo>
                  <a:pt x="2875" y="1331"/>
                  <a:pt x="2875" y="1305"/>
                  <a:pt x="2861" y="1287"/>
                </a:cubicBezTo>
                <a:cubicBezTo>
                  <a:pt x="2823" y="1238"/>
                  <a:pt x="2792" y="1184"/>
                  <a:pt x="2770" y="1126"/>
                </a:cubicBezTo>
                <a:cubicBezTo>
                  <a:pt x="2761" y="1104"/>
                  <a:pt x="2740" y="1092"/>
                  <a:pt x="2717" y="1094"/>
                </a:cubicBezTo>
                <a:lnTo>
                  <a:pt x="2598" y="1108"/>
                </a:lnTo>
                <a:cubicBezTo>
                  <a:pt x="2586" y="1110"/>
                  <a:pt x="2574" y="1101"/>
                  <a:pt x="2573" y="1088"/>
                </a:cubicBezTo>
                <a:lnTo>
                  <a:pt x="2552" y="910"/>
                </a:lnTo>
                <a:cubicBezTo>
                  <a:pt x="2551" y="903"/>
                  <a:pt x="2555" y="897"/>
                  <a:pt x="2557" y="894"/>
                </a:cubicBezTo>
                <a:cubicBezTo>
                  <a:pt x="2559" y="891"/>
                  <a:pt x="2564" y="886"/>
                  <a:pt x="2572" y="885"/>
                </a:cubicBezTo>
                <a:lnTo>
                  <a:pt x="2689" y="872"/>
                </a:lnTo>
                <a:cubicBezTo>
                  <a:pt x="2712" y="870"/>
                  <a:pt x="2730" y="851"/>
                  <a:pt x="2733" y="828"/>
                </a:cubicBezTo>
                <a:cubicBezTo>
                  <a:pt x="2740" y="765"/>
                  <a:pt x="2757" y="705"/>
                  <a:pt x="2783" y="648"/>
                </a:cubicBezTo>
                <a:cubicBezTo>
                  <a:pt x="2793" y="627"/>
                  <a:pt x="2786" y="602"/>
                  <a:pt x="2768" y="587"/>
                </a:cubicBezTo>
                <a:lnTo>
                  <a:pt x="2677" y="515"/>
                </a:lnTo>
                <a:cubicBezTo>
                  <a:pt x="2667" y="508"/>
                  <a:pt x="2666" y="493"/>
                  <a:pt x="2673" y="483"/>
                </a:cubicBezTo>
                <a:lnTo>
                  <a:pt x="2785" y="343"/>
                </a:lnTo>
                <a:cubicBezTo>
                  <a:pt x="2790" y="337"/>
                  <a:pt x="2796" y="335"/>
                  <a:pt x="2800" y="335"/>
                </a:cubicBezTo>
                <a:cubicBezTo>
                  <a:pt x="2803" y="334"/>
                  <a:pt x="2810" y="334"/>
                  <a:pt x="2816" y="339"/>
                </a:cubicBezTo>
                <a:lnTo>
                  <a:pt x="2907" y="411"/>
                </a:lnTo>
                <a:cubicBezTo>
                  <a:pt x="2925" y="426"/>
                  <a:pt x="2952" y="425"/>
                  <a:pt x="2970" y="411"/>
                </a:cubicBezTo>
                <a:cubicBezTo>
                  <a:pt x="3020" y="373"/>
                  <a:pt x="3075" y="342"/>
                  <a:pt x="3134" y="321"/>
                </a:cubicBezTo>
                <a:cubicBezTo>
                  <a:pt x="3155" y="313"/>
                  <a:pt x="3169" y="291"/>
                  <a:pt x="3166" y="268"/>
                </a:cubicBezTo>
                <a:lnTo>
                  <a:pt x="3153" y="152"/>
                </a:lnTo>
                <a:cubicBezTo>
                  <a:pt x="3151" y="140"/>
                  <a:pt x="3160" y="128"/>
                  <a:pt x="3173" y="127"/>
                </a:cubicBezTo>
                <a:lnTo>
                  <a:pt x="3350" y="106"/>
                </a:lnTo>
                <a:cubicBezTo>
                  <a:pt x="3362" y="106"/>
                  <a:pt x="3374" y="114"/>
                  <a:pt x="3376" y="126"/>
                </a:cubicBezTo>
                <a:lnTo>
                  <a:pt x="3389" y="243"/>
                </a:lnTo>
                <a:cubicBezTo>
                  <a:pt x="3392" y="266"/>
                  <a:pt x="3410" y="284"/>
                  <a:pt x="3433" y="287"/>
                </a:cubicBezTo>
                <a:cubicBezTo>
                  <a:pt x="3495" y="296"/>
                  <a:pt x="3555" y="313"/>
                  <a:pt x="3611" y="339"/>
                </a:cubicBezTo>
                <a:cubicBezTo>
                  <a:pt x="3632" y="349"/>
                  <a:pt x="3657" y="343"/>
                  <a:pt x="3672" y="325"/>
                </a:cubicBezTo>
                <a:lnTo>
                  <a:pt x="3746" y="231"/>
                </a:lnTo>
                <a:cubicBezTo>
                  <a:pt x="3751" y="225"/>
                  <a:pt x="3758" y="223"/>
                  <a:pt x="3761" y="223"/>
                </a:cubicBezTo>
                <a:cubicBezTo>
                  <a:pt x="3765" y="223"/>
                  <a:pt x="3771" y="223"/>
                  <a:pt x="3778" y="227"/>
                </a:cubicBezTo>
                <a:lnTo>
                  <a:pt x="3918" y="339"/>
                </a:lnTo>
                <a:cubicBezTo>
                  <a:pt x="3924" y="344"/>
                  <a:pt x="3926" y="350"/>
                  <a:pt x="3927" y="354"/>
                </a:cubicBezTo>
                <a:cubicBezTo>
                  <a:pt x="3927" y="357"/>
                  <a:pt x="3927" y="364"/>
                  <a:pt x="3922" y="370"/>
                </a:cubicBezTo>
                <a:lnTo>
                  <a:pt x="3846" y="467"/>
                </a:lnTo>
                <a:cubicBezTo>
                  <a:pt x="3833" y="483"/>
                  <a:pt x="3831" y="505"/>
                  <a:pt x="3842" y="523"/>
                </a:cubicBezTo>
                <a:cubicBezTo>
                  <a:pt x="3843" y="525"/>
                  <a:pt x="3844" y="527"/>
                  <a:pt x="3845" y="529"/>
                </a:cubicBezTo>
                <a:cubicBezTo>
                  <a:pt x="3882" y="578"/>
                  <a:pt x="3911" y="631"/>
                  <a:pt x="3932" y="688"/>
                </a:cubicBezTo>
                <a:cubicBezTo>
                  <a:pt x="3940" y="710"/>
                  <a:pt x="3967" y="723"/>
                  <a:pt x="3990" y="721"/>
                </a:cubicBezTo>
                <a:lnTo>
                  <a:pt x="4109" y="707"/>
                </a:lnTo>
                <a:cubicBezTo>
                  <a:pt x="4122" y="705"/>
                  <a:pt x="4133" y="714"/>
                  <a:pt x="4134" y="727"/>
                </a:cubicBezTo>
                <a:lnTo>
                  <a:pt x="4155" y="905"/>
                </a:lnTo>
                <a:cubicBezTo>
                  <a:pt x="4156" y="913"/>
                  <a:pt x="4152" y="918"/>
                  <a:pt x="4150" y="921"/>
                </a:cubicBezTo>
                <a:cubicBezTo>
                  <a:pt x="4148" y="924"/>
                  <a:pt x="4143" y="929"/>
                  <a:pt x="4135" y="930"/>
                </a:cubicBezTo>
                <a:lnTo>
                  <a:pt x="4004" y="945"/>
                </a:lnTo>
                <a:cubicBezTo>
                  <a:pt x="3977" y="948"/>
                  <a:pt x="3957" y="973"/>
                  <a:pt x="3960" y="1001"/>
                </a:cubicBezTo>
                <a:cubicBezTo>
                  <a:pt x="3960" y="1002"/>
                  <a:pt x="3961" y="1003"/>
                  <a:pt x="3961" y="1004"/>
                </a:cubicBezTo>
                <a:cubicBezTo>
                  <a:pt x="3954" y="1050"/>
                  <a:pt x="3941" y="1094"/>
                  <a:pt x="3924" y="1136"/>
                </a:cubicBezTo>
                <a:lnTo>
                  <a:pt x="3889" y="1101"/>
                </a:lnTo>
                <a:cubicBezTo>
                  <a:pt x="3859" y="1071"/>
                  <a:pt x="3821" y="1051"/>
                  <a:pt x="3779" y="1043"/>
                </a:cubicBezTo>
                <a:cubicBezTo>
                  <a:pt x="3837" y="866"/>
                  <a:pt x="3783" y="665"/>
                  <a:pt x="3629" y="543"/>
                </a:cubicBezTo>
                <a:cubicBezTo>
                  <a:pt x="3432" y="387"/>
                  <a:pt x="3144" y="420"/>
                  <a:pt x="2987" y="618"/>
                </a:cubicBezTo>
                <a:cubicBezTo>
                  <a:pt x="2912" y="714"/>
                  <a:pt x="2878" y="833"/>
                  <a:pt x="2892" y="954"/>
                </a:cubicBezTo>
                <a:cubicBezTo>
                  <a:pt x="2906" y="1075"/>
                  <a:pt x="2966" y="1184"/>
                  <a:pt x="3062" y="1260"/>
                </a:cubicBezTo>
                <a:cubicBezTo>
                  <a:pt x="3146" y="1326"/>
                  <a:pt x="3246" y="1358"/>
                  <a:pt x="3345" y="1358"/>
                </a:cubicBezTo>
                <a:cubicBezTo>
                  <a:pt x="3464" y="1358"/>
                  <a:pt x="3583" y="1311"/>
                  <a:pt x="3671" y="1222"/>
                </a:cubicBezTo>
                <a:lnTo>
                  <a:pt x="3671" y="1508"/>
                </a:lnTo>
                <a:lnTo>
                  <a:pt x="2813" y="1508"/>
                </a:lnTo>
                <a:lnTo>
                  <a:pt x="2781" y="1462"/>
                </a:lnTo>
                <a:lnTo>
                  <a:pt x="2781" y="1462"/>
                </a:lnTo>
                <a:close/>
                <a:moveTo>
                  <a:pt x="4737" y="1949"/>
                </a:moveTo>
                <a:lnTo>
                  <a:pt x="4737" y="1949"/>
                </a:lnTo>
                <a:lnTo>
                  <a:pt x="4000" y="1212"/>
                </a:lnTo>
                <a:cubicBezTo>
                  <a:pt x="4002" y="1209"/>
                  <a:pt x="4005" y="1205"/>
                  <a:pt x="4007" y="1201"/>
                </a:cubicBezTo>
                <a:cubicBezTo>
                  <a:pt x="4030" y="1150"/>
                  <a:pt x="4045" y="1096"/>
                  <a:pt x="4056" y="1040"/>
                </a:cubicBezTo>
                <a:lnTo>
                  <a:pt x="4147" y="1030"/>
                </a:lnTo>
                <a:cubicBezTo>
                  <a:pt x="4179" y="1026"/>
                  <a:pt x="4209" y="1010"/>
                  <a:pt x="4229" y="984"/>
                </a:cubicBezTo>
                <a:cubicBezTo>
                  <a:pt x="4249" y="958"/>
                  <a:pt x="4259" y="926"/>
                  <a:pt x="4255" y="893"/>
                </a:cubicBezTo>
                <a:lnTo>
                  <a:pt x="4234" y="715"/>
                </a:lnTo>
                <a:cubicBezTo>
                  <a:pt x="4226" y="648"/>
                  <a:pt x="4165" y="600"/>
                  <a:pt x="4098" y="607"/>
                </a:cubicBezTo>
                <a:lnTo>
                  <a:pt x="4012" y="617"/>
                </a:lnTo>
                <a:cubicBezTo>
                  <a:pt x="3994" y="575"/>
                  <a:pt x="3972" y="535"/>
                  <a:pt x="3948" y="500"/>
                </a:cubicBezTo>
                <a:lnTo>
                  <a:pt x="4001" y="433"/>
                </a:lnTo>
                <a:cubicBezTo>
                  <a:pt x="4021" y="407"/>
                  <a:pt x="4030" y="375"/>
                  <a:pt x="4026" y="342"/>
                </a:cubicBezTo>
                <a:cubicBezTo>
                  <a:pt x="4023" y="310"/>
                  <a:pt x="4006" y="280"/>
                  <a:pt x="3981" y="260"/>
                </a:cubicBezTo>
                <a:lnTo>
                  <a:pt x="3840" y="149"/>
                </a:lnTo>
                <a:cubicBezTo>
                  <a:pt x="3814" y="128"/>
                  <a:pt x="3782" y="119"/>
                  <a:pt x="3749" y="123"/>
                </a:cubicBezTo>
                <a:cubicBezTo>
                  <a:pt x="3717" y="127"/>
                  <a:pt x="3687" y="143"/>
                  <a:pt x="3667" y="169"/>
                </a:cubicBezTo>
                <a:lnTo>
                  <a:pt x="3617" y="232"/>
                </a:lnTo>
                <a:cubicBezTo>
                  <a:pt x="3574" y="216"/>
                  <a:pt x="3530" y="203"/>
                  <a:pt x="3485" y="194"/>
                </a:cubicBezTo>
                <a:lnTo>
                  <a:pt x="3475" y="114"/>
                </a:lnTo>
                <a:cubicBezTo>
                  <a:pt x="3468" y="47"/>
                  <a:pt x="3406" y="0"/>
                  <a:pt x="3339" y="7"/>
                </a:cubicBezTo>
                <a:lnTo>
                  <a:pt x="3161" y="27"/>
                </a:lnTo>
                <a:cubicBezTo>
                  <a:pt x="3128" y="31"/>
                  <a:pt x="3099" y="47"/>
                  <a:pt x="3079" y="73"/>
                </a:cubicBezTo>
                <a:cubicBezTo>
                  <a:pt x="3058" y="99"/>
                  <a:pt x="3049" y="131"/>
                  <a:pt x="3053" y="163"/>
                </a:cubicBezTo>
                <a:lnTo>
                  <a:pt x="3062" y="241"/>
                </a:lnTo>
                <a:cubicBezTo>
                  <a:pt x="3019" y="259"/>
                  <a:pt x="2979" y="282"/>
                  <a:pt x="2940" y="309"/>
                </a:cubicBezTo>
                <a:lnTo>
                  <a:pt x="2879" y="260"/>
                </a:lnTo>
                <a:cubicBezTo>
                  <a:pt x="2853" y="240"/>
                  <a:pt x="2821" y="231"/>
                  <a:pt x="2788" y="235"/>
                </a:cubicBezTo>
                <a:cubicBezTo>
                  <a:pt x="2755" y="238"/>
                  <a:pt x="2726" y="255"/>
                  <a:pt x="2706" y="280"/>
                </a:cubicBezTo>
                <a:lnTo>
                  <a:pt x="2595" y="421"/>
                </a:lnTo>
                <a:cubicBezTo>
                  <a:pt x="2552" y="474"/>
                  <a:pt x="2561" y="552"/>
                  <a:pt x="2615" y="594"/>
                </a:cubicBezTo>
                <a:lnTo>
                  <a:pt x="2676" y="643"/>
                </a:lnTo>
                <a:cubicBezTo>
                  <a:pt x="2659" y="686"/>
                  <a:pt x="2647" y="731"/>
                  <a:pt x="2639" y="777"/>
                </a:cubicBezTo>
                <a:lnTo>
                  <a:pt x="2560" y="786"/>
                </a:lnTo>
                <a:cubicBezTo>
                  <a:pt x="2528" y="789"/>
                  <a:pt x="2498" y="806"/>
                  <a:pt x="2478" y="832"/>
                </a:cubicBezTo>
                <a:cubicBezTo>
                  <a:pt x="2457" y="857"/>
                  <a:pt x="2448" y="890"/>
                  <a:pt x="2452" y="922"/>
                </a:cubicBezTo>
                <a:lnTo>
                  <a:pt x="2473" y="1100"/>
                </a:lnTo>
                <a:cubicBezTo>
                  <a:pt x="2481" y="1168"/>
                  <a:pt x="2542" y="1216"/>
                  <a:pt x="2609" y="1208"/>
                </a:cubicBezTo>
                <a:lnTo>
                  <a:pt x="2691" y="1198"/>
                </a:lnTo>
                <a:cubicBezTo>
                  <a:pt x="2710" y="1240"/>
                  <a:pt x="2732" y="1280"/>
                  <a:pt x="2758" y="1317"/>
                </a:cubicBezTo>
                <a:lnTo>
                  <a:pt x="2706" y="1382"/>
                </a:lnTo>
                <a:cubicBezTo>
                  <a:pt x="2680" y="1416"/>
                  <a:pt x="2673" y="1462"/>
                  <a:pt x="2688" y="1502"/>
                </a:cubicBezTo>
                <a:cubicBezTo>
                  <a:pt x="2688" y="1504"/>
                  <a:pt x="2690" y="1506"/>
                  <a:pt x="2691" y="1508"/>
                </a:cubicBezTo>
                <a:lnTo>
                  <a:pt x="2397" y="1508"/>
                </a:lnTo>
                <a:lnTo>
                  <a:pt x="2466" y="1440"/>
                </a:lnTo>
                <a:cubicBezTo>
                  <a:pt x="2537" y="1369"/>
                  <a:pt x="2537" y="1255"/>
                  <a:pt x="2466" y="1184"/>
                </a:cubicBezTo>
                <a:lnTo>
                  <a:pt x="2269" y="987"/>
                </a:lnTo>
                <a:cubicBezTo>
                  <a:pt x="2198" y="916"/>
                  <a:pt x="2084" y="916"/>
                  <a:pt x="2013" y="987"/>
                </a:cubicBezTo>
                <a:lnTo>
                  <a:pt x="1908" y="1092"/>
                </a:lnTo>
                <a:cubicBezTo>
                  <a:pt x="1843" y="1058"/>
                  <a:pt x="1776" y="1031"/>
                  <a:pt x="1707" y="1010"/>
                </a:cubicBezTo>
                <a:lnTo>
                  <a:pt x="1707" y="860"/>
                </a:lnTo>
                <a:cubicBezTo>
                  <a:pt x="1707" y="760"/>
                  <a:pt x="1626" y="679"/>
                  <a:pt x="1526" y="679"/>
                </a:cubicBezTo>
                <a:lnTo>
                  <a:pt x="1247" y="679"/>
                </a:lnTo>
                <a:cubicBezTo>
                  <a:pt x="1147" y="679"/>
                  <a:pt x="1066" y="760"/>
                  <a:pt x="1066" y="860"/>
                </a:cubicBezTo>
                <a:lnTo>
                  <a:pt x="1066" y="1009"/>
                </a:lnTo>
                <a:cubicBezTo>
                  <a:pt x="997" y="1029"/>
                  <a:pt x="929" y="1057"/>
                  <a:pt x="865" y="1091"/>
                </a:cubicBezTo>
                <a:lnTo>
                  <a:pt x="760" y="987"/>
                </a:lnTo>
                <a:cubicBezTo>
                  <a:pt x="692" y="919"/>
                  <a:pt x="573" y="919"/>
                  <a:pt x="505" y="987"/>
                </a:cubicBezTo>
                <a:lnTo>
                  <a:pt x="307" y="1184"/>
                </a:lnTo>
                <a:cubicBezTo>
                  <a:pt x="273" y="1218"/>
                  <a:pt x="254" y="1264"/>
                  <a:pt x="254" y="1312"/>
                </a:cubicBezTo>
                <a:cubicBezTo>
                  <a:pt x="254" y="1360"/>
                  <a:pt x="273" y="1406"/>
                  <a:pt x="307" y="1440"/>
                </a:cubicBezTo>
                <a:lnTo>
                  <a:pt x="408" y="1541"/>
                </a:lnTo>
                <a:cubicBezTo>
                  <a:pt x="372" y="1607"/>
                  <a:pt x="343" y="1676"/>
                  <a:pt x="321" y="1746"/>
                </a:cubicBezTo>
                <a:lnTo>
                  <a:pt x="180" y="1746"/>
                </a:lnTo>
                <a:cubicBezTo>
                  <a:pt x="81" y="1746"/>
                  <a:pt x="0" y="1827"/>
                  <a:pt x="0" y="1927"/>
                </a:cubicBezTo>
                <a:lnTo>
                  <a:pt x="0" y="2206"/>
                </a:lnTo>
                <a:cubicBezTo>
                  <a:pt x="0" y="2306"/>
                  <a:pt x="81" y="2387"/>
                  <a:pt x="180" y="2387"/>
                </a:cubicBezTo>
                <a:lnTo>
                  <a:pt x="315" y="2387"/>
                </a:lnTo>
                <a:cubicBezTo>
                  <a:pt x="337" y="2460"/>
                  <a:pt x="365" y="2531"/>
                  <a:pt x="401" y="2598"/>
                </a:cubicBezTo>
                <a:lnTo>
                  <a:pt x="307" y="2693"/>
                </a:lnTo>
                <a:cubicBezTo>
                  <a:pt x="237" y="2763"/>
                  <a:pt x="237" y="2878"/>
                  <a:pt x="307" y="2948"/>
                </a:cubicBezTo>
                <a:lnTo>
                  <a:pt x="505" y="3146"/>
                </a:lnTo>
                <a:cubicBezTo>
                  <a:pt x="573" y="3214"/>
                  <a:pt x="692" y="3214"/>
                  <a:pt x="760" y="3146"/>
                </a:cubicBezTo>
                <a:lnTo>
                  <a:pt x="852" y="3054"/>
                </a:lnTo>
                <a:cubicBezTo>
                  <a:pt x="920" y="3091"/>
                  <a:pt x="991" y="3121"/>
                  <a:pt x="1066" y="3143"/>
                </a:cubicBezTo>
                <a:lnTo>
                  <a:pt x="1066" y="3273"/>
                </a:lnTo>
                <a:cubicBezTo>
                  <a:pt x="1066" y="3372"/>
                  <a:pt x="1147" y="3454"/>
                  <a:pt x="1247" y="3454"/>
                </a:cubicBezTo>
                <a:lnTo>
                  <a:pt x="1526" y="3454"/>
                </a:lnTo>
                <a:cubicBezTo>
                  <a:pt x="1626" y="3454"/>
                  <a:pt x="1707" y="3372"/>
                  <a:pt x="1707" y="3273"/>
                </a:cubicBezTo>
                <a:lnTo>
                  <a:pt x="1707" y="3142"/>
                </a:lnTo>
                <a:cubicBezTo>
                  <a:pt x="1781" y="3120"/>
                  <a:pt x="1852" y="3090"/>
                  <a:pt x="1920" y="3053"/>
                </a:cubicBezTo>
                <a:lnTo>
                  <a:pt x="2013" y="3146"/>
                </a:lnTo>
                <a:cubicBezTo>
                  <a:pt x="2081" y="3214"/>
                  <a:pt x="2201" y="3214"/>
                  <a:pt x="2269" y="3146"/>
                </a:cubicBezTo>
                <a:lnTo>
                  <a:pt x="2466" y="2948"/>
                </a:lnTo>
                <a:cubicBezTo>
                  <a:pt x="2534" y="2880"/>
                  <a:pt x="2536" y="2771"/>
                  <a:pt x="2472" y="2700"/>
                </a:cubicBezTo>
                <a:lnTo>
                  <a:pt x="3671" y="2700"/>
                </a:lnTo>
                <a:lnTo>
                  <a:pt x="3671" y="3095"/>
                </a:lnTo>
                <a:cubicBezTo>
                  <a:pt x="3671" y="3132"/>
                  <a:pt x="3701" y="3162"/>
                  <a:pt x="3738" y="3162"/>
                </a:cubicBezTo>
                <a:cubicBezTo>
                  <a:pt x="3795" y="3162"/>
                  <a:pt x="3849" y="3140"/>
                  <a:pt x="3889" y="3100"/>
                </a:cubicBezTo>
                <a:lnTo>
                  <a:pt x="4737" y="2251"/>
                </a:lnTo>
                <a:cubicBezTo>
                  <a:pt x="4820" y="2168"/>
                  <a:pt x="4820" y="2033"/>
                  <a:pt x="4737" y="1949"/>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alibri Light"/>
              <a:ea typeface="+mn-ea"/>
              <a:cs typeface="+mn-cs"/>
            </a:endParaRPr>
          </a:p>
        </p:txBody>
      </p:sp>
      <p:sp>
        <p:nvSpPr>
          <p:cNvPr id="245" name="Freeform 9">
            <a:extLst>
              <a:ext uri="{FF2B5EF4-FFF2-40B4-BE49-F238E27FC236}">
                <a16:creationId xmlns:a16="http://schemas.microsoft.com/office/drawing/2014/main" id="{CEFEC42C-694F-4B52-BAC5-B1D5B65AAE98}"/>
              </a:ext>
            </a:extLst>
          </p:cNvPr>
          <p:cNvSpPr>
            <a:spLocks noChangeAspect="1" noEditPoints="1"/>
          </p:cNvSpPr>
          <p:nvPr/>
        </p:nvSpPr>
        <p:spPr bwMode="auto">
          <a:xfrm flipH="1">
            <a:off x="791596" y="2684680"/>
            <a:ext cx="349797" cy="313531"/>
          </a:xfrm>
          <a:custGeom>
            <a:avLst/>
            <a:gdLst>
              <a:gd name="T0" fmla="*/ 4329 w 4799"/>
              <a:gd name="T1" fmla="*/ 4240 h 4799"/>
              <a:gd name="T2" fmla="*/ 600 w 4799"/>
              <a:gd name="T3" fmla="*/ 4307 h 4799"/>
              <a:gd name="T4" fmla="*/ 600 w 4799"/>
              <a:gd name="T5" fmla="*/ 4173 h 4799"/>
              <a:gd name="T6" fmla="*/ 4329 w 4799"/>
              <a:gd name="T7" fmla="*/ 4240 h 4799"/>
              <a:gd name="T8" fmla="*/ 4329 w 4799"/>
              <a:gd name="T9" fmla="*/ 3740 h 4799"/>
              <a:gd name="T10" fmla="*/ 4262 w 4799"/>
              <a:gd name="T11" fmla="*/ 3807 h 4799"/>
              <a:gd name="T12" fmla="*/ 533 w 4799"/>
              <a:gd name="T13" fmla="*/ 3740 h 4799"/>
              <a:gd name="T14" fmla="*/ 4262 w 4799"/>
              <a:gd name="T15" fmla="*/ 3673 h 4799"/>
              <a:gd name="T16" fmla="*/ 4329 w 4799"/>
              <a:gd name="T17" fmla="*/ 3740 h 4799"/>
              <a:gd name="T18" fmla="*/ 4329 w 4799"/>
              <a:gd name="T19" fmla="*/ 3241 h 4799"/>
              <a:gd name="T20" fmla="*/ 600 w 4799"/>
              <a:gd name="T21" fmla="*/ 3308 h 4799"/>
              <a:gd name="T22" fmla="*/ 600 w 4799"/>
              <a:gd name="T23" fmla="*/ 3174 h 4799"/>
              <a:gd name="T24" fmla="*/ 4329 w 4799"/>
              <a:gd name="T25" fmla="*/ 3241 h 4799"/>
              <a:gd name="T26" fmla="*/ 4329 w 4799"/>
              <a:gd name="T27" fmla="*/ 2742 h 4799"/>
              <a:gd name="T28" fmla="*/ 4262 w 4799"/>
              <a:gd name="T29" fmla="*/ 2809 h 4799"/>
              <a:gd name="T30" fmla="*/ 2587 w 4799"/>
              <a:gd name="T31" fmla="*/ 2742 h 4799"/>
              <a:gd name="T32" fmla="*/ 4262 w 4799"/>
              <a:gd name="T33" fmla="*/ 2675 h 4799"/>
              <a:gd name="T34" fmla="*/ 4329 w 4799"/>
              <a:gd name="T35" fmla="*/ 2742 h 4799"/>
              <a:gd name="T36" fmla="*/ 4329 w 4799"/>
              <a:gd name="T37" fmla="*/ 2243 h 4799"/>
              <a:gd name="T38" fmla="*/ 2654 w 4799"/>
              <a:gd name="T39" fmla="*/ 2310 h 4799"/>
              <a:gd name="T40" fmla="*/ 2654 w 4799"/>
              <a:gd name="T41" fmla="*/ 2176 h 4799"/>
              <a:gd name="T42" fmla="*/ 4329 w 4799"/>
              <a:gd name="T43" fmla="*/ 2243 h 4799"/>
              <a:gd name="T44" fmla="*/ 4329 w 4799"/>
              <a:gd name="T45" fmla="*/ 1744 h 4799"/>
              <a:gd name="T46" fmla="*/ 4262 w 4799"/>
              <a:gd name="T47" fmla="*/ 1811 h 4799"/>
              <a:gd name="T48" fmla="*/ 2587 w 4799"/>
              <a:gd name="T49" fmla="*/ 1744 h 4799"/>
              <a:gd name="T50" fmla="*/ 4262 w 4799"/>
              <a:gd name="T51" fmla="*/ 1677 h 4799"/>
              <a:gd name="T52" fmla="*/ 4329 w 4799"/>
              <a:gd name="T53" fmla="*/ 1744 h 4799"/>
              <a:gd name="T54" fmla="*/ 4329 w 4799"/>
              <a:gd name="T55" fmla="*/ 1244 h 4799"/>
              <a:gd name="T56" fmla="*/ 2654 w 4799"/>
              <a:gd name="T57" fmla="*/ 1311 h 4799"/>
              <a:gd name="T58" fmla="*/ 2654 w 4799"/>
              <a:gd name="T59" fmla="*/ 1177 h 4799"/>
              <a:gd name="T60" fmla="*/ 4329 w 4799"/>
              <a:gd name="T61" fmla="*/ 1244 h 4799"/>
              <a:gd name="T62" fmla="*/ 4329 w 4799"/>
              <a:gd name="T63" fmla="*/ 745 h 4799"/>
              <a:gd name="T64" fmla="*/ 4262 w 4799"/>
              <a:gd name="T65" fmla="*/ 812 h 4799"/>
              <a:gd name="T66" fmla="*/ 2587 w 4799"/>
              <a:gd name="T67" fmla="*/ 745 h 4799"/>
              <a:gd name="T68" fmla="*/ 4262 w 4799"/>
              <a:gd name="T69" fmla="*/ 678 h 4799"/>
              <a:gd name="T70" fmla="*/ 4329 w 4799"/>
              <a:gd name="T71" fmla="*/ 745 h 4799"/>
              <a:gd name="T72" fmla="*/ 1278 w 4799"/>
              <a:gd name="T73" fmla="*/ 839 h 4799"/>
              <a:gd name="T74" fmla="*/ 582 w 4799"/>
              <a:gd name="T75" fmla="*/ 651 h 4799"/>
              <a:gd name="T76" fmla="*/ 2185 w 4799"/>
              <a:gd name="T77" fmla="*/ 839 h 4799"/>
              <a:gd name="T78" fmla="*/ 1489 w 4799"/>
              <a:gd name="T79" fmla="*/ 2730 h 4799"/>
              <a:gd name="T80" fmla="*/ 1278 w 4799"/>
              <a:gd name="T81" fmla="*/ 839 h 4799"/>
              <a:gd name="T82" fmla="*/ 4665 w 4799"/>
              <a:gd name="T83" fmla="*/ 4458 h 4799"/>
              <a:gd name="T84" fmla="*/ 4459 w 4799"/>
              <a:gd name="T85" fmla="*/ 4664 h 4799"/>
              <a:gd name="T86" fmla="*/ 134 w 4799"/>
              <a:gd name="T87" fmla="*/ 4458 h 4799"/>
              <a:gd name="T88" fmla="*/ 340 w 4799"/>
              <a:gd name="T89" fmla="*/ 133 h 4799"/>
              <a:gd name="T90" fmla="*/ 4665 w 4799"/>
              <a:gd name="T91" fmla="*/ 339 h 4799"/>
              <a:gd name="T92" fmla="*/ 4665 w 4799"/>
              <a:gd name="T93" fmla="*/ 4458 h 4799"/>
              <a:gd name="T94" fmla="*/ 4459 w 4799"/>
              <a:gd name="T95" fmla="*/ 0 h 4799"/>
              <a:gd name="T96" fmla="*/ 0 w 4799"/>
              <a:gd name="T97" fmla="*/ 339 h 4799"/>
              <a:gd name="T98" fmla="*/ 340 w 4799"/>
              <a:gd name="T99" fmla="*/ 4799 h 4799"/>
              <a:gd name="T100" fmla="*/ 4799 w 4799"/>
              <a:gd name="T101" fmla="*/ 4458 h 4799"/>
              <a:gd name="T102" fmla="*/ 4459 w 4799"/>
              <a:gd name="T103" fmla="*/ 0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99" h="4799">
                <a:moveTo>
                  <a:pt x="4329" y="4240"/>
                </a:moveTo>
                <a:lnTo>
                  <a:pt x="4329" y="4240"/>
                </a:lnTo>
                <a:cubicBezTo>
                  <a:pt x="4329" y="4277"/>
                  <a:pt x="4299" y="4307"/>
                  <a:pt x="4262" y="4307"/>
                </a:cubicBezTo>
                <a:lnTo>
                  <a:pt x="600" y="4307"/>
                </a:lnTo>
                <a:cubicBezTo>
                  <a:pt x="563" y="4307"/>
                  <a:pt x="533" y="4277"/>
                  <a:pt x="533" y="4240"/>
                </a:cubicBezTo>
                <a:cubicBezTo>
                  <a:pt x="533" y="4203"/>
                  <a:pt x="563" y="4173"/>
                  <a:pt x="600" y="4173"/>
                </a:cubicBezTo>
                <a:lnTo>
                  <a:pt x="4262" y="4173"/>
                </a:lnTo>
                <a:cubicBezTo>
                  <a:pt x="4299" y="4173"/>
                  <a:pt x="4329" y="4203"/>
                  <a:pt x="4329" y="4240"/>
                </a:cubicBezTo>
                <a:lnTo>
                  <a:pt x="4329" y="4240"/>
                </a:lnTo>
                <a:close/>
                <a:moveTo>
                  <a:pt x="4329" y="3740"/>
                </a:moveTo>
                <a:lnTo>
                  <a:pt x="4329" y="3740"/>
                </a:lnTo>
                <a:cubicBezTo>
                  <a:pt x="4329" y="3778"/>
                  <a:pt x="4299" y="3807"/>
                  <a:pt x="4262" y="3807"/>
                </a:cubicBezTo>
                <a:lnTo>
                  <a:pt x="600" y="3807"/>
                </a:lnTo>
                <a:cubicBezTo>
                  <a:pt x="563" y="3807"/>
                  <a:pt x="533" y="3778"/>
                  <a:pt x="533" y="3740"/>
                </a:cubicBezTo>
                <a:cubicBezTo>
                  <a:pt x="533" y="3703"/>
                  <a:pt x="563" y="3673"/>
                  <a:pt x="600" y="3673"/>
                </a:cubicBezTo>
                <a:lnTo>
                  <a:pt x="4262" y="3673"/>
                </a:lnTo>
                <a:cubicBezTo>
                  <a:pt x="4299" y="3673"/>
                  <a:pt x="4329" y="3703"/>
                  <a:pt x="4329" y="3740"/>
                </a:cubicBezTo>
                <a:lnTo>
                  <a:pt x="4329" y="3740"/>
                </a:lnTo>
                <a:close/>
                <a:moveTo>
                  <a:pt x="4329" y="3241"/>
                </a:moveTo>
                <a:lnTo>
                  <a:pt x="4329" y="3241"/>
                </a:lnTo>
                <a:cubicBezTo>
                  <a:pt x="4329" y="3278"/>
                  <a:pt x="4299" y="3308"/>
                  <a:pt x="4262" y="3308"/>
                </a:cubicBezTo>
                <a:lnTo>
                  <a:pt x="600" y="3308"/>
                </a:lnTo>
                <a:cubicBezTo>
                  <a:pt x="563" y="3308"/>
                  <a:pt x="533" y="3278"/>
                  <a:pt x="533" y="3241"/>
                </a:cubicBezTo>
                <a:cubicBezTo>
                  <a:pt x="533" y="3204"/>
                  <a:pt x="563" y="3174"/>
                  <a:pt x="600" y="3174"/>
                </a:cubicBezTo>
                <a:lnTo>
                  <a:pt x="4262" y="3174"/>
                </a:lnTo>
                <a:cubicBezTo>
                  <a:pt x="4299" y="3174"/>
                  <a:pt x="4329" y="3204"/>
                  <a:pt x="4329" y="3241"/>
                </a:cubicBezTo>
                <a:lnTo>
                  <a:pt x="4329" y="3241"/>
                </a:lnTo>
                <a:close/>
                <a:moveTo>
                  <a:pt x="4329" y="2742"/>
                </a:moveTo>
                <a:lnTo>
                  <a:pt x="4329" y="2742"/>
                </a:lnTo>
                <a:cubicBezTo>
                  <a:pt x="4329" y="2779"/>
                  <a:pt x="4299" y="2809"/>
                  <a:pt x="4262" y="2809"/>
                </a:cubicBezTo>
                <a:lnTo>
                  <a:pt x="2654" y="2809"/>
                </a:lnTo>
                <a:cubicBezTo>
                  <a:pt x="2617" y="2809"/>
                  <a:pt x="2587" y="2779"/>
                  <a:pt x="2587" y="2742"/>
                </a:cubicBezTo>
                <a:cubicBezTo>
                  <a:pt x="2587" y="2705"/>
                  <a:pt x="2617" y="2675"/>
                  <a:pt x="2654" y="2675"/>
                </a:cubicBezTo>
                <a:lnTo>
                  <a:pt x="4262" y="2675"/>
                </a:lnTo>
                <a:cubicBezTo>
                  <a:pt x="4299" y="2675"/>
                  <a:pt x="4329" y="2705"/>
                  <a:pt x="4329" y="2742"/>
                </a:cubicBezTo>
                <a:lnTo>
                  <a:pt x="4329" y="2742"/>
                </a:lnTo>
                <a:close/>
                <a:moveTo>
                  <a:pt x="4329" y="2243"/>
                </a:moveTo>
                <a:lnTo>
                  <a:pt x="4329" y="2243"/>
                </a:lnTo>
                <a:cubicBezTo>
                  <a:pt x="4329" y="2280"/>
                  <a:pt x="4299" y="2310"/>
                  <a:pt x="4262" y="2310"/>
                </a:cubicBezTo>
                <a:lnTo>
                  <a:pt x="2654" y="2310"/>
                </a:lnTo>
                <a:cubicBezTo>
                  <a:pt x="2617" y="2310"/>
                  <a:pt x="2587" y="2280"/>
                  <a:pt x="2587" y="2243"/>
                </a:cubicBezTo>
                <a:cubicBezTo>
                  <a:pt x="2587" y="2206"/>
                  <a:pt x="2617" y="2176"/>
                  <a:pt x="2654" y="2176"/>
                </a:cubicBezTo>
                <a:lnTo>
                  <a:pt x="4262" y="2176"/>
                </a:lnTo>
                <a:cubicBezTo>
                  <a:pt x="4299" y="2176"/>
                  <a:pt x="4329" y="2206"/>
                  <a:pt x="4329" y="2243"/>
                </a:cubicBezTo>
                <a:lnTo>
                  <a:pt x="4329" y="2243"/>
                </a:lnTo>
                <a:close/>
                <a:moveTo>
                  <a:pt x="4329" y="1744"/>
                </a:moveTo>
                <a:lnTo>
                  <a:pt x="4329" y="1744"/>
                </a:lnTo>
                <a:cubicBezTo>
                  <a:pt x="4329" y="1781"/>
                  <a:pt x="4299" y="1811"/>
                  <a:pt x="4262" y="1811"/>
                </a:cubicBezTo>
                <a:lnTo>
                  <a:pt x="2654" y="1811"/>
                </a:lnTo>
                <a:cubicBezTo>
                  <a:pt x="2617" y="1811"/>
                  <a:pt x="2587" y="1781"/>
                  <a:pt x="2587" y="1744"/>
                </a:cubicBezTo>
                <a:cubicBezTo>
                  <a:pt x="2587" y="1707"/>
                  <a:pt x="2617" y="1677"/>
                  <a:pt x="2654" y="1677"/>
                </a:cubicBezTo>
                <a:lnTo>
                  <a:pt x="4262" y="1677"/>
                </a:lnTo>
                <a:cubicBezTo>
                  <a:pt x="4299" y="1677"/>
                  <a:pt x="4329" y="1707"/>
                  <a:pt x="4329" y="1744"/>
                </a:cubicBezTo>
                <a:lnTo>
                  <a:pt x="4329" y="1744"/>
                </a:lnTo>
                <a:close/>
                <a:moveTo>
                  <a:pt x="4329" y="1244"/>
                </a:moveTo>
                <a:lnTo>
                  <a:pt x="4329" y="1244"/>
                </a:lnTo>
                <a:cubicBezTo>
                  <a:pt x="4329" y="1281"/>
                  <a:pt x="4299" y="1311"/>
                  <a:pt x="4262" y="1311"/>
                </a:cubicBezTo>
                <a:lnTo>
                  <a:pt x="2654" y="1311"/>
                </a:lnTo>
                <a:cubicBezTo>
                  <a:pt x="2617" y="1311"/>
                  <a:pt x="2587" y="1281"/>
                  <a:pt x="2587" y="1244"/>
                </a:cubicBezTo>
                <a:cubicBezTo>
                  <a:pt x="2587" y="1207"/>
                  <a:pt x="2617" y="1177"/>
                  <a:pt x="2654" y="1177"/>
                </a:cubicBezTo>
                <a:lnTo>
                  <a:pt x="4262" y="1177"/>
                </a:lnTo>
                <a:cubicBezTo>
                  <a:pt x="4299" y="1177"/>
                  <a:pt x="4329" y="1207"/>
                  <a:pt x="4329" y="1244"/>
                </a:cubicBezTo>
                <a:lnTo>
                  <a:pt x="4329" y="1244"/>
                </a:lnTo>
                <a:close/>
                <a:moveTo>
                  <a:pt x="4329" y="745"/>
                </a:moveTo>
                <a:lnTo>
                  <a:pt x="4329" y="745"/>
                </a:lnTo>
                <a:cubicBezTo>
                  <a:pt x="4329" y="782"/>
                  <a:pt x="4299" y="812"/>
                  <a:pt x="4262" y="812"/>
                </a:cubicBezTo>
                <a:lnTo>
                  <a:pt x="2654" y="812"/>
                </a:lnTo>
                <a:cubicBezTo>
                  <a:pt x="2617" y="812"/>
                  <a:pt x="2587" y="782"/>
                  <a:pt x="2587" y="745"/>
                </a:cubicBezTo>
                <a:cubicBezTo>
                  <a:pt x="2587" y="708"/>
                  <a:pt x="2617" y="678"/>
                  <a:pt x="2654" y="678"/>
                </a:cubicBezTo>
                <a:lnTo>
                  <a:pt x="4262" y="678"/>
                </a:lnTo>
                <a:cubicBezTo>
                  <a:pt x="4299" y="678"/>
                  <a:pt x="4329" y="708"/>
                  <a:pt x="4329" y="745"/>
                </a:cubicBezTo>
                <a:lnTo>
                  <a:pt x="4329" y="745"/>
                </a:lnTo>
                <a:close/>
                <a:moveTo>
                  <a:pt x="1278" y="839"/>
                </a:moveTo>
                <a:lnTo>
                  <a:pt x="1278" y="839"/>
                </a:lnTo>
                <a:lnTo>
                  <a:pt x="582" y="839"/>
                </a:lnTo>
                <a:lnTo>
                  <a:pt x="582" y="651"/>
                </a:lnTo>
                <a:lnTo>
                  <a:pt x="2185" y="651"/>
                </a:lnTo>
                <a:lnTo>
                  <a:pt x="2185" y="839"/>
                </a:lnTo>
                <a:lnTo>
                  <a:pt x="1489" y="839"/>
                </a:lnTo>
                <a:lnTo>
                  <a:pt x="1489" y="2730"/>
                </a:lnTo>
                <a:lnTo>
                  <a:pt x="1278" y="2730"/>
                </a:lnTo>
                <a:lnTo>
                  <a:pt x="1278" y="839"/>
                </a:lnTo>
                <a:lnTo>
                  <a:pt x="1278" y="839"/>
                </a:lnTo>
                <a:close/>
                <a:moveTo>
                  <a:pt x="4665" y="4458"/>
                </a:moveTo>
                <a:lnTo>
                  <a:pt x="4665" y="4458"/>
                </a:lnTo>
                <a:cubicBezTo>
                  <a:pt x="4665" y="4572"/>
                  <a:pt x="4573" y="4664"/>
                  <a:pt x="4459" y="4664"/>
                </a:cubicBezTo>
                <a:lnTo>
                  <a:pt x="340" y="4664"/>
                </a:lnTo>
                <a:cubicBezTo>
                  <a:pt x="226" y="4664"/>
                  <a:pt x="134" y="4572"/>
                  <a:pt x="134" y="4458"/>
                </a:cubicBezTo>
                <a:lnTo>
                  <a:pt x="134" y="339"/>
                </a:lnTo>
                <a:cubicBezTo>
                  <a:pt x="134" y="225"/>
                  <a:pt x="226" y="133"/>
                  <a:pt x="340" y="133"/>
                </a:cubicBezTo>
                <a:lnTo>
                  <a:pt x="4459" y="133"/>
                </a:lnTo>
                <a:cubicBezTo>
                  <a:pt x="4573" y="133"/>
                  <a:pt x="4665" y="225"/>
                  <a:pt x="4665" y="339"/>
                </a:cubicBezTo>
                <a:lnTo>
                  <a:pt x="4665" y="4458"/>
                </a:lnTo>
                <a:lnTo>
                  <a:pt x="4665" y="4458"/>
                </a:lnTo>
                <a:close/>
                <a:moveTo>
                  <a:pt x="4459" y="0"/>
                </a:moveTo>
                <a:lnTo>
                  <a:pt x="4459" y="0"/>
                </a:lnTo>
                <a:lnTo>
                  <a:pt x="340" y="0"/>
                </a:lnTo>
                <a:cubicBezTo>
                  <a:pt x="152" y="0"/>
                  <a:pt x="0" y="151"/>
                  <a:pt x="0" y="339"/>
                </a:cubicBezTo>
                <a:lnTo>
                  <a:pt x="0" y="4458"/>
                </a:lnTo>
                <a:cubicBezTo>
                  <a:pt x="0" y="4646"/>
                  <a:pt x="152" y="4799"/>
                  <a:pt x="340" y="4799"/>
                </a:cubicBezTo>
                <a:lnTo>
                  <a:pt x="4459" y="4799"/>
                </a:lnTo>
                <a:cubicBezTo>
                  <a:pt x="4647" y="4799"/>
                  <a:pt x="4799" y="4646"/>
                  <a:pt x="4799" y="4458"/>
                </a:cubicBezTo>
                <a:lnTo>
                  <a:pt x="4799" y="339"/>
                </a:lnTo>
                <a:cubicBezTo>
                  <a:pt x="4799" y="151"/>
                  <a:pt x="4647" y="0"/>
                  <a:pt x="4459" y="0"/>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Light"/>
              <a:ea typeface="+mn-ea"/>
              <a:cs typeface="+mn-cs"/>
            </a:endParaRPr>
          </a:p>
        </p:txBody>
      </p:sp>
      <p:sp>
        <p:nvSpPr>
          <p:cNvPr id="246" name="Freeform 21">
            <a:extLst>
              <a:ext uri="{FF2B5EF4-FFF2-40B4-BE49-F238E27FC236}">
                <a16:creationId xmlns:a16="http://schemas.microsoft.com/office/drawing/2014/main" id="{46D76033-DAC6-45E4-8803-20A10CB3F9E9}"/>
              </a:ext>
            </a:extLst>
          </p:cNvPr>
          <p:cNvSpPr>
            <a:spLocks noChangeAspect="1" noEditPoints="1"/>
          </p:cNvSpPr>
          <p:nvPr/>
        </p:nvSpPr>
        <p:spPr bwMode="auto">
          <a:xfrm>
            <a:off x="1286309" y="2652587"/>
            <a:ext cx="396740" cy="361712"/>
          </a:xfrm>
          <a:custGeom>
            <a:avLst/>
            <a:gdLst>
              <a:gd name="T0" fmla="*/ 3037 w 3964"/>
              <a:gd name="T1" fmla="*/ 3635 h 4032"/>
              <a:gd name="T2" fmla="*/ 3133 w 3964"/>
              <a:gd name="T3" fmla="*/ 3755 h 4032"/>
              <a:gd name="T4" fmla="*/ 1162 w 3964"/>
              <a:gd name="T5" fmla="*/ 3596 h 4032"/>
              <a:gd name="T6" fmla="*/ 3097 w 3964"/>
              <a:gd name="T7" fmla="*/ 3281 h 4032"/>
              <a:gd name="T8" fmla="*/ 1969 w 3964"/>
              <a:gd name="T9" fmla="*/ 3281 h 4032"/>
              <a:gd name="T10" fmla="*/ 838 w 3964"/>
              <a:gd name="T11" fmla="*/ 3278 h 4032"/>
              <a:gd name="T12" fmla="*/ 3753 w 3964"/>
              <a:gd name="T13" fmla="*/ 3350 h 4032"/>
              <a:gd name="T14" fmla="*/ 3360 w 3964"/>
              <a:gd name="T15" fmla="*/ 3090 h 4032"/>
              <a:gd name="T16" fmla="*/ 3212 w 3964"/>
              <a:gd name="T17" fmla="*/ 3278 h 4032"/>
              <a:gd name="T18" fmla="*/ 2783 w 3964"/>
              <a:gd name="T19" fmla="*/ 3278 h 4032"/>
              <a:gd name="T20" fmla="*/ 2635 w 3964"/>
              <a:gd name="T21" fmla="*/ 3090 h 4032"/>
              <a:gd name="T22" fmla="*/ 2243 w 3964"/>
              <a:gd name="T23" fmla="*/ 3350 h 4032"/>
              <a:gd name="T24" fmla="*/ 2016 w 3964"/>
              <a:gd name="T25" fmla="*/ 3037 h 4032"/>
              <a:gd name="T26" fmla="*/ 1740 w 3964"/>
              <a:gd name="T27" fmla="*/ 3389 h 4032"/>
              <a:gd name="T28" fmla="*/ 1201 w 3964"/>
              <a:gd name="T29" fmla="*/ 3026 h 4032"/>
              <a:gd name="T30" fmla="*/ 1427 w 3964"/>
              <a:gd name="T31" fmla="*/ 3389 h 4032"/>
              <a:gd name="T32" fmla="*/ 1151 w 3964"/>
              <a:gd name="T33" fmla="*/ 3037 h 4032"/>
              <a:gd name="T34" fmla="*/ 924 w 3964"/>
              <a:gd name="T35" fmla="*/ 3350 h 4032"/>
              <a:gd name="T36" fmla="*/ 532 w 3964"/>
              <a:gd name="T37" fmla="*/ 3090 h 4032"/>
              <a:gd name="T38" fmla="*/ 3097 w 3964"/>
              <a:gd name="T39" fmla="*/ 2854 h 4032"/>
              <a:gd name="T40" fmla="*/ 1969 w 3964"/>
              <a:gd name="T41" fmla="*/ 2853 h 4032"/>
              <a:gd name="T42" fmla="*/ 838 w 3964"/>
              <a:gd name="T43" fmla="*/ 2852 h 4032"/>
              <a:gd name="T44" fmla="*/ 3753 w 3964"/>
              <a:gd name="T45" fmla="*/ 2923 h 4032"/>
              <a:gd name="T46" fmla="*/ 3360 w 3964"/>
              <a:gd name="T47" fmla="*/ 2662 h 4032"/>
              <a:gd name="T48" fmla="*/ 3212 w 3964"/>
              <a:gd name="T49" fmla="*/ 2852 h 4032"/>
              <a:gd name="T50" fmla="*/ 2783 w 3964"/>
              <a:gd name="T51" fmla="*/ 2852 h 4032"/>
              <a:gd name="T52" fmla="*/ 2635 w 3964"/>
              <a:gd name="T53" fmla="*/ 2662 h 4032"/>
              <a:gd name="T54" fmla="*/ 2243 w 3964"/>
              <a:gd name="T55" fmla="*/ 2923 h 4032"/>
              <a:gd name="T56" fmla="*/ 2016 w 3964"/>
              <a:gd name="T57" fmla="*/ 2611 h 4032"/>
              <a:gd name="T58" fmla="*/ 1740 w 3964"/>
              <a:gd name="T59" fmla="*/ 2963 h 4032"/>
              <a:gd name="T60" fmla="*/ 1201 w 3964"/>
              <a:gd name="T61" fmla="*/ 2599 h 4032"/>
              <a:gd name="T62" fmla="*/ 1427 w 3964"/>
              <a:gd name="T63" fmla="*/ 2963 h 4032"/>
              <a:gd name="T64" fmla="*/ 1151 w 3964"/>
              <a:gd name="T65" fmla="*/ 2611 h 4032"/>
              <a:gd name="T66" fmla="*/ 924 w 3964"/>
              <a:gd name="T67" fmla="*/ 2923 h 4032"/>
              <a:gd name="T68" fmla="*/ 532 w 3964"/>
              <a:gd name="T69" fmla="*/ 2662 h 4032"/>
              <a:gd name="T70" fmla="*/ 2565 w 3964"/>
              <a:gd name="T71" fmla="*/ 270 h 4032"/>
              <a:gd name="T72" fmla="*/ 3128 w 3964"/>
              <a:gd name="T73" fmla="*/ 1017 h 4032"/>
              <a:gd name="T74" fmla="*/ 2960 w 3964"/>
              <a:gd name="T75" fmla="*/ 1671 h 4032"/>
              <a:gd name="T76" fmla="*/ 1747 w 3964"/>
              <a:gd name="T77" fmla="*/ 1984 h 4032"/>
              <a:gd name="T78" fmla="*/ 1784 w 3964"/>
              <a:gd name="T79" fmla="*/ 2429 h 4032"/>
              <a:gd name="T80" fmla="*/ 441 w 3964"/>
              <a:gd name="T81" fmla="*/ 3848 h 4032"/>
              <a:gd name="T82" fmla="*/ 3849 w 3964"/>
              <a:gd name="T83" fmla="*/ 2566 h 4032"/>
              <a:gd name="T84" fmla="*/ 2246 w 3964"/>
              <a:gd name="T85" fmla="*/ 2364 h 4032"/>
              <a:gd name="T86" fmla="*/ 3962 w 3964"/>
              <a:gd name="T87" fmla="*/ 3829 h 4032"/>
              <a:gd name="T88" fmla="*/ 388 w 3964"/>
              <a:gd name="T89" fmla="*/ 3961 h 4032"/>
              <a:gd name="T90" fmla="*/ 520 w 3964"/>
              <a:gd name="T91" fmla="*/ 2357 h 4032"/>
              <a:gd name="T92" fmla="*/ 1728 w 3964"/>
              <a:gd name="T93" fmla="*/ 2186 h 4032"/>
              <a:gd name="T94" fmla="*/ 1878 w 3964"/>
              <a:gd name="T95" fmla="*/ 1619 h 4032"/>
              <a:gd name="T96" fmla="*/ 3099 w 3964"/>
              <a:gd name="T97" fmla="*/ 1273 h 4032"/>
              <a:gd name="T98" fmla="*/ 2760 w 3964"/>
              <a:gd name="T99" fmla="*/ 942 h 4032"/>
              <a:gd name="T100" fmla="*/ 2501 w 3964"/>
              <a:gd name="T101" fmla="*/ 363 h 4032"/>
              <a:gd name="T102" fmla="*/ 1544 w 3964"/>
              <a:gd name="T103" fmla="*/ 216 h 4032"/>
              <a:gd name="T104" fmla="*/ 1088 w 3964"/>
              <a:gd name="T105" fmla="*/ 638 h 4032"/>
              <a:gd name="T106" fmla="*/ 488 w 3964"/>
              <a:gd name="T107" fmla="*/ 1013 h 4032"/>
              <a:gd name="T108" fmla="*/ 182 w 3964"/>
              <a:gd name="T109" fmla="*/ 1190 h 4032"/>
              <a:gd name="T110" fmla="*/ 355 w 3964"/>
              <a:gd name="T111" fmla="*/ 1604 h 4032"/>
              <a:gd name="T112" fmla="*/ 205 w 3964"/>
              <a:gd name="T113" fmla="*/ 1684 h 4032"/>
              <a:gd name="T114" fmla="*/ 148 w 3964"/>
              <a:gd name="T115" fmla="*/ 1074 h 4032"/>
              <a:gd name="T116" fmla="*/ 757 w 3964"/>
              <a:gd name="T117" fmla="*/ 539 h 4032"/>
              <a:gd name="T118" fmla="*/ 1573 w 3964"/>
              <a:gd name="T119" fmla="*/ 76 h 4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64" h="4032">
                <a:moveTo>
                  <a:pt x="1285" y="3631"/>
                </a:moveTo>
                <a:lnTo>
                  <a:pt x="1272" y="3635"/>
                </a:lnTo>
                <a:lnTo>
                  <a:pt x="1263" y="3643"/>
                </a:lnTo>
                <a:lnTo>
                  <a:pt x="1259" y="3657"/>
                </a:lnTo>
                <a:lnTo>
                  <a:pt x="1259" y="3668"/>
                </a:lnTo>
                <a:lnTo>
                  <a:pt x="1263" y="3681"/>
                </a:lnTo>
                <a:lnTo>
                  <a:pt x="1272" y="3691"/>
                </a:lnTo>
                <a:lnTo>
                  <a:pt x="1285" y="3695"/>
                </a:lnTo>
                <a:lnTo>
                  <a:pt x="3025" y="3695"/>
                </a:lnTo>
                <a:lnTo>
                  <a:pt x="3037" y="3691"/>
                </a:lnTo>
                <a:lnTo>
                  <a:pt x="3047" y="3681"/>
                </a:lnTo>
                <a:lnTo>
                  <a:pt x="3051" y="3668"/>
                </a:lnTo>
                <a:lnTo>
                  <a:pt x="3051" y="3657"/>
                </a:lnTo>
                <a:lnTo>
                  <a:pt x="3047" y="3643"/>
                </a:lnTo>
                <a:lnTo>
                  <a:pt x="3037" y="3635"/>
                </a:lnTo>
                <a:lnTo>
                  <a:pt x="3025" y="3631"/>
                </a:lnTo>
                <a:lnTo>
                  <a:pt x="1285" y="3631"/>
                </a:lnTo>
                <a:close/>
                <a:moveTo>
                  <a:pt x="1285" y="3519"/>
                </a:moveTo>
                <a:lnTo>
                  <a:pt x="3025" y="3519"/>
                </a:lnTo>
                <a:lnTo>
                  <a:pt x="3057" y="3523"/>
                </a:lnTo>
                <a:lnTo>
                  <a:pt x="3085" y="3533"/>
                </a:lnTo>
                <a:lnTo>
                  <a:pt x="3111" y="3549"/>
                </a:lnTo>
                <a:lnTo>
                  <a:pt x="3133" y="3571"/>
                </a:lnTo>
                <a:lnTo>
                  <a:pt x="3149" y="3596"/>
                </a:lnTo>
                <a:lnTo>
                  <a:pt x="3159" y="3625"/>
                </a:lnTo>
                <a:lnTo>
                  <a:pt x="3162" y="3657"/>
                </a:lnTo>
                <a:lnTo>
                  <a:pt x="3162" y="3668"/>
                </a:lnTo>
                <a:lnTo>
                  <a:pt x="3159" y="3700"/>
                </a:lnTo>
                <a:lnTo>
                  <a:pt x="3149" y="3729"/>
                </a:lnTo>
                <a:lnTo>
                  <a:pt x="3133" y="3755"/>
                </a:lnTo>
                <a:lnTo>
                  <a:pt x="3111" y="3775"/>
                </a:lnTo>
                <a:lnTo>
                  <a:pt x="3085" y="3791"/>
                </a:lnTo>
                <a:lnTo>
                  <a:pt x="3057" y="3802"/>
                </a:lnTo>
                <a:lnTo>
                  <a:pt x="3025" y="3806"/>
                </a:lnTo>
                <a:lnTo>
                  <a:pt x="1285" y="3806"/>
                </a:lnTo>
                <a:lnTo>
                  <a:pt x="1253" y="3802"/>
                </a:lnTo>
                <a:lnTo>
                  <a:pt x="1225" y="3791"/>
                </a:lnTo>
                <a:lnTo>
                  <a:pt x="1200" y="3775"/>
                </a:lnTo>
                <a:lnTo>
                  <a:pt x="1178" y="3755"/>
                </a:lnTo>
                <a:lnTo>
                  <a:pt x="1162" y="3729"/>
                </a:lnTo>
                <a:lnTo>
                  <a:pt x="1151" y="3700"/>
                </a:lnTo>
                <a:lnTo>
                  <a:pt x="1148" y="3668"/>
                </a:lnTo>
                <a:lnTo>
                  <a:pt x="1148" y="3657"/>
                </a:lnTo>
                <a:lnTo>
                  <a:pt x="1151" y="3625"/>
                </a:lnTo>
                <a:lnTo>
                  <a:pt x="1162" y="3596"/>
                </a:lnTo>
                <a:lnTo>
                  <a:pt x="1178" y="3571"/>
                </a:lnTo>
                <a:lnTo>
                  <a:pt x="1200" y="3549"/>
                </a:lnTo>
                <a:lnTo>
                  <a:pt x="1225" y="3533"/>
                </a:lnTo>
                <a:lnTo>
                  <a:pt x="1253" y="3523"/>
                </a:lnTo>
                <a:lnTo>
                  <a:pt x="1285" y="3519"/>
                </a:lnTo>
                <a:close/>
                <a:moveTo>
                  <a:pt x="3463" y="3138"/>
                </a:moveTo>
                <a:lnTo>
                  <a:pt x="3461" y="3278"/>
                </a:lnTo>
                <a:lnTo>
                  <a:pt x="3664" y="3281"/>
                </a:lnTo>
                <a:lnTo>
                  <a:pt x="3665" y="3281"/>
                </a:lnTo>
                <a:lnTo>
                  <a:pt x="3666" y="3278"/>
                </a:lnTo>
                <a:lnTo>
                  <a:pt x="3666" y="3140"/>
                </a:lnTo>
                <a:lnTo>
                  <a:pt x="3463" y="3138"/>
                </a:lnTo>
                <a:close/>
                <a:moveTo>
                  <a:pt x="2897" y="3138"/>
                </a:moveTo>
                <a:lnTo>
                  <a:pt x="2894" y="3278"/>
                </a:lnTo>
                <a:lnTo>
                  <a:pt x="3097" y="3281"/>
                </a:lnTo>
                <a:lnTo>
                  <a:pt x="3100" y="3281"/>
                </a:lnTo>
                <a:lnTo>
                  <a:pt x="3100" y="3278"/>
                </a:lnTo>
                <a:lnTo>
                  <a:pt x="3100" y="3140"/>
                </a:lnTo>
                <a:lnTo>
                  <a:pt x="2897" y="3138"/>
                </a:lnTo>
                <a:close/>
                <a:moveTo>
                  <a:pt x="2332" y="3138"/>
                </a:moveTo>
                <a:lnTo>
                  <a:pt x="2329" y="3278"/>
                </a:lnTo>
                <a:lnTo>
                  <a:pt x="2532" y="3281"/>
                </a:lnTo>
                <a:lnTo>
                  <a:pt x="2534" y="3281"/>
                </a:lnTo>
                <a:lnTo>
                  <a:pt x="2535" y="3278"/>
                </a:lnTo>
                <a:lnTo>
                  <a:pt x="2535" y="3140"/>
                </a:lnTo>
                <a:lnTo>
                  <a:pt x="2332" y="3138"/>
                </a:lnTo>
                <a:close/>
                <a:moveTo>
                  <a:pt x="1766" y="3138"/>
                </a:moveTo>
                <a:lnTo>
                  <a:pt x="1763" y="3278"/>
                </a:lnTo>
                <a:lnTo>
                  <a:pt x="1966" y="3281"/>
                </a:lnTo>
                <a:lnTo>
                  <a:pt x="1969" y="3281"/>
                </a:lnTo>
                <a:lnTo>
                  <a:pt x="1969" y="3278"/>
                </a:lnTo>
                <a:lnTo>
                  <a:pt x="1969" y="3140"/>
                </a:lnTo>
                <a:lnTo>
                  <a:pt x="1766" y="3138"/>
                </a:lnTo>
                <a:close/>
                <a:moveTo>
                  <a:pt x="1201" y="3138"/>
                </a:moveTo>
                <a:lnTo>
                  <a:pt x="1198" y="3278"/>
                </a:lnTo>
                <a:lnTo>
                  <a:pt x="1401" y="3281"/>
                </a:lnTo>
                <a:lnTo>
                  <a:pt x="1403" y="3281"/>
                </a:lnTo>
                <a:lnTo>
                  <a:pt x="1404" y="3278"/>
                </a:lnTo>
                <a:lnTo>
                  <a:pt x="1404" y="3140"/>
                </a:lnTo>
                <a:lnTo>
                  <a:pt x="1201" y="3138"/>
                </a:lnTo>
                <a:close/>
                <a:moveTo>
                  <a:pt x="635" y="3138"/>
                </a:moveTo>
                <a:lnTo>
                  <a:pt x="632" y="3278"/>
                </a:lnTo>
                <a:lnTo>
                  <a:pt x="835" y="3281"/>
                </a:lnTo>
                <a:lnTo>
                  <a:pt x="838" y="3281"/>
                </a:lnTo>
                <a:lnTo>
                  <a:pt x="838" y="3278"/>
                </a:lnTo>
                <a:lnTo>
                  <a:pt x="838" y="3140"/>
                </a:lnTo>
                <a:lnTo>
                  <a:pt x="635" y="3138"/>
                </a:lnTo>
                <a:close/>
                <a:moveTo>
                  <a:pt x="3463" y="3026"/>
                </a:moveTo>
                <a:lnTo>
                  <a:pt x="3664" y="3026"/>
                </a:lnTo>
                <a:lnTo>
                  <a:pt x="3689" y="3029"/>
                </a:lnTo>
                <a:lnTo>
                  <a:pt x="3714" y="3037"/>
                </a:lnTo>
                <a:lnTo>
                  <a:pt x="3734" y="3051"/>
                </a:lnTo>
                <a:lnTo>
                  <a:pt x="3753" y="3069"/>
                </a:lnTo>
                <a:lnTo>
                  <a:pt x="3766" y="3090"/>
                </a:lnTo>
                <a:lnTo>
                  <a:pt x="3775" y="3114"/>
                </a:lnTo>
                <a:lnTo>
                  <a:pt x="3777" y="3140"/>
                </a:lnTo>
                <a:lnTo>
                  <a:pt x="3777" y="3278"/>
                </a:lnTo>
                <a:lnTo>
                  <a:pt x="3775" y="3305"/>
                </a:lnTo>
                <a:lnTo>
                  <a:pt x="3766" y="3328"/>
                </a:lnTo>
                <a:lnTo>
                  <a:pt x="3753" y="3350"/>
                </a:lnTo>
                <a:lnTo>
                  <a:pt x="3734" y="3367"/>
                </a:lnTo>
                <a:lnTo>
                  <a:pt x="3714" y="3381"/>
                </a:lnTo>
                <a:lnTo>
                  <a:pt x="3689" y="3389"/>
                </a:lnTo>
                <a:lnTo>
                  <a:pt x="3664" y="3393"/>
                </a:lnTo>
                <a:lnTo>
                  <a:pt x="3463" y="3393"/>
                </a:lnTo>
                <a:lnTo>
                  <a:pt x="3436" y="3389"/>
                </a:lnTo>
                <a:lnTo>
                  <a:pt x="3413" y="3381"/>
                </a:lnTo>
                <a:lnTo>
                  <a:pt x="3392" y="3367"/>
                </a:lnTo>
                <a:lnTo>
                  <a:pt x="3374" y="3350"/>
                </a:lnTo>
                <a:lnTo>
                  <a:pt x="3360" y="3328"/>
                </a:lnTo>
                <a:lnTo>
                  <a:pt x="3352" y="3305"/>
                </a:lnTo>
                <a:lnTo>
                  <a:pt x="3349" y="3278"/>
                </a:lnTo>
                <a:lnTo>
                  <a:pt x="3349" y="3140"/>
                </a:lnTo>
                <a:lnTo>
                  <a:pt x="3352" y="3114"/>
                </a:lnTo>
                <a:lnTo>
                  <a:pt x="3360" y="3090"/>
                </a:lnTo>
                <a:lnTo>
                  <a:pt x="3374" y="3069"/>
                </a:lnTo>
                <a:lnTo>
                  <a:pt x="3392" y="3051"/>
                </a:lnTo>
                <a:lnTo>
                  <a:pt x="3413" y="3037"/>
                </a:lnTo>
                <a:lnTo>
                  <a:pt x="3436" y="3029"/>
                </a:lnTo>
                <a:lnTo>
                  <a:pt x="3463" y="3026"/>
                </a:lnTo>
                <a:close/>
                <a:moveTo>
                  <a:pt x="2897" y="3026"/>
                </a:moveTo>
                <a:lnTo>
                  <a:pt x="3097" y="3026"/>
                </a:lnTo>
                <a:lnTo>
                  <a:pt x="3124" y="3029"/>
                </a:lnTo>
                <a:lnTo>
                  <a:pt x="3147" y="3037"/>
                </a:lnTo>
                <a:lnTo>
                  <a:pt x="3170" y="3051"/>
                </a:lnTo>
                <a:lnTo>
                  <a:pt x="3187" y="3069"/>
                </a:lnTo>
                <a:lnTo>
                  <a:pt x="3200" y="3090"/>
                </a:lnTo>
                <a:lnTo>
                  <a:pt x="3209" y="3114"/>
                </a:lnTo>
                <a:lnTo>
                  <a:pt x="3212" y="3140"/>
                </a:lnTo>
                <a:lnTo>
                  <a:pt x="3212" y="3278"/>
                </a:lnTo>
                <a:lnTo>
                  <a:pt x="3209" y="3305"/>
                </a:lnTo>
                <a:lnTo>
                  <a:pt x="3200" y="3328"/>
                </a:lnTo>
                <a:lnTo>
                  <a:pt x="3187" y="3350"/>
                </a:lnTo>
                <a:lnTo>
                  <a:pt x="3170" y="3367"/>
                </a:lnTo>
                <a:lnTo>
                  <a:pt x="3147" y="3381"/>
                </a:lnTo>
                <a:lnTo>
                  <a:pt x="3124" y="3389"/>
                </a:lnTo>
                <a:lnTo>
                  <a:pt x="3097" y="3393"/>
                </a:lnTo>
                <a:lnTo>
                  <a:pt x="2897" y="3393"/>
                </a:lnTo>
                <a:lnTo>
                  <a:pt x="2871" y="3389"/>
                </a:lnTo>
                <a:lnTo>
                  <a:pt x="2847" y="3381"/>
                </a:lnTo>
                <a:lnTo>
                  <a:pt x="2826" y="3367"/>
                </a:lnTo>
                <a:lnTo>
                  <a:pt x="2809" y="3350"/>
                </a:lnTo>
                <a:lnTo>
                  <a:pt x="2795" y="3328"/>
                </a:lnTo>
                <a:lnTo>
                  <a:pt x="2786" y="3305"/>
                </a:lnTo>
                <a:lnTo>
                  <a:pt x="2783" y="3278"/>
                </a:lnTo>
                <a:lnTo>
                  <a:pt x="2783" y="3140"/>
                </a:lnTo>
                <a:lnTo>
                  <a:pt x="2786" y="3114"/>
                </a:lnTo>
                <a:lnTo>
                  <a:pt x="2795" y="3090"/>
                </a:lnTo>
                <a:lnTo>
                  <a:pt x="2809" y="3069"/>
                </a:lnTo>
                <a:lnTo>
                  <a:pt x="2826" y="3051"/>
                </a:lnTo>
                <a:lnTo>
                  <a:pt x="2847" y="3037"/>
                </a:lnTo>
                <a:lnTo>
                  <a:pt x="2871" y="3029"/>
                </a:lnTo>
                <a:lnTo>
                  <a:pt x="2897" y="3026"/>
                </a:lnTo>
                <a:close/>
                <a:moveTo>
                  <a:pt x="2332" y="3026"/>
                </a:moveTo>
                <a:lnTo>
                  <a:pt x="2532" y="3026"/>
                </a:lnTo>
                <a:lnTo>
                  <a:pt x="2558" y="3029"/>
                </a:lnTo>
                <a:lnTo>
                  <a:pt x="2583" y="3037"/>
                </a:lnTo>
                <a:lnTo>
                  <a:pt x="2603" y="3051"/>
                </a:lnTo>
                <a:lnTo>
                  <a:pt x="2622" y="3069"/>
                </a:lnTo>
                <a:lnTo>
                  <a:pt x="2635" y="3090"/>
                </a:lnTo>
                <a:lnTo>
                  <a:pt x="2644" y="3114"/>
                </a:lnTo>
                <a:lnTo>
                  <a:pt x="2646" y="3140"/>
                </a:lnTo>
                <a:lnTo>
                  <a:pt x="2646" y="3278"/>
                </a:lnTo>
                <a:lnTo>
                  <a:pt x="2644" y="3305"/>
                </a:lnTo>
                <a:lnTo>
                  <a:pt x="2635" y="3328"/>
                </a:lnTo>
                <a:lnTo>
                  <a:pt x="2622" y="3350"/>
                </a:lnTo>
                <a:lnTo>
                  <a:pt x="2603" y="3367"/>
                </a:lnTo>
                <a:lnTo>
                  <a:pt x="2583" y="3381"/>
                </a:lnTo>
                <a:lnTo>
                  <a:pt x="2558" y="3389"/>
                </a:lnTo>
                <a:lnTo>
                  <a:pt x="2532" y="3393"/>
                </a:lnTo>
                <a:lnTo>
                  <a:pt x="2332" y="3393"/>
                </a:lnTo>
                <a:lnTo>
                  <a:pt x="2305" y="3389"/>
                </a:lnTo>
                <a:lnTo>
                  <a:pt x="2282" y="3381"/>
                </a:lnTo>
                <a:lnTo>
                  <a:pt x="2260" y="3367"/>
                </a:lnTo>
                <a:lnTo>
                  <a:pt x="2243" y="3350"/>
                </a:lnTo>
                <a:lnTo>
                  <a:pt x="2229" y="3328"/>
                </a:lnTo>
                <a:lnTo>
                  <a:pt x="2221" y="3305"/>
                </a:lnTo>
                <a:lnTo>
                  <a:pt x="2217" y="3278"/>
                </a:lnTo>
                <a:lnTo>
                  <a:pt x="2217" y="3140"/>
                </a:lnTo>
                <a:lnTo>
                  <a:pt x="2221" y="3114"/>
                </a:lnTo>
                <a:lnTo>
                  <a:pt x="2229" y="3090"/>
                </a:lnTo>
                <a:lnTo>
                  <a:pt x="2243" y="3069"/>
                </a:lnTo>
                <a:lnTo>
                  <a:pt x="2260" y="3051"/>
                </a:lnTo>
                <a:lnTo>
                  <a:pt x="2282" y="3037"/>
                </a:lnTo>
                <a:lnTo>
                  <a:pt x="2305" y="3029"/>
                </a:lnTo>
                <a:lnTo>
                  <a:pt x="2332" y="3026"/>
                </a:lnTo>
                <a:close/>
                <a:moveTo>
                  <a:pt x="1766" y="3026"/>
                </a:moveTo>
                <a:lnTo>
                  <a:pt x="1966" y="3026"/>
                </a:lnTo>
                <a:lnTo>
                  <a:pt x="1993" y="3029"/>
                </a:lnTo>
                <a:lnTo>
                  <a:pt x="2016" y="3037"/>
                </a:lnTo>
                <a:lnTo>
                  <a:pt x="2038" y="3051"/>
                </a:lnTo>
                <a:lnTo>
                  <a:pt x="2056" y="3069"/>
                </a:lnTo>
                <a:lnTo>
                  <a:pt x="2069" y="3090"/>
                </a:lnTo>
                <a:lnTo>
                  <a:pt x="2078" y="3114"/>
                </a:lnTo>
                <a:lnTo>
                  <a:pt x="2081" y="3140"/>
                </a:lnTo>
                <a:lnTo>
                  <a:pt x="2081" y="3278"/>
                </a:lnTo>
                <a:lnTo>
                  <a:pt x="2078" y="3305"/>
                </a:lnTo>
                <a:lnTo>
                  <a:pt x="2069" y="3328"/>
                </a:lnTo>
                <a:lnTo>
                  <a:pt x="2056" y="3350"/>
                </a:lnTo>
                <a:lnTo>
                  <a:pt x="2038" y="3367"/>
                </a:lnTo>
                <a:lnTo>
                  <a:pt x="2016" y="3381"/>
                </a:lnTo>
                <a:lnTo>
                  <a:pt x="1993" y="3389"/>
                </a:lnTo>
                <a:lnTo>
                  <a:pt x="1966" y="3393"/>
                </a:lnTo>
                <a:lnTo>
                  <a:pt x="1766" y="3393"/>
                </a:lnTo>
                <a:lnTo>
                  <a:pt x="1740" y="3389"/>
                </a:lnTo>
                <a:lnTo>
                  <a:pt x="1716" y="3381"/>
                </a:lnTo>
                <a:lnTo>
                  <a:pt x="1695" y="3367"/>
                </a:lnTo>
                <a:lnTo>
                  <a:pt x="1676" y="3350"/>
                </a:lnTo>
                <a:lnTo>
                  <a:pt x="1663" y="3328"/>
                </a:lnTo>
                <a:lnTo>
                  <a:pt x="1654" y="3305"/>
                </a:lnTo>
                <a:lnTo>
                  <a:pt x="1652" y="3278"/>
                </a:lnTo>
                <a:lnTo>
                  <a:pt x="1652" y="3140"/>
                </a:lnTo>
                <a:lnTo>
                  <a:pt x="1654" y="3114"/>
                </a:lnTo>
                <a:lnTo>
                  <a:pt x="1663" y="3090"/>
                </a:lnTo>
                <a:lnTo>
                  <a:pt x="1676" y="3069"/>
                </a:lnTo>
                <a:lnTo>
                  <a:pt x="1695" y="3051"/>
                </a:lnTo>
                <a:lnTo>
                  <a:pt x="1716" y="3037"/>
                </a:lnTo>
                <a:lnTo>
                  <a:pt x="1740" y="3029"/>
                </a:lnTo>
                <a:lnTo>
                  <a:pt x="1766" y="3026"/>
                </a:lnTo>
                <a:close/>
                <a:moveTo>
                  <a:pt x="1201" y="3026"/>
                </a:moveTo>
                <a:lnTo>
                  <a:pt x="1401" y="3026"/>
                </a:lnTo>
                <a:lnTo>
                  <a:pt x="1427" y="3029"/>
                </a:lnTo>
                <a:lnTo>
                  <a:pt x="1451" y="3037"/>
                </a:lnTo>
                <a:lnTo>
                  <a:pt x="1472" y="3051"/>
                </a:lnTo>
                <a:lnTo>
                  <a:pt x="1491" y="3069"/>
                </a:lnTo>
                <a:lnTo>
                  <a:pt x="1504" y="3090"/>
                </a:lnTo>
                <a:lnTo>
                  <a:pt x="1513" y="3114"/>
                </a:lnTo>
                <a:lnTo>
                  <a:pt x="1515" y="3140"/>
                </a:lnTo>
                <a:lnTo>
                  <a:pt x="1515" y="3278"/>
                </a:lnTo>
                <a:lnTo>
                  <a:pt x="1513" y="3305"/>
                </a:lnTo>
                <a:lnTo>
                  <a:pt x="1504" y="3328"/>
                </a:lnTo>
                <a:lnTo>
                  <a:pt x="1491" y="3350"/>
                </a:lnTo>
                <a:lnTo>
                  <a:pt x="1472" y="3367"/>
                </a:lnTo>
                <a:lnTo>
                  <a:pt x="1451" y="3381"/>
                </a:lnTo>
                <a:lnTo>
                  <a:pt x="1427" y="3389"/>
                </a:lnTo>
                <a:lnTo>
                  <a:pt x="1401" y="3393"/>
                </a:lnTo>
                <a:lnTo>
                  <a:pt x="1201" y="3393"/>
                </a:lnTo>
                <a:lnTo>
                  <a:pt x="1174" y="3389"/>
                </a:lnTo>
                <a:lnTo>
                  <a:pt x="1151" y="3381"/>
                </a:lnTo>
                <a:lnTo>
                  <a:pt x="1129" y="3367"/>
                </a:lnTo>
                <a:lnTo>
                  <a:pt x="1112" y="3350"/>
                </a:lnTo>
                <a:lnTo>
                  <a:pt x="1098" y="3328"/>
                </a:lnTo>
                <a:lnTo>
                  <a:pt x="1090" y="3305"/>
                </a:lnTo>
                <a:lnTo>
                  <a:pt x="1086" y="3278"/>
                </a:lnTo>
                <a:lnTo>
                  <a:pt x="1086" y="3140"/>
                </a:lnTo>
                <a:lnTo>
                  <a:pt x="1090" y="3114"/>
                </a:lnTo>
                <a:lnTo>
                  <a:pt x="1098" y="3090"/>
                </a:lnTo>
                <a:lnTo>
                  <a:pt x="1112" y="3069"/>
                </a:lnTo>
                <a:lnTo>
                  <a:pt x="1129" y="3051"/>
                </a:lnTo>
                <a:lnTo>
                  <a:pt x="1151" y="3037"/>
                </a:lnTo>
                <a:lnTo>
                  <a:pt x="1174" y="3029"/>
                </a:lnTo>
                <a:lnTo>
                  <a:pt x="1201" y="3026"/>
                </a:lnTo>
                <a:close/>
                <a:moveTo>
                  <a:pt x="635" y="3026"/>
                </a:moveTo>
                <a:lnTo>
                  <a:pt x="835" y="3026"/>
                </a:lnTo>
                <a:lnTo>
                  <a:pt x="862" y="3029"/>
                </a:lnTo>
                <a:lnTo>
                  <a:pt x="885" y="3037"/>
                </a:lnTo>
                <a:lnTo>
                  <a:pt x="907" y="3051"/>
                </a:lnTo>
                <a:lnTo>
                  <a:pt x="924" y="3069"/>
                </a:lnTo>
                <a:lnTo>
                  <a:pt x="938" y="3090"/>
                </a:lnTo>
                <a:lnTo>
                  <a:pt x="946" y="3114"/>
                </a:lnTo>
                <a:lnTo>
                  <a:pt x="950" y="3140"/>
                </a:lnTo>
                <a:lnTo>
                  <a:pt x="950" y="3278"/>
                </a:lnTo>
                <a:lnTo>
                  <a:pt x="946" y="3305"/>
                </a:lnTo>
                <a:lnTo>
                  <a:pt x="938" y="3328"/>
                </a:lnTo>
                <a:lnTo>
                  <a:pt x="924" y="3350"/>
                </a:lnTo>
                <a:lnTo>
                  <a:pt x="907" y="3367"/>
                </a:lnTo>
                <a:lnTo>
                  <a:pt x="885" y="3381"/>
                </a:lnTo>
                <a:lnTo>
                  <a:pt x="862" y="3389"/>
                </a:lnTo>
                <a:lnTo>
                  <a:pt x="835" y="3393"/>
                </a:lnTo>
                <a:lnTo>
                  <a:pt x="635" y="3393"/>
                </a:lnTo>
                <a:lnTo>
                  <a:pt x="609" y="3389"/>
                </a:lnTo>
                <a:lnTo>
                  <a:pt x="585" y="3381"/>
                </a:lnTo>
                <a:lnTo>
                  <a:pt x="564" y="3367"/>
                </a:lnTo>
                <a:lnTo>
                  <a:pt x="545" y="3350"/>
                </a:lnTo>
                <a:lnTo>
                  <a:pt x="532" y="3328"/>
                </a:lnTo>
                <a:lnTo>
                  <a:pt x="523" y="3305"/>
                </a:lnTo>
                <a:lnTo>
                  <a:pt x="521" y="3278"/>
                </a:lnTo>
                <a:lnTo>
                  <a:pt x="521" y="3140"/>
                </a:lnTo>
                <a:lnTo>
                  <a:pt x="523" y="3114"/>
                </a:lnTo>
                <a:lnTo>
                  <a:pt x="532" y="3090"/>
                </a:lnTo>
                <a:lnTo>
                  <a:pt x="545" y="3069"/>
                </a:lnTo>
                <a:lnTo>
                  <a:pt x="564" y="3051"/>
                </a:lnTo>
                <a:lnTo>
                  <a:pt x="585" y="3037"/>
                </a:lnTo>
                <a:lnTo>
                  <a:pt x="609" y="3029"/>
                </a:lnTo>
                <a:lnTo>
                  <a:pt x="635" y="3026"/>
                </a:lnTo>
                <a:close/>
                <a:moveTo>
                  <a:pt x="3463" y="2710"/>
                </a:moveTo>
                <a:lnTo>
                  <a:pt x="3461" y="2852"/>
                </a:lnTo>
                <a:lnTo>
                  <a:pt x="3664" y="2854"/>
                </a:lnTo>
                <a:lnTo>
                  <a:pt x="3665" y="2853"/>
                </a:lnTo>
                <a:lnTo>
                  <a:pt x="3666" y="2852"/>
                </a:lnTo>
                <a:lnTo>
                  <a:pt x="3666" y="2712"/>
                </a:lnTo>
                <a:lnTo>
                  <a:pt x="3463" y="2710"/>
                </a:lnTo>
                <a:close/>
                <a:moveTo>
                  <a:pt x="2897" y="2710"/>
                </a:moveTo>
                <a:lnTo>
                  <a:pt x="2894" y="2852"/>
                </a:lnTo>
                <a:lnTo>
                  <a:pt x="3097" y="2854"/>
                </a:lnTo>
                <a:lnTo>
                  <a:pt x="3100" y="2853"/>
                </a:lnTo>
                <a:lnTo>
                  <a:pt x="3100" y="2852"/>
                </a:lnTo>
                <a:lnTo>
                  <a:pt x="3100" y="2712"/>
                </a:lnTo>
                <a:lnTo>
                  <a:pt x="2897" y="2710"/>
                </a:lnTo>
                <a:close/>
                <a:moveTo>
                  <a:pt x="2332" y="2710"/>
                </a:moveTo>
                <a:lnTo>
                  <a:pt x="2329" y="2852"/>
                </a:lnTo>
                <a:lnTo>
                  <a:pt x="2532" y="2854"/>
                </a:lnTo>
                <a:lnTo>
                  <a:pt x="2534" y="2853"/>
                </a:lnTo>
                <a:lnTo>
                  <a:pt x="2535" y="2852"/>
                </a:lnTo>
                <a:lnTo>
                  <a:pt x="2535" y="2712"/>
                </a:lnTo>
                <a:lnTo>
                  <a:pt x="2332" y="2710"/>
                </a:lnTo>
                <a:close/>
                <a:moveTo>
                  <a:pt x="1766" y="2710"/>
                </a:moveTo>
                <a:lnTo>
                  <a:pt x="1763" y="2852"/>
                </a:lnTo>
                <a:lnTo>
                  <a:pt x="1966" y="2854"/>
                </a:lnTo>
                <a:lnTo>
                  <a:pt x="1969" y="2853"/>
                </a:lnTo>
                <a:lnTo>
                  <a:pt x="1969" y="2852"/>
                </a:lnTo>
                <a:lnTo>
                  <a:pt x="1969" y="2712"/>
                </a:lnTo>
                <a:lnTo>
                  <a:pt x="1766" y="2710"/>
                </a:lnTo>
                <a:close/>
                <a:moveTo>
                  <a:pt x="1201" y="2710"/>
                </a:moveTo>
                <a:lnTo>
                  <a:pt x="1198" y="2852"/>
                </a:lnTo>
                <a:lnTo>
                  <a:pt x="1401" y="2854"/>
                </a:lnTo>
                <a:lnTo>
                  <a:pt x="1403" y="2853"/>
                </a:lnTo>
                <a:lnTo>
                  <a:pt x="1404" y="2852"/>
                </a:lnTo>
                <a:lnTo>
                  <a:pt x="1404" y="2712"/>
                </a:lnTo>
                <a:lnTo>
                  <a:pt x="1201" y="2710"/>
                </a:lnTo>
                <a:close/>
                <a:moveTo>
                  <a:pt x="635" y="2710"/>
                </a:moveTo>
                <a:lnTo>
                  <a:pt x="632" y="2852"/>
                </a:lnTo>
                <a:lnTo>
                  <a:pt x="835" y="2854"/>
                </a:lnTo>
                <a:lnTo>
                  <a:pt x="838" y="2853"/>
                </a:lnTo>
                <a:lnTo>
                  <a:pt x="838" y="2852"/>
                </a:lnTo>
                <a:lnTo>
                  <a:pt x="838" y="2712"/>
                </a:lnTo>
                <a:lnTo>
                  <a:pt x="635" y="2710"/>
                </a:lnTo>
                <a:close/>
                <a:moveTo>
                  <a:pt x="3463" y="2599"/>
                </a:moveTo>
                <a:lnTo>
                  <a:pt x="3664" y="2599"/>
                </a:lnTo>
                <a:lnTo>
                  <a:pt x="3689" y="2602"/>
                </a:lnTo>
                <a:lnTo>
                  <a:pt x="3714" y="2611"/>
                </a:lnTo>
                <a:lnTo>
                  <a:pt x="3734" y="2624"/>
                </a:lnTo>
                <a:lnTo>
                  <a:pt x="3753" y="2642"/>
                </a:lnTo>
                <a:lnTo>
                  <a:pt x="3766" y="2662"/>
                </a:lnTo>
                <a:lnTo>
                  <a:pt x="3775" y="2687"/>
                </a:lnTo>
                <a:lnTo>
                  <a:pt x="3777" y="2712"/>
                </a:lnTo>
                <a:lnTo>
                  <a:pt x="3777" y="2852"/>
                </a:lnTo>
                <a:lnTo>
                  <a:pt x="3775" y="2877"/>
                </a:lnTo>
                <a:lnTo>
                  <a:pt x="3766" y="2902"/>
                </a:lnTo>
                <a:lnTo>
                  <a:pt x="3753" y="2923"/>
                </a:lnTo>
                <a:lnTo>
                  <a:pt x="3734" y="2941"/>
                </a:lnTo>
                <a:lnTo>
                  <a:pt x="3714" y="2954"/>
                </a:lnTo>
                <a:lnTo>
                  <a:pt x="3689" y="2963"/>
                </a:lnTo>
                <a:lnTo>
                  <a:pt x="3664" y="2965"/>
                </a:lnTo>
                <a:lnTo>
                  <a:pt x="3463" y="2965"/>
                </a:lnTo>
                <a:lnTo>
                  <a:pt x="3436" y="2963"/>
                </a:lnTo>
                <a:lnTo>
                  <a:pt x="3413" y="2954"/>
                </a:lnTo>
                <a:lnTo>
                  <a:pt x="3392" y="2941"/>
                </a:lnTo>
                <a:lnTo>
                  <a:pt x="3374" y="2923"/>
                </a:lnTo>
                <a:lnTo>
                  <a:pt x="3360" y="2902"/>
                </a:lnTo>
                <a:lnTo>
                  <a:pt x="3352" y="2877"/>
                </a:lnTo>
                <a:lnTo>
                  <a:pt x="3349" y="2852"/>
                </a:lnTo>
                <a:lnTo>
                  <a:pt x="3349" y="2712"/>
                </a:lnTo>
                <a:lnTo>
                  <a:pt x="3352" y="2687"/>
                </a:lnTo>
                <a:lnTo>
                  <a:pt x="3360" y="2662"/>
                </a:lnTo>
                <a:lnTo>
                  <a:pt x="3374" y="2642"/>
                </a:lnTo>
                <a:lnTo>
                  <a:pt x="3392" y="2624"/>
                </a:lnTo>
                <a:lnTo>
                  <a:pt x="3413" y="2611"/>
                </a:lnTo>
                <a:lnTo>
                  <a:pt x="3436" y="2602"/>
                </a:lnTo>
                <a:lnTo>
                  <a:pt x="3463" y="2599"/>
                </a:lnTo>
                <a:close/>
                <a:moveTo>
                  <a:pt x="2897" y="2599"/>
                </a:moveTo>
                <a:lnTo>
                  <a:pt x="3097" y="2599"/>
                </a:lnTo>
                <a:lnTo>
                  <a:pt x="3124" y="2602"/>
                </a:lnTo>
                <a:lnTo>
                  <a:pt x="3147" y="2611"/>
                </a:lnTo>
                <a:lnTo>
                  <a:pt x="3170" y="2624"/>
                </a:lnTo>
                <a:lnTo>
                  <a:pt x="3187" y="2642"/>
                </a:lnTo>
                <a:lnTo>
                  <a:pt x="3200" y="2662"/>
                </a:lnTo>
                <a:lnTo>
                  <a:pt x="3209" y="2687"/>
                </a:lnTo>
                <a:lnTo>
                  <a:pt x="3212" y="2712"/>
                </a:lnTo>
                <a:lnTo>
                  <a:pt x="3212" y="2852"/>
                </a:lnTo>
                <a:lnTo>
                  <a:pt x="3209" y="2877"/>
                </a:lnTo>
                <a:lnTo>
                  <a:pt x="3200" y="2902"/>
                </a:lnTo>
                <a:lnTo>
                  <a:pt x="3187" y="2923"/>
                </a:lnTo>
                <a:lnTo>
                  <a:pt x="3170" y="2941"/>
                </a:lnTo>
                <a:lnTo>
                  <a:pt x="3147" y="2954"/>
                </a:lnTo>
                <a:lnTo>
                  <a:pt x="3124" y="2963"/>
                </a:lnTo>
                <a:lnTo>
                  <a:pt x="3097" y="2965"/>
                </a:lnTo>
                <a:lnTo>
                  <a:pt x="2897" y="2965"/>
                </a:lnTo>
                <a:lnTo>
                  <a:pt x="2871" y="2963"/>
                </a:lnTo>
                <a:lnTo>
                  <a:pt x="2847" y="2954"/>
                </a:lnTo>
                <a:lnTo>
                  <a:pt x="2826" y="2941"/>
                </a:lnTo>
                <a:lnTo>
                  <a:pt x="2809" y="2923"/>
                </a:lnTo>
                <a:lnTo>
                  <a:pt x="2795" y="2902"/>
                </a:lnTo>
                <a:lnTo>
                  <a:pt x="2786" y="2877"/>
                </a:lnTo>
                <a:lnTo>
                  <a:pt x="2783" y="2852"/>
                </a:lnTo>
                <a:lnTo>
                  <a:pt x="2783" y="2712"/>
                </a:lnTo>
                <a:lnTo>
                  <a:pt x="2786" y="2687"/>
                </a:lnTo>
                <a:lnTo>
                  <a:pt x="2795" y="2662"/>
                </a:lnTo>
                <a:lnTo>
                  <a:pt x="2809" y="2642"/>
                </a:lnTo>
                <a:lnTo>
                  <a:pt x="2826" y="2624"/>
                </a:lnTo>
                <a:lnTo>
                  <a:pt x="2847" y="2611"/>
                </a:lnTo>
                <a:lnTo>
                  <a:pt x="2871" y="2602"/>
                </a:lnTo>
                <a:lnTo>
                  <a:pt x="2897" y="2599"/>
                </a:lnTo>
                <a:close/>
                <a:moveTo>
                  <a:pt x="2332" y="2599"/>
                </a:moveTo>
                <a:lnTo>
                  <a:pt x="2532" y="2599"/>
                </a:lnTo>
                <a:lnTo>
                  <a:pt x="2558" y="2602"/>
                </a:lnTo>
                <a:lnTo>
                  <a:pt x="2583" y="2611"/>
                </a:lnTo>
                <a:lnTo>
                  <a:pt x="2603" y="2624"/>
                </a:lnTo>
                <a:lnTo>
                  <a:pt x="2622" y="2642"/>
                </a:lnTo>
                <a:lnTo>
                  <a:pt x="2635" y="2662"/>
                </a:lnTo>
                <a:lnTo>
                  <a:pt x="2644" y="2687"/>
                </a:lnTo>
                <a:lnTo>
                  <a:pt x="2646" y="2712"/>
                </a:lnTo>
                <a:lnTo>
                  <a:pt x="2646" y="2852"/>
                </a:lnTo>
                <a:lnTo>
                  <a:pt x="2644" y="2877"/>
                </a:lnTo>
                <a:lnTo>
                  <a:pt x="2635" y="2902"/>
                </a:lnTo>
                <a:lnTo>
                  <a:pt x="2622" y="2923"/>
                </a:lnTo>
                <a:lnTo>
                  <a:pt x="2603" y="2941"/>
                </a:lnTo>
                <a:lnTo>
                  <a:pt x="2583" y="2954"/>
                </a:lnTo>
                <a:lnTo>
                  <a:pt x="2558" y="2963"/>
                </a:lnTo>
                <a:lnTo>
                  <a:pt x="2532" y="2965"/>
                </a:lnTo>
                <a:lnTo>
                  <a:pt x="2332" y="2965"/>
                </a:lnTo>
                <a:lnTo>
                  <a:pt x="2305" y="2963"/>
                </a:lnTo>
                <a:lnTo>
                  <a:pt x="2282" y="2954"/>
                </a:lnTo>
                <a:lnTo>
                  <a:pt x="2260" y="2941"/>
                </a:lnTo>
                <a:lnTo>
                  <a:pt x="2243" y="2923"/>
                </a:lnTo>
                <a:lnTo>
                  <a:pt x="2229" y="2902"/>
                </a:lnTo>
                <a:lnTo>
                  <a:pt x="2221" y="2877"/>
                </a:lnTo>
                <a:lnTo>
                  <a:pt x="2217" y="2852"/>
                </a:lnTo>
                <a:lnTo>
                  <a:pt x="2217" y="2712"/>
                </a:lnTo>
                <a:lnTo>
                  <a:pt x="2221" y="2687"/>
                </a:lnTo>
                <a:lnTo>
                  <a:pt x="2229" y="2662"/>
                </a:lnTo>
                <a:lnTo>
                  <a:pt x="2243" y="2642"/>
                </a:lnTo>
                <a:lnTo>
                  <a:pt x="2260" y="2624"/>
                </a:lnTo>
                <a:lnTo>
                  <a:pt x="2282" y="2611"/>
                </a:lnTo>
                <a:lnTo>
                  <a:pt x="2305" y="2602"/>
                </a:lnTo>
                <a:lnTo>
                  <a:pt x="2332" y="2599"/>
                </a:lnTo>
                <a:close/>
                <a:moveTo>
                  <a:pt x="1766" y="2599"/>
                </a:moveTo>
                <a:lnTo>
                  <a:pt x="1966" y="2599"/>
                </a:lnTo>
                <a:lnTo>
                  <a:pt x="1993" y="2602"/>
                </a:lnTo>
                <a:lnTo>
                  <a:pt x="2016" y="2611"/>
                </a:lnTo>
                <a:lnTo>
                  <a:pt x="2038" y="2624"/>
                </a:lnTo>
                <a:lnTo>
                  <a:pt x="2056" y="2642"/>
                </a:lnTo>
                <a:lnTo>
                  <a:pt x="2069" y="2662"/>
                </a:lnTo>
                <a:lnTo>
                  <a:pt x="2078" y="2687"/>
                </a:lnTo>
                <a:lnTo>
                  <a:pt x="2081" y="2712"/>
                </a:lnTo>
                <a:lnTo>
                  <a:pt x="2081" y="2852"/>
                </a:lnTo>
                <a:lnTo>
                  <a:pt x="2078" y="2877"/>
                </a:lnTo>
                <a:lnTo>
                  <a:pt x="2069" y="2902"/>
                </a:lnTo>
                <a:lnTo>
                  <a:pt x="2056" y="2923"/>
                </a:lnTo>
                <a:lnTo>
                  <a:pt x="2038" y="2941"/>
                </a:lnTo>
                <a:lnTo>
                  <a:pt x="2016" y="2954"/>
                </a:lnTo>
                <a:lnTo>
                  <a:pt x="1993" y="2963"/>
                </a:lnTo>
                <a:lnTo>
                  <a:pt x="1966" y="2965"/>
                </a:lnTo>
                <a:lnTo>
                  <a:pt x="1766" y="2965"/>
                </a:lnTo>
                <a:lnTo>
                  <a:pt x="1740" y="2963"/>
                </a:lnTo>
                <a:lnTo>
                  <a:pt x="1716" y="2954"/>
                </a:lnTo>
                <a:lnTo>
                  <a:pt x="1695" y="2941"/>
                </a:lnTo>
                <a:lnTo>
                  <a:pt x="1676" y="2923"/>
                </a:lnTo>
                <a:lnTo>
                  <a:pt x="1663" y="2902"/>
                </a:lnTo>
                <a:lnTo>
                  <a:pt x="1654" y="2877"/>
                </a:lnTo>
                <a:lnTo>
                  <a:pt x="1652" y="2852"/>
                </a:lnTo>
                <a:lnTo>
                  <a:pt x="1652" y="2712"/>
                </a:lnTo>
                <a:lnTo>
                  <a:pt x="1654" y="2687"/>
                </a:lnTo>
                <a:lnTo>
                  <a:pt x="1663" y="2662"/>
                </a:lnTo>
                <a:lnTo>
                  <a:pt x="1676" y="2642"/>
                </a:lnTo>
                <a:lnTo>
                  <a:pt x="1695" y="2624"/>
                </a:lnTo>
                <a:lnTo>
                  <a:pt x="1716" y="2611"/>
                </a:lnTo>
                <a:lnTo>
                  <a:pt x="1740" y="2602"/>
                </a:lnTo>
                <a:lnTo>
                  <a:pt x="1766" y="2599"/>
                </a:lnTo>
                <a:close/>
                <a:moveTo>
                  <a:pt x="1201" y="2599"/>
                </a:moveTo>
                <a:lnTo>
                  <a:pt x="1401" y="2599"/>
                </a:lnTo>
                <a:lnTo>
                  <a:pt x="1427" y="2602"/>
                </a:lnTo>
                <a:lnTo>
                  <a:pt x="1451" y="2611"/>
                </a:lnTo>
                <a:lnTo>
                  <a:pt x="1472" y="2624"/>
                </a:lnTo>
                <a:lnTo>
                  <a:pt x="1491" y="2642"/>
                </a:lnTo>
                <a:lnTo>
                  <a:pt x="1504" y="2662"/>
                </a:lnTo>
                <a:lnTo>
                  <a:pt x="1513" y="2687"/>
                </a:lnTo>
                <a:lnTo>
                  <a:pt x="1515" y="2712"/>
                </a:lnTo>
                <a:lnTo>
                  <a:pt x="1515" y="2852"/>
                </a:lnTo>
                <a:lnTo>
                  <a:pt x="1513" y="2877"/>
                </a:lnTo>
                <a:lnTo>
                  <a:pt x="1504" y="2902"/>
                </a:lnTo>
                <a:lnTo>
                  <a:pt x="1491" y="2923"/>
                </a:lnTo>
                <a:lnTo>
                  <a:pt x="1472" y="2941"/>
                </a:lnTo>
                <a:lnTo>
                  <a:pt x="1451" y="2954"/>
                </a:lnTo>
                <a:lnTo>
                  <a:pt x="1427" y="2963"/>
                </a:lnTo>
                <a:lnTo>
                  <a:pt x="1401" y="2965"/>
                </a:lnTo>
                <a:lnTo>
                  <a:pt x="1201" y="2965"/>
                </a:lnTo>
                <a:lnTo>
                  <a:pt x="1174" y="2963"/>
                </a:lnTo>
                <a:lnTo>
                  <a:pt x="1151" y="2954"/>
                </a:lnTo>
                <a:lnTo>
                  <a:pt x="1129" y="2941"/>
                </a:lnTo>
                <a:lnTo>
                  <a:pt x="1112" y="2923"/>
                </a:lnTo>
                <a:lnTo>
                  <a:pt x="1098" y="2902"/>
                </a:lnTo>
                <a:lnTo>
                  <a:pt x="1090" y="2877"/>
                </a:lnTo>
                <a:lnTo>
                  <a:pt x="1086" y="2852"/>
                </a:lnTo>
                <a:lnTo>
                  <a:pt x="1086" y="2712"/>
                </a:lnTo>
                <a:lnTo>
                  <a:pt x="1090" y="2687"/>
                </a:lnTo>
                <a:lnTo>
                  <a:pt x="1098" y="2662"/>
                </a:lnTo>
                <a:lnTo>
                  <a:pt x="1112" y="2642"/>
                </a:lnTo>
                <a:lnTo>
                  <a:pt x="1129" y="2624"/>
                </a:lnTo>
                <a:lnTo>
                  <a:pt x="1151" y="2611"/>
                </a:lnTo>
                <a:lnTo>
                  <a:pt x="1174" y="2602"/>
                </a:lnTo>
                <a:lnTo>
                  <a:pt x="1201" y="2599"/>
                </a:lnTo>
                <a:close/>
                <a:moveTo>
                  <a:pt x="635" y="2599"/>
                </a:moveTo>
                <a:lnTo>
                  <a:pt x="835" y="2599"/>
                </a:lnTo>
                <a:lnTo>
                  <a:pt x="862" y="2602"/>
                </a:lnTo>
                <a:lnTo>
                  <a:pt x="885" y="2611"/>
                </a:lnTo>
                <a:lnTo>
                  <a:pt x="907" y="2624"/>
                </a:lnTo>
                <a:lnTo>
                  <a:pt x="924" y="2642"/>
                </a:lnTo>
                <a:lnTo>
                  <a:pt x="938" y="2662"/>
                </a:lnTo>
                <a:lnTo>
                  <a:pt x="946" y="2687"/>
                </a:lnTo>
                <a:lnTo>
                  <a:pt x="950" y="2712"/>
                </a:lnTo>
                <a:lnTo>
                  <a:pt x="950" y="2852"/>
                </a:lnTo>
                <a:lnTo>
                  <a:pt x="946" y="2877"/>
                </a:lnTo>
                <a:lnTo>
                  <a:pt x="938" y="2902"/>
                </a:lnTo>
                <a:lnTo>
                  <a:pt x="924" y="2923"/>
                </a:lnTo>
                <a:lnTo>
                  <a:pt x="907" y="2941"/>
                </a:lnTo>
                <a:lnTo>
                  <a:pt x="885" y="2954"/>
                </a:lnTo>
                <a:lnTo>
                  <a:pt x="862" y="2963"/>
                </a:lnTo>
                <a:lnTo>
                  <a:pt x="835" y="2965"/>
                </a:lnTo>
                <a:lnTo>
                  <a:pt x="635" y="2965"/>
                </a:lnTo>
                <a:lnTo>
                  <a:pt x="609" y="2963"/>
                </a:lnTo>
                <a:lnTo>
                  <a:pt x="585" y="2954"/>
                </a:lnTo>
                <a:lnTo>
                  <a:pt x="564" y="2941"/>
                </a:lnTo>
                <a:lnTo>
                  <a:pt x="545" y="2923"/>
                </a:lnTo>
                <a:lnTo>
                  <a:pt x="532" y="2902"/>
                </a:lnTo>
                <a:lnTo>
                  <a:pt x="523" y="2877"/>
                </a:lnTo>
                <a:lnTo>
                  <a:pt x="521" y="2852"/>
                </a:lnTo>
                <a:lnTo>
                  <a:pt x="521" y="2712"/>
                </a:lnTo>
                <a:lnTo>
                  <a:pt x="523" y="2687"/>
                </a:lnTo>
                <a:lnTo>
                  <a:pt x="532" y="2662"/>
                </a:lnTo>
                <a:lnTo>
                  <a:pt x="545" y="2642"/>
                </a:lnTo>
                <a:lnTo>
                  <a:pt x="564" y="2624"/>
                </a:lnTo>
                <a:lnTo>
                  <a:pt x="585" y="2611"/>
                </a:lnTo>
                <a:lnTo>
                  <a:pt x="609" y="2602"/>
                </a:lnTo>
                <a:lnTo>
                  <a:pt x="635" y="2599"/>
                </a:lnTo>
                <a:close/>
                <a:moveTo>
                  <a:pt x="1931" y="0"/>
                </a:moveTo>
                <a:lnTo>
                  <a:pt x="2013" y="4"/>
                </a:lnTo>
                <a:lnTo>
                  <a:pt x="2093" y="15"/>
                </a:lnTo>
                <a:lnTo>
                  <a:pt x="2170" y="33"/>
                </a:lnTo>
                <a:lnTo>
                  <a:pt x="2245" y="57"/>
                </a:lnTo>
                <a:lnTo>
                  <a:pt x="2317" y="89"/>
                </a:lnTo>
                <a:lnTo>
                  <a:pt x="2386" y="126"/>
                </a:lnTo>
                <a:lnTo>
                  <a:pt x="2449" y="169"/>
                </a:lnTo>
                <a:lnTo>
                  <a:pt x="2510" y="216"/>
                </a:lnTo>
                <a:lnTo>
                  <a:pt x="2565" y="270"/>
                </a:lnTo>
                <a:lnTo>
                  <a:pt x="2617" y="327"/>
                </a:lnTo>
                <a:lnTo>
                  <a:pt x="2663" y="390"/>
                </a:lnTo>
                <a:lnTo>
                  <a:pt x="2704" y="455"/>
                </a:lnTo>
                <a:lnTo>
                  <a:pt x="2738" y="524"/>
                </a:lnTo>
                <a:lnTo>
                  <a:pt x="2767" y="597"/>
                </a:lnTo>
                <a:lnTo>
                  <a:pt x="2789" y="673"/>
                </a:lnTo>
                <a:lnTo>
                  <a:pt x="2804" y="751"/>
                </a:lnTo>
                <a:lnTo>
                  <a:pt x="2812" y="832"/>
                </a:lnTo>
                <a:lnTo>
                  <a:pt x="2867" y="842"/>
                </a:lnTo>
                <a:lnTo>
                  <a:pt x="2919" y="858"/>
                </a:lnTo>
                <a:lnTo>
                  <a:pt x="2969" y="878"/>
                </a:lnTo>
                <a:lnTo>
                  <a:pt x="3014" y="907"/>
                </a:lnTo>
                <a:lnTo>
                  <a:pt x="3057" y="938"/>
                </a:lnTo>
                <a:lnTo>
                  <a:pt x="3095" y="975"/>
                </a:lnTo>
                <a:lnTo>
                  <a:pt x="3128" y="1017"/>
                </a:lnTo>
                <a:lnTo>
                  <a:pt x="3156" y="1062"/>
                </a:lnTo>
                <a:lnTo>
                  <a:pt x="3179" y="1111"/>
                </a:lnTo>
                <a:lnTo>
                  <a:pt x="3196" y="1162"/>
                </a:lnTo>
                <a:lnTo>
                  <a:pt x="3206" y="1217"/>
                </a:lnTo>
                <a:lnTo>
                  <a:pt x="3210" y="1273"/>
                </a:lnTo>
                <a:lnTo>
                  <a:pt x="3207" y="1323"/>
                </a:lnTo>
                <a:lnTo>
                  <a:pt x="3199" y="1371"/>
                </a:lnTo>
                <a:lnTo>
                  <a:pt x="3185" y="1419"/>
                </a:lnTo>
                <a:lnTo>
                  <a:pt x="3167" y="1465"/>
                </a:lnTo>
                <a:lnTo>
                  <a:pt x="3143" y="1508"/>
                </a:lnTo>
                <a:lnTo>
                  <a:pt x="3113" y="1549"/>
                </a:lnTo>
                <a:lnTo>
                  <a:pt x="3080" y="1587"/>
                </a:lnTo>
                <a:lnTo>
                  <a:pt x="3044" y="1620"/>
                </a:lnTo>
                <a:lnTo>
                  <a:pt x="3003" y="1648"/>
                </a:lnTo>
                <a:lnTo>
                  <a:pt x="2960" y="1671"/>
                </a:lnTo>
                <a:lnTo>
                  <a:pt x="2915" y="1691"/>
                </a:lnTo>
                <a:lnTo>
                  <a:pt x="2867" y="1704"/>
                </a:lnTo>
                <a:lnTo>
                  <a:pt x="2817" y="1713"/>
                </a:lnTo>
                <a:lnTo>
                  <a:pt x="2767" y="1715"/>
                </a:lnTo>
                <a:lnTo>
                  <a:pt x="1977" y="1717"/>
                </a:lnTo>
                <a:lnTo>
                  <a:pt x="1936" y="1720"/>
                </a:lnTo>
                <a:lnTo>
                  <a:pt x="1897" y="1731"/>
                </a:lnTo>
                <a:lnTo>
                  <a:pt x="1860" y="1748"/>
                </a:lnTo>
                <a:lnTo>
                  <a:pt x="1828" y="1770"/>
                </a:lnTo>
                <a:lnTo>
                  <a:pt x="1800" y="1799"/>
                </a:lnTo>
                <a:lnTo>
                  <a:pt x="1777" y="1832"/>
                </a:lnTo>
                <a:lnTo>
                  <a:pt x="1760" y="1868"/>
                </a:lnTo>
                <a:lnTo>
                  <a:pt x="1749" y="1907"/>
                </a:lnTo>
                <a:lnTo>
                  <a:pt x="1745" y="1949"/>
                </a:lnTo>
                <a:lnTo>
                  <a:pt x="1747" y="1984"/>
                </a:lnTo>
                <a:lnTo>
                  <a:pt x="1756" y="2020"/>
                </a:lnTo>
                <a:lnTo>
                  <a:pt x="1769" y="2053"/>
                </a:lnTo>
                <a:lnTo>
                  <a:pt x="1788" y="2083"/>
                </a:lnTo>
                <a:lnTo>
                  <a:pt x="1811" y="2110"/>
                </a:lnTo>
                <a:lnTo>
                  <a:pt x="1832" y="2136"/>
                </a:lnTo>
                <a:lnTo>
                  <a:pt x="1849" y="2164"/>
                </a:lnTo>
                <a:lnTo>
                  <a:pt x="1861" y="2193"/>
                </a:lnTo>
                <a:lnTo>
                  <a:pt x="1870" y="2225"/>
                </a:lnTo>
                <a:lnTo>
                  <a:pt x="1872" y="2258"/>
                </a:lnTo>
                <a:lnTo>
                  <a:pt x="1868" y="2291"/>
                </a:lnTo>
                <a:lnTo>
                  <a:pt x="1861" y="2324"/>
                </a:lnTo>
                <a:lnTo>
                  <a:pt x="1848" y="2354"/>
                </a:lnTo>
                <a:lnTo>
                  <a:pt x="1831" y="2383"/>
                </a:lnTo>
                <a:lnTo>
                  <a:pt x="1809" y="2408"/>
                </a:lnTo>
                <a:lnTo>
                  <a:pt x="1784" y="2429"/>
                </a:lnTo>
                <a:lnTo>
                  <a:pt x="1756" y="2445"/>
                </a:lnTo>
                <a:lnTo>
                  <a:pt x="1727" y="2456"/>
                </a:lnTo>
                <a:lnTo>
                  <a:pt x="1695" y="2463"/>
                </a:lnTo>
                <a:lnTo>
                  <a:pt x="1663" y="2466"/>
                </a:lnTo>
                <a:lnTo>
                  <a:pt x="559" y="2466"/>
                </a:lnTo>
                <a:lnTo>
                  <a:pt x="528" y="2469"/>
                </a:lnTo>
                <a:lnTo>
                  <a:pt x="501" y="2479"/>
                </a:lnTo>
                <a:lnTo>
                  <a:pt x="477" y="2494"/>
                </a:lnTo>
                <a:lnTo>
                  <a:pt x="456" y="2515"/>
                </a:lnTo>
                <a:lnTo>
                  <a:pt x="441" y="2539"/>
                </a:lnTo>
                <a:lnTo>
                  <a:pt x="432" y="2566"/>
                </a:lnTo>
                <a:lnTo>
                  <a:pt x="428" y="2596"/>
                </a:lnTo>
                <a:lnTo>
                  <a:pt x="428" y="3790"/>
                </a:lnTo>
                <a:lnTo>
                  <a:pt x="432" y="3819"/>
                </a:lnTo>
                <a:lnTo>
                  <a:pt x="441" y="3848"/>
                </a:lnTo>
                <a:lnTo>
                  <a:pt x="456" y="3872"/>
                </a:lnTo>
                <a:lnTo>
                  <a:pt x="477" y="3891"/>
                </a:lnTo>
                <a:lnTo>
                  <a:pt x="501" y="3907"/>
                </a:lnTo>
                <a:lnTo>
                  <a:pt x="528" y="3917"/>
                </a:lnTo>
                <a:lnTo>
                  <a:pt x="559" y="3921"/>
                </a:lnTo>
                <a:lnTo>
                  <a:pt x="3722" y="3921"/>
                </a:lnTo>
                <a:lnTo>
                  <a:pt x="3753" y="3917"/>
                </a:lnTo>
                <a:lnTo>
                  <a:pt x="3780" y="3907"/>
                </a:lnTo>
                <a:lnTo>
                  <a:pt x="3804" y="3891"/>
                </a:lnTo>
                <a:lnTo>
                  <a:pt x="3825" y="3872"/>
                </a:lnTo>
                <a:lnTo>
                  <a:pt x="3840" y="3848"/>
                </a:lnTo>
                <a:lnTo>
                  <a:pt x="3849" y="3819"/>
                </a:lnTo>
                <a:lnTo>
                  <a:pt x="3853" y="3790"/>
                </a:lnTo>
                <a:lnTo>
                  <a:pt x="3853" y="2596"/>
                </a:lnTo>
                <a:lnTo>
                  <a:pt x="3849" y="2566"/>
                </a:lnTo>
                <a:lnTo>
                  <a:pt x="3840" y="2539"/>
                </a:lnTo>
                <a:lnTo>
                  <a:pt x="3825" y="2515"/>
                </a:lnTo>
                <a:lnTo>
                  <a:pt x="3804" y="2494"/>
                </a:lnTo>
                <a:lnTo>
                  <a:pt x="3780" y="2479"/>
                </a:lnTo>
                <a:lnTo>
                  <a:pt x="3753" y="2469"/>
                </a:lnTo>
                <a:lnTo>
                  <a:pt x="3722" y="2466"/>
                </a:lnTo>
                <a:lnTo>
                  <a:pt x="2279" y="2466"/>
                </a:lnTo>
                <a:lnTo>
                  <a:pt x="2261" y="2462"/>
                </a:lnTo>
                <a:lnTo>
                  <a:pt x="2246" y="2455"/>
                </a:lnTo>
                <a:lnTo>
                  <a:pt x="2234" y="2442"/>
                </a:lnTo>
                <a:lnTo>
                  <a:pt x="2227" y="2428"/>
                </a:lnTo>
                <a:lnTo>
                  <a:pt x="2223" y="2409"/>
                </a:lnTo>
                <a:lnTo>
                  <a:pt x="2227" y="2392"/>
                </a:lnTo>
                <a:lnTo>
                  <a:pt x="2234" y="2376"/>
                </a:lnTo>
                <a:lnTo>
                  <a:pt x="2246" y="2364"/>
                </a:lnTo>
                <a:lnTo>
                  <a:pt x="2261" y="2357"/>
                </a:lnTo>
                <a:lnTo>
                  <a:pt x="2279" y="2354"/>
                </a:lnTo>
                <a:lnTo>
                  <a:pt x="3722" y="2354"/>
                </a:lnTo>
                <a:lnTo>
                  <a:pt x="3761" y="2357"/>
                </a:lnTo>
                <a:lnTo>
                  <a:pt x="3799" y="2367"/>
                </a:lnTo>
                <a:lnTo>
                  <a:pt x="3833" y="2381"/>
                </a:lnTo>
                <a:lnTo>
                  <a:pt x="3865" y="2401"/>
                </a:lnTo>
                <a:lnTo>
                  <a:pt x="3893" y="2425"/>
                </a:lnTo>
                <a:lnTo>
                  <a:pt x="3918" y="2453"/>
                </a:lnTo>
                <a:lnTo>
                  <a:pt x="3937" y="2485"/>
                </a:lnTo>
                <a:lnTo>
                  <a:pt x="3952" y="2519"/>
                </a:lnTo>
                <a:lnTo>
                  <a:pt x="3962" y="2557"/>
                </a:lnTo>
                <a:lnTo>
                  <a:pt x="3964" y="2596"/>
                </a:lnTo>
                <a:lnTo>
                  <a:pt x="3964" y="3790"/>
                </a:lnTo>
                <a:lnTo>
                  <a:pt x="3962" y="3829"/>
                </a:lnTo>
                <a:lnTo>
                  <a:pt x="3952" y="3866"/>
                </a:lnTo>
                <a:lnTo>
                  <a:pt x="3937" y="3901"/>
                </a:lnTo>
                <a:lnTo>
                  <a:pt x="3918" y="3933"/>
                </a:lnTo>
                <a:lnTo>
                  <a:pt x="3893" y="3961"/>
                </a:lnTo>
                <a:lnTo>
                  <a:pt x="3865" y="3986"/>
                </a:lnTo>
                <a:lnTo>
                  <a:pt x="3833" y="4005"/>
                </a:lnTo>
                <a:lnTo>
                  <a:pt x="3799" y="4020"/>
                </a:lnTo>
                <a:lnTo>
                  <a:pt x="3761" y="4028"/>
                </a:lnTo>
                <a:lnTo>
                  <a:pt x="3722" y="4032"/>
                </a:lnTo>
                <a:lnTo>
                  <a:pt x="559" y="4032"/>
                </a:lnTo>
                <a:lnTo>
                  <a:pt x="520" y="4028"/>
                </a:lnTo>
                <a:lnTo>
                  <a:pt x="482" y="4020"/>
                </a:lnTo>
                <a:lnTo>
                  <a:pt x="448" y="4005"/>
                </a:lnTo>
                <a:lnTo>
                  <a:pt x="416" y="3986"/>
                </a:lnTo>
                <a:lnTo>
                  <a:pt x="388" y="3961"/>
                </a:lnTo>
                <a:lnTo>
                  <a:pt x="363" y="3933"/>
                </a:lnTo>
                <a:lnTo>
                  <a:pt x="344" y="3901"/>
                </a:lnTo>
                <a:lnTo>
                  <a:pt x="329" y="3866"/>
                </a:lnTo>
                <a:lnTo>
                  <a:pt x="319" y="3829"/>
                </a:lnTo>
                <a:lnTo>
                  <a:pt x="317" y="3790"/>
                </a:lnTo>
                <a:lnTo>
                  <a:pt x="317" y="2596"/>
                </a:lnTo>
                <a:lnTo>
                  <a:pt x="319" y="2557"/>
                </a:lnTo>
                <a:lnTo>
                  <a:pt x="329" y="2519"/>
                </a:lnTo>
                <a:lnTo>
                  <a:pt x="344" y="2485"/>
                </a:lnTo>
                <a:lnTo>
                  <a:pt x="363" y="2453"/>
                </a:lnTo>
                <a:lnTo>
                  <a:pt x="388" y="2425"/>
                </a:lnTo>
                <a:lnTo>
                  <a:pt x="416" y="2401"/>
                </a:lnTo>
                <a:lnTo>
                  <a:pt x="448" y="2381"/>
                </a:lnTo>
                <a:lnTo>
                  <a:pt x="482" y="2367"/>
                </a:lnTo>
                <a:lnTo>
                  <a:pt x="520" y="2357"/>
                </a:lnTo>
                <a:lnTo>
                  <a:pt x="559" y="2354"/>
                </a:lnTo>
                <a:lnTo>
                  <a:pt x="1664" y="2354"/>
                </a:lnTo>
                <a:lnTo>
                  <a:pt x="1689" y="2351"/>
                </a:lnTo>
                <a:lnTo>
                  <a:pt x="1711" y="2342"/>
                </a:lnTo>
                <a:lnTo>
                  <a:pt x="1730" y="2328"/>
                </a:lnTo>
                <a:lnTo>
                  <a:pt x="1744" y="2313"/>
                </a:lnTo>
                <a:lnTo>
                  <a:pt x="1752" y="2296"/>
                </a:lnTo>
                <a:lnTo>
                  <a:pt x="1758" y="2277"/>
                </a:lnTo>
                <a:lnTo>
                  <a:pt x="1760" y="2258"/>
                </a:lnTo>
                <a:lnTo>
                  <a:pt x="1757" y="2232"/>
                </a:lnTo>
                <a:lnTo>
                  <a:pt x="1747" y="2210"/>
                </a:lnTo>
                <a:lnTo>
                  <a:pt x="1731" y="2189"/>
                </a:lnTo>
                <a:lnTo>
                  <a:pt x="1730" y="2188"/>
                </a:lnTo>
                <a:lnTo>
                  <a:pt x="1729" y="2187"/>
                </a:lnTo>
                <a:lnTo>
                  <a:pt x="1728" y="2186"/>
                </a:lnTo>
                <a:lnTo>
                  <a:pt x="1700" y="2153"/>
                </a:lnTo>
                <a:lnTo>
                  <a:pt x="1676" y="2116"/>
                </a:lnTo>
                <a:lnTo>
                  <a:pt x="1658" y="2077"/>
                </a:lnTo>
                <a:lnTo>
                  <a:pt x="1645" y="2037"/>
                </a:lnTo>
                <a:lnTo>
                  <a:pt x="1636" y="1993"/>
                </a:lnTo>
                <a:lnTo>
                  <a:pt x="1634" y="1949"/>
                </a:lnTo>
                <a:lnTo>
                  <a:pt x="1637" y="1897"/>
                </a:lnTo>
                <a:lnTo>
                  <a:pt x="1648" y="1850"/>
                </a:lnTo>
                <a:lnTo>
                  <a:pt x="1665" y="1803"/>
                </a:lnTo>
                <a:lnTo>
                  <a:pt x="1689" y="1762"/>
                </a:lnTo>
                <a:lnTo>
                  <a:pt x="1718" y="1723"/>
                </a:lnTo>
                <a:lnTo>
                  <a:pt x="1752" y="1690"/>
                </a:lnTo>
                <a:lnTo>
                  <a:pt x="1790" y="1660"/>
                </a:lnTo>
                <a:lnTo>
                  <a:pt x="1833" y="1637"/>
                </a:lnTo>
                <a:lnTo>
                  <a:pt x="1878" y="1619"/>
                </a:lnTo>
                <a:lnTo>
                  <a:pt x="1927" y="1609"/>
                </a:lnTo>
                <a:lnTo>
                  <a:pt x="1977" y="1604"/>
                </a:lnTo>
                <a:lnTo>
                  <a:pt x="2767" y="1604"/>
                </a:lnTo>
                <a:lnTo>
                  <a:pt x="2810" y="1602"/>
                </a:lnTo>
                <a:lnTo>
                  <a:pt x="2850" y="1593"/>
                </a:lnTo>
                <a:lnTo>
                  <a:pt x="2891" y="1581"/>
                </a:lnTo>
                <a:lnTo>
                  <a:pt x="2927" y="1563"/>
                </a:lnTo>
                <a:lnTo>
                  <a:pt x="2963" y="1541"/>
                </a:lnTo>
                <a:lnTo>
                  <a:pt x="2995" y="1514"/>
                </a:lnTo>
                <a:lnTo>
                  <a:pt x="3024" y="1483"/>
                </a:lnTo>
                <a:lnTo>
                  <a:pt x="3048" y="1449"/>
                </a:lnTo>
                <a:lnTo>
                  <a:pt x="3070" y="1408"/>
                </a:lnTo>
                <a:lnTo>
                  <a:pt x="3086" y="1365"/>
                </a:lnTo>
                <a:lnTo>
                  <a:pt x="3095" y="1320"/>
                </a:lnTo>
                <a:lnTo>
                  <a:pt x="3099" y="1273"/>
                </a:lnTo>
                <a:lnTo>
                  <a:pt x="3095" y="1224"/>
                </a:lnTo>
                <a:lnTo>
                  <a:pt x="3085" y="1178"/>
                </a:lnTo>
                <a:lnTo>
                  <a:pt x="3068" y="1134"/>
                </a:lnTo>
                <a:lnTo>
                  <a:pt x="3045" y="1092"/>
                </a:lnTo>
                <a:lnTo>
                  <a:pt x="3018" y="1056"/>
                </a:lnTo>
                <a:lnTo>
                  <a:pt x="2985" y="1023"/>
                </a:lnTo>
                <a:lnTo>
                  <a:pt x="2947" y="995"/>
                </a:lnTo>
                <a:lnTo>
                  <a:pt x="2907" y="973"/>
                </a:lnTo>
                <a:lnTo>
                  <a:pt x="2863" y="955"/>
                </a:lnTo>
                <a:lnTo>
                  <a:pt x="2816" y="946"/>
                </a:lnTo>
                <a:lnTo>
                  <a:pt x="2767" y="942"/>
                </a:lnTo>
                <a:lnTo>
                  <a:pt x="2766" y="942"/>
                </a:lnTo>
                <a:lnTo>
                  <a:pt x="2764" y="942"/>
                </a:lnTo>
                <a:lnTo>
                  <a:pt x="2762" y="942"/>
                </a:lnTo>
                <a:lnTo>
                  <a:pt x="2760" y="942"/>
                </a:lnTo>
                <a:lnTo>
                  <a:pt x="2759" y="942"/>
                </a:lnTo>
                <a:lnTo>
                  <a:pt x="2744" y="941"/>
                </a:lnTo>
                <a:lnTo>
                  <a:pt x="2731" y="935"/>
                </a:lnTo>
                <a:lnTo>
                  <a:pt x="2718" y="926"/>
                </a:lnTo>
                <a:lnTo>
                  <a:pt x="2710" y="914"/>
                </a:lnTo>
                <a:lnTo>
                  <a:pt x="2704" y="900"/>
                </a:lnTo>
                <a:lnTo>
                  <a:pt x="2702" y="886"/>
                </a:lnTo>
                <a:lnTo>
                  <a:pt x="2699" y="811"/>
                </a:lnTo>
                <a:lnTo>
                  <a:pt x="2688" y="739"/>
                </a:lnTo>
                <a:lnTo>
                  <a:pt x="2671" y="668"/>
                </a:lnTo>
                <a:lnTo>
                  <a:pt x="2649" y="601"/>
                </a:lnTo>
                <a:lnTo>
                  <a:pt x="2619" y="536"/>
                </a:lnTo>
                <a:lnTo>
                  <a:pt x="2585" y="474"/>
                </a:lnTo>
                <a:lnTo>
                  <a:pt x="2545" y="417"/>
                </a:lnTo>
                <a:lnTo>
                  <a:pt x="2501" y="363"/>
                </a:lnTo>
                <a:lnTo>
                  <a:pt x="2450" y="314"/>
                </a:lnTo>
                <a:lnTo>
                  <a:pt x="2398" y="269"/>
                </a:lnTo>
                <a:lnTo>
                  <a:pt x="2340" y="228"/>
                </a:lnTo>
                <a:lnTo>
                  <a:pt x="2279" y="194"/>
                </a:lnTo>
                <a:lnTo>
                  <a:pt x="2214" y="165"/>
                </a:lnTo>
                <a:lnTo>
                  <a:pt x="2147" y="142"/>
                </a:lnTo>
                <a:lnTo>
                  <a:pt x="2078" y="126"/>
                </a:lnTo>
                <a:lnTo>
                  <a:pt x="2005" y="115"/>
                </a:lnTo>
                <a:lnTo>
                  <a:pt x="1931" y="111"/>
                </a:lnTo>
                <a:lnTo>
                  <a:pt x="1862" y="115"/>
                </a:lnTo>
                <a:lnTo>
                  <a:pt x="1795" y="123"/>
                </a:lnTo>
                <a:lnTo>
                  <a:pt x="1729" y="138"/>
                </a:lnTo>
                <a:lnTo>
                  <a:pt x="1664" y="159"/>
                </a:lnTo>
                <a:lnTo>
                  <a:pt x="1603" y="184"/>
                </a:lnTo>
                <a:lnTo>
                  <a:pt x="1544" y="216"/>
                </a:lnTo>
                <a:lnTo>
                  <a:pt x="1488" y="252"/>
                </a:lnTo>
                <a:lnTo>
                  <a:pt x="1436" y="292"/>
                </a:lnTo>
                <a:lnTo>
                  <a:pt x="1385" y="337"/>
                </a:lnTo>
                <a:lnTo>
                  <a:pt x="1340" y="387"/>
                </a:lnTo>
                <a:lnTo>
                  <a:pt x="1300" y="440"/>
                </a:lnTo>
                <a:lnTo>
                  <a:pt x="1263" y="497"/>
                </a:lnTo>
                <a:lnTo>
                  <a:pt x="1231" y="557"/>
                </a:lnTo>
                <a:lnTo>
                  <a:pt x="1206" y="622"/>
                </a:lnTo>
                <a:lnTo>
                  <a:pt x="1198" y="634"/>
                </a:lnTo>
                <a:lnTo>
                  <a:pt x="1189" y="645"/>
                </a:lnTo>
                <a:lnTo>
                  <a:pt x="1175" y="654"/>
                </a:lnTo>
                <a:lnTo>
                  <a:pt x="1162" y="657"/>
                </a:lnTo>
                <a:lnTo>
                  <a:pt x="1146" y="657"/>
                </a:lnTo>
                <a:lnTo>
                  <a:pt x="1131" y="654"/>
                </a:lnTo>
                <a:lnTo>
                  <a:pt x="1088" y="638"/>
                </a:lnTo>
                <a:lnTo>
                  <a:pt x="1043" y="627"/>
                </a:lnTo>
                <a:lnTo>
                  <a:pt x="998" y="621"/>
                </a:lnTo>
                <a:lnTo>
                  <a:pt x="951" y="618"/>
                </a:lnTo>
                <a:lnTo>
                  <a:pt x="893" y="622"/>
                </a:lnTo>
                <a:lnTo>
                  <a:pt x="838" y="632"/>
                </a:lnTo>
                <a:lnTo>
                  <a:pt x="784" y="648"/>
                </a:lnTo>
                <a:lnTo>
                  <a:pt x="734" y="671"/>
                </a:lnTo>
                <a:lnTo>
                  <a:pt x="687" y="698"/>
                </a:lnTo>
                <a:lnTo>
                  <a:pt x="644" y="731"/>
                </a:lnTo>
                <a:lnTo>
                  <a:pt x="605" y="769"/>
                </a:lnTo>
                <a:lnTo>
                  <a:pt x="571" y="810"/>
                </a:lnTo>
                <a:lnTo>
                  <a:pt x="542" y="856"/>
                </a:lnTo>
                <a:lnTo>
                  <a:pt x="518" y="905"/>
                </a:lnTo>
                <a:lnTo>
                  <a:pt x="500" y="958"/>
                </a:lnTo>
                <a:lnTo>
                  <a:pt x="488" y="1013"/>
                </a:lnTo>
                <a:lnTo>
                  <a:pt x="483" y="1072"/>
                </a:lnTo>
                <a:lnTo>
                  <a:pt x="479" y="1087"/>
                </a:lnTo>
                <a:lnTo>
                  <a:pt x="472" y="1102"/>
                </a:lnTo>
                <a:lnTo>
                  <a:pt x="461" y="1114"/>
                </a:lnTo>
                <a:lnTo>
                  <a:pt x="446" y="1123"/>
                </a:lnTo>
                <a:lnTo>
                  <a:pt x="430" y="1127"/>
                </a:lnTo>
                <a:lnTo>
                  <a:pt x="413" y="1125"/>
                </a:lnTo>
                <a:lnTo>
                  <a:pt x="393" y="1122"/>
                </a:lnTo>
                <a:lnTo>
                  <a:pt x="373" y="1119"/>
                </a:lnTo>
                <a:lnTo>
                  <a:pt x="355" y="1118"/>
                </a:lnTo>
                <a:lnTo>
                  <a:pt x="315" y="1122"/>
                </a:lnTo>
                <a:lnTo>
                  <a:pt x="278" y="1130"/>
                </a:lnTo>
                <a:lnTo>
                  <a:pt x="242" y="1145"/>
                </a:lnTo>
                <a:lnTo>
                  <a:pt x="210" y="1166"/>
                </a:lnTo>
                <a:lnTo>
                  <a:pt x="182" y="1190"/>
                </a:lnTo>
                <a:lnTo>
                  <a:pt x="158" y="1218"/>
                </a:lnTo>
                <a:lnTo>
                  <a:pt x="138" y="1250"/>
                </a:lnTo>
                <a:lnTo>
                  <a:pt x="124" y="1284"/>
                </a:lnTo>
                <a:lnTo>
                  <a:pt x="114" y="1322"/>
                </a:lnTo>
                <a:lnTo>
                  <a:pt x="111" y="1361"/>
                </a:lnTo>
                <a:lnTo>
                  <a:pt x="114" y="1401"/>
                </a:lnTo>
                <a:lnTo>
                  <a:pt x="124" y="1438"/>
                </a:lnTo>
                <a:lnTo>
                  <a:pt x="138" y="1474"/>
                </a:lnTo>
                <a:lnTo>
                  <a:pt x="158" y="1505"/>
                </a:lnTo>
                <a:lnTo>
                  <a:pt x="182" y="1533"/>
                </a:lnTo>
                <a:lnTo>
                  <a:pt x="210" y="1558"/>
                </a:lnTo>
                <a:lnTo>
                  <a:pt x="242" y="1577"/>
                </a:lnTo>
                <a:lnTo>
                  <a:pt x="278" y="1592"/>
                </a:lnTo>
                <a:lnTo>
                  <a:pt x="315" y="1602"/>
                </a:lnTo>
                <a:lnTo>
                  <a:pt x="355" y="1604"/>
                </a:lnTo>
                <a:lnTo>
                  <a:pt x="1586" y="1604"/>
                </a:lnTo>
                <a:lnTo>
                  <a:pt x="1603" y="1608"/>
                </a:lnTo>
                <a:lnTo>
                  <a:pt x="1619" y="1615"/>
                </a:lnTo>
                <a:lnTo>
                  <a:pt x="1631" y="1627"/>
                </a:lnTo>
                <a:lnTo>
                  <a:pt x="1639" y="1643"/>
                </a:lnTo>
                <a:lnTo>
                  <a:pt x="1642" y="1660"/>
                </a:lnTo>
                <a:lnTo>
                  <a:pt x="1639" y="1678"/>
                </a:lnTo>
                <a:lnTo>
                  <a:pt x="1631" y="1693"/>
                </a:lnTo>
                <a:lnTo>
                  <a:pt x="1619" y="1706"/>
                </a:lnTo>
                <a:lnTo>
                  <a:pt x="1603" y="1713"/>
                </a:lnTo>
                <a:lnTo>
                  <a:pt x="1586" y="1717"/>
                </a:lnTo>
                <a:lnTo>
                  <a:pt x="355" y="1717"/>
                </a:lnTo>
                <a:lnTo>
                  <a:pt x="302" y="1713"/>
                </a:lnTo>
                <a:lnTo>
                  <a:pt x="252" y="1701"/>
                </a:lnTo>
                <a:lnTo>
                  <a:pt x="205" y="1684"/>
                </a:lnTo>
                <a:lnTo>
                  <a:pt x="161" y="1659"/>
                </a:lnTo>
                <a:lnTo>
                  <a:pt x="121" y="1629"/>
                </a:lnTo>
                <a:lnTo>
                  <a:pt x="87" y="1594"/>
                </a:lnTo>
                <a:lnTo>
                  <a:pt x="56" y="1554"/>
                </a:lnTo>
                <a:lnTo>
                  <a:pt x="33" y="1511"/>
                </a:lnTo>
                <a:lnTo>
                  <a:pt x="15" y="1464"/>
                </a:lnTo>
                <a:lnTo>
                  <a:pt x="4" y="1414"/>
                </a:lnTo>
                <a:lnTo>
                  <a:pt x="0" y="1361"/>
                </a:lnTo>
                <a:lnTo>
                  <a:pt x="2" y="1312"/>
                </a:lnTo>
                <a:lnTo>
                  <a:pt x="13" y="1265"/>
                </a:lnTo>
                <a:lnTo>
                  <a:pt x="29" y="1219"/>
                </a:lnTo>
                <a:lnTo>
                  <a:pt x="51" y="1177"/>
                </a:lnTo>
                <a:lnTo>
                  <a:pt x="79" y="1139"/>
                </a:lnTo>
                <a:lnTo>
                  <a:pt x="111" y="1103"/>
                </a:lnTo>
                <a:lnTo>
                  <a:pt x="148" y="1074"/>
                </a:lnTo>
                <a:lnTo>
                  <a:pt x="187" y="1048"/>
                </a:lnTo>
                <a:lnTo>
                  <a:pt x="231" y="1029"/>
                </a:lnTo>
                <a:lnTo>
                  <a:pt x="278" y="1015"/>
                </a:lnTo>
                <a:lnTo>
                  <a:pt x="325" y="1008"/>
                </a:lnTo>
                <a:lnTo>
                  <a:pt x="375" y="1008"/>
                </a:lnTo>
                <a:lnTo>
                  <a:pt x="389" y="943"/>
                </a:lnTo>
                <a:lnTo>
                  <a:pt x="407" y="881"/>
                </a:lnTo>
                <a:lnTo>
                  <a:pt x="433" y="822"/>
                </a:lnTo>
                <a:lnTo>
                  <a:pt x="465" y="769"/>
                </a:lnTo>
                <a:lnTo>
                  <a:pt x="501" y="717"/>
                </a:lnTo>
                <a:lnTo>
                  <a:pt x="544" y="671"/>
                </a:lnTo>
                <a:lnTo>
                  <a:pt x="592" y="630"/>
                </a:lnTo>
                <a:lnTo>
                  <a:pt x="643" y="594"/>
                </a:lnTo>
                <a:lnTo>
                  <a:pt x="698" y="563"/>
                </a:lnTo>
                <a:lnTo>
                  <a:pt x="757" y="539"/>
                </a:lnTo>
                <a:lnTo>
                  <a:pt x="819" y="522"/>
                </a:lnTo>
                <a:lnTo>
                  <a:pt x="884" y="511"/>
                </a:lnTo>
                <a:lnTo>
                  <a:pt x="951" y="506"/>
                </a:lnTo>
                <a:lnTo>
                  <a:pt x="1009" y="509"/>
                </a:lnTo>
                <a:lnTo>
                  <a:pt x="1065" y="518"/>
                </a:lnTo>
                <a:lnTo>
                  <a:pt x="1121" y="531"/>
                </a:lnTo>
                <a:lnTo>
                  <a:pt x="1153" y="464"/>
                </a:lnTo>
                <a:lnTo>
                  <a:pt x="1191" y="402"/>
                </a:lnTo>
                <a:lnTo>
                  <a:pt x="1234" y="342"/>
                </a:lnTo>
                <a:lnTo>
                  <a:pt x="1280" y="286"/>
                </a:lnTo>
                <a:lnTo>
                  <a:pt x="1332" y="235"/>
                </a:lnTo>
                <a:lnTo>
                  <a:pt x="1387" y="188"/>
                </a:lnTo>
                <a:lnTo>
                  <a:pt x="1445" y="145"/>
                </a:lnTo>
                <a:lnTo>
                  <a:pt x="1508" y="109"/>
                </a:lnTo>
                <a:lnTo>
                  <a:pt x="1573" y="76"/>
                </a:lnTo>
                <a:lnTo>
                  <a:pt x="1641" y="49"/>
                </a:lnTo>
                <a:lnTo>
                  <a:pt x="1711" y="28"/>
                </a:lnTo>
                <a:lnTo>
                  <a:pt x="1783" y="12"/>
                </a:lnTo>
                <a:lnTo>
                  <a:pt x="1856" y="4"/>
                </a:lnTo>
                <a:lnTo>
                  <a:pt x="1931"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000000"/>
              </a:solidFill>
              <a:effectLst/>
              <a:uLnTx/>
              <a:uFillTx/>
              <a:latin typeface="Calibri Light"/>
              <a:ea typeface="+mn-ea"/>
              <a:cs typeface="+mn-cs"/>
            </a:endParaRPr>
          </a:p>
        </p:txBody>
      </p:sp>
    </p:spTree>
    <p:extLst>
      <p:ext uri="{BB962C8B-B14F-4D97-AF65-F5344CB8AC3E}">
        <p14:creationId xmlns:p14="http://schemas.microsoft.com/office/powerpoint/2010/main" val="391212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78"/>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0"/>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9"/>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30" grpId="0" animBg="1"/>
      <p:bldP spid="31" grpId="0" animBg="1"/>
      <p:bldP spid="32" grpId="0" animBg="1"/>
      <p:bldP spid="33" grpId="0" animBg="1"/>
      <p:bldP spid="35" grpId="0" animBg="1"/>
      <p:bldP spid="36" grpId="0" animBg="1"/>
      <p:bldP spid="34" grpId="0" animBg="1"/>
      <p:bldP spid="37" grpId="0" animBg="1"/>
      <p:bldP spid="38" grpId="0" animBg="1"/>
      <p:bldP spid="39" grpId="0" animBg="1"/>
      <p:bldP spid="66" grpId="0"/>
      <p:bldP spid="67" grpId="0"/>
      <p:bldP spid="78" grpId="0" animBg="1"/>
      <p:bldP spid="79" grpId="0" animBg="1"/>
      <p:bldP spid="8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151">
            <a:extLst>
              <a:ext uri="{FF2B5EF4-FFF2-40B4-BE49-F238E27FC236}">
                <a16:creationId xmlns:a16="http://schemas.microsoft.com/office/drawing/2014/main" id="{80902AF6-CBC3-2AAE-BA21-2FDB62470AAA}"/>
              </a:ext>
            </a:extLst>
          </p:cNvPr>
          <p:cNvSpPr txBox="1"/>
          <p:nvPr>
            <p:custDataLst>
              <p:tags r:id="rId1"/>
            </p:custDataLst>
          </p:nvPr>
        </p:nvSpPr>
        <p:spPr>
          <a:xfrm>
            <a:off x="1760050" y="2870168"/>
            <a:ext cx="1592097" cy="276999"/>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7A76FF"/>
                </a:solidFill>
                <a:effectLst/>
                <a:uLnTx/>
                <a:uFillTx/>
                <a:latin typeface="Calibri" panose="020F0502020204030204" pitchFamily="34" charset="0"/>
                <a:ea typeface="+mn-ea"/>
                <a:cs typeface="Calibri" panose="020F0502020204030204" pitchFamily="34" charset="0"/>
              </a:rPr>
              <a:t>GÉRER LES DONNÉES</a:t>
            </a:r>
          </a:p>
        </p:txBody>
      </p:sp>
      <p:sp>
        <p:nvSpPr>
          <p:cNvPr id="11" name="TextBox 193">
            <a:extLst>
              <a:ext uri="{FF2B5EF4-FFF2-40B4-BE49-F238E27FC236}">
                <a16:creationId xmlns:a16="http://schemas.microsoft.com/office/drawing/2014/main" id="{F062ADB6-A0F8-6592-8938-A3205FEBC20F}"/>
              </a:ext>
            </a:extLst>
          </p:cNvPr>
          <p:cNvSpPr txBox="1"/>
          <p:nvPr>
            <p:custDataLst>
              <p:tags r:id="rId2"/>
            </p:custDataLst>
          </p:nvPr>
        </p:nvSpPr>
        <p:spPr>
          <a:xfrm>
            <a:off x="3438039" y="2842781"/>
            <a:ext cx="2036326" cy="276999"/>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5ADFD8"/>
                </a:solidFill>
                <a:effectLst/>
                <a:uLnTx/>
                <a:uFillTx/>
                <a:latin typeface="Calibri" panose="020F0502020204030204" pitchFamily="34" charset="0"/>
                <a:ea typeface="+mn-ea"/>
                <a:cs typeface="Calibri" panose="020F0502020204030204" pitchFamily="34" charset="0"/>
              </a:rPr>
              <a:t>DÉVELOPPER DES MODÈLES</a:t>
            </a:r>
          </a:p>
        </p:txBody>
      </p:sp>
      <p:grpSp>
        <p:nvGrpSpPr>
          <p:cNvPr id="12" name="Group 8">
            <a:extLst>
              <a:ext uri="{FF2B5EF4-FFF2-40B4-BE49-F238E27FC236}">
                <a16:creationId xmlns:a16="http://schemas.microsoft.com/office/drawing/2014/main" id="{81D59B9E-CC47-6C27-56E7-239033A509D8}"/>
              </a:ext>
            </a:extLst>
          </p:cNvPr>
          <p:cNvGrpSpPr/>
          <p:nvPr>
            <p:custDataLst>
              <p:tags r:id="rId3"/>
            </p:custDataLst>
          </p:nvPr>
        </p:nvGrpSpPr>
        <p:grpSpPr>
          <a:xfrm>
            <a:off x="1699657" y="3098229"/>
            <a:ext cx="1955024" cy="415498"/>
            <a:chOff x="1591849" y="3087839"/>
            <a:chExt cx="1955024" cy="415498"/>
          </a:xfrm>
        </p:grpSpPr>
        <p:grpSp>
          <p:nvGrpSpPr>
            <p:cNvPr id="13" name="Group 136">
              <a:extLst>
                <a:ext uri="{FF2B5EF4-FFF2-40B4-BE49-F238E27FC236}">
                  <a16:creationId xmlns:a16="http://schemas.microsoft.com/office/drawing/2014/main" id="{F2A337D1-5F53-DF74-6773-F54B458F3A7D}"/>
                </a:ext>
              </a:extLst>
            </p:cNvPr>
            <p:cNvGrpSpPr/>
            <p:nvPr/>
          </p:nvGrpSpPr>
          <p:grpSpPr>
            <a:xfrm>
              <a:off x="1591849" y="3170501"/>
              <a:ext cx="287624" cy="287624"/>
              <a:chOff x="4869158" y="1420981"/>
              <a:chExt cx="678202" cy="678202"/>
            </a:xfrm>
          </p:grpSpPr>
          <p:sp>
            <p:nvSpPr>
              <p:cNvPr id="15" name="Freeform 16">
                <a:extLst>
                  <a:ext uri="{FF2B5EF4-FFF2-40B4-BE49-F238E27FC236}">
                    <a16:creationId xmlns:a16="http://schemas.microsoft.com/office/drawing/2014/main" id="{205F1441-58EA-46B8-01FD-EBB956F41561}"/>
                  </a:ext>
                </a:extLst>
              </p:cNvPr>
              <p:cNvSpPr>
                <a:spLocks noChangeAspect="1" noEditPoints="1"/>
              </p:cNvSpPr>
              <p:nvPr/>
            </p:nvSpPr>
            <p:spPr bwMode="auto">
              <a:xfrm>
                <a:off x="4968707" y="1625295"/>
                <a:ext cx="479105" cy="297887"/>
              </a:xfrm>
              <a:custGeom>
                <a:avLst/>
                <a:gdLst>
                  <a:gd name="T0" fmla="*/ 837 w 4164"/>
                  <a:gd name="T1" fmla="*/ 433 h 2589"/>
                  <a:gd name="T2" fmla="*/ 825 w 4164"/>
                  <a:gd name="T3" fmla="*/ 1810 h 2589"/>
                  <a:gd name="T4" fmla="*/ 849 w 4164"/>
                  <a:gd name="T5" fmla="*/ 1844 h 2589"/>
                  <a:gd name="T6" fmla="*/ 3232 w 4164"/>
                  <a:gd name="T7" fmla="*/ 1844 h 2589"/>
                  <a:gd name="T8" fmla="*/ 3254 w 4164"/>
                  <a:gd name="T9" fmla="*/ 1810 h 2589"/>
                  <a:gd name="T10" fmla="*/ 3243 w 4164"/>
                  <a:gd name="T11" fmla="*/ 433 h 2589"/>
                  <a:gd name="T12" fmla="*/ 863 w 4164"/>
                  <a:gd name="T13" fmla="*/ 421 h 2589"/>
                  <a:gd name="T14" fmla="*/ 3247 w 4164"/>
                  <a:gd name="T15" fmla="*/ 310 h 2589"/>
                  <a:gd name="T16" fmla="*/ 3324 w 4164"/>
                  <a:gd name="T17" fmla="*/ 352 h 2589"/>
                  <a:gd name="T18" fmla="*/ 3365 w 4164"/>
                  <a:gd name="T19" fmla="*/ 428 h 2589"/>
                  <a:gd name="T20" fmla="*/ 3365 w 4164"/>
                  <a:gd name="T21" fmla="*/ 1840 h 2589"/>
                  <a:gd name="T22" fmla="*/ 3324 w 4164"/>
                  <a:gd name="T23" fmla="*/ 1917 h 2589"/>
                  <a:gd name="T24" fmla="*/ 3247 w 4164"/>
                  <a:gd name="T25" fmla="*/ 1958 h 2589"/>
                  <a:gd name="T26" fmla="*/ 833 w 4164"/>
                  <a:gd name="T27" fmla="*/ 1958 h 2589"/>
                  <a:gd name="T28" fmla="*/ 756 w 4164"/>
                  <a:gd name="T29" fmla="*/ 1917 h 2589"/>
                  <a:gd name="T30" fmla="*/ 714 w 4164"/>
                  <a:gd name="T31" fmla="*/ 1840 h 2589"/>
                  <a:gd name="T32" fmla="*/ 714 w 4164"/>
                  <a:gd name="T33" fmla="*/ 428 h 2589"/>
                  <a:gd name="T34" fmla="*/ 756 w 4164"/>
                  <a:gd name="T35" fmla="*/ 352 h 2589"/>
                  <a:gd name="T36" fmla="*/ 833 w 4164"/>
                  <a:gd name="T37" fmla="*/ 310 h 2589"/>
                  <a:gd name="T38" fmla="*/ 676 w 4164"/>
                  <a:gd name="T39" fmla="*/ 117 h 2589"/>
                  <a:gd name="T40" fmla="*/ 604 w 4164"/>
                  <a:gd name="T41" fmla="*/ 162 h 2589"/>
                  <a:gd name="T42" fmla="*/ 575 w 4164"/>
                  <a:gd name="T43" fmla="*/ 244 h 2589"/>
                  <a:gd name="T44" fmla="*/ 589 w 4164"/>
                  <a:gd name="T45" fmla="*/ 2142 h 2589"/>
                  <a:gd name="T46" fmla="*/ 649 w 4164"/>
                  <a:gd name="T47" fmla="*/ 2203 h 2589"/>
                  <a:gd name="T48" fmla="*/ 1605 w 4164"/>
                  <a:gd name="T49" fmla="*/ 2215 h 2589"/>
                  <a:gd name="T50" fmla="*/ 1650 w 4164"/>
                  <a:gd name="T51" fmla="*/ 2239 h 2589"/>
                  <a:gd name="T52" fmla="*/ 1662 w 4164"/>
                  <a:gd name="T53" fmla="*/ 2275 h 2589"/>
                  <a:gd name="T54" fmla="*/ 1662 w 4164"/>
                  <a:gd name="T55" fmla="*/ 2282 h 2589"/>
                  <a:gd name="T56" fmla="*/ 1639 w 4164"/>
                  <a:gd name="T57" fmla="*/ 2329 h 2589"/>
                  <a:gd name="T58" fmla="*/ 191 w 4164"/>
                  <a:gd name="T59" fmla="*/ 2340 h 2589"/>
                  <a:gd name="T60" fmla="*/ 3971 w 4164"/>
                  <a:gd name="T61" fmla="*/ 2340 h 2589"/>
                  <a:gd name="T62" fmla="*/ 2522 w 4164"/>
                  <a:gd name="T63" fmla="*/ 2328 h 2589"/>
                  <a:gd name="T64" fmla="*/ 2498 w 4164"/>
                  <a:gd name="T65" fmla="*/ 2286 h 2589"/>
                  <a:gd name="T66" fmla="*/ 2508 w 4164"/>
                  <a:gd name="T67" fmla="*/ 2239 h 2589"/>
                  <a:gd name="T68" fmla="*/ 2554 w 4164"/>
                  <a:gd name="T69" fmla="*/ 2215 h 2589"/>
                  <a:gd name="T70" fmla="*/ 3442 w 4164"/>
                  <a:gd name="T71" fmla="*/ 2203 h 2589"/>
                  <a:gd name="T72" fmla="*/ 3502 w 4164"/>
                  <a:gd name="T73" fmla="*/ 2142 h 2589"/>
                  <a:gd name="T74" fmla="*/ 3515 w 4164"/>
                  <a:gd name="T75" fmla="*/ 244 h 2589"/>
                  <a:gd name="T76" fmla="*/ 3486 w 4164"/>
                  <a:gd name="T77" fmla="*/ 162 h 2589"/>
                  <a:gd name="T78" fmla="*/ 3414 w 4164"/>
                  <a:gd name="T79" fmla="*/ 117 h 2589"/>
                  <a:gd name="T80" fmla="*/ 707 w 4164"/>
                  <a:gd name="T81" fmla="*/ 0 h 2589"/>
                  <a:gd name="T82" fmla="*/ 3470 w 4164"/>
                  <a:gd name="T83" fmla="*/ 15 h 2589"/>
                  <a:gd name="T84" fmla="*/ 3572 w 4164"/>
                  <a:gd name="T85" fmla="*/ 87 h 2589"/>
                  <a:gd name="T86" fmla="*/ 3625 w 4164"/>
                  <a:gd name="T87" fmla="*/ 200 h 2589"/>
                  <a:gd name="T88" fmla="*/ 3626 w 4164"/>
                  <a:gd name="T89" fmla="*/ 2123 h 2589"/>
                  <a:gd name="T90" fmla="*/ 3585 w 4164"/>
                  <a:gd name="T91" fmla="*/ 2225 h 2589"/>
                  <a:gd name="T92" fmla="*/ 4139 w 4164"/>
                  <a:gd name="T93" fmla="*/ 2235 h 2589"/>
                  <a:gd name="T94" fmla="*/ 4164 w 4164"/>
                  <a:gd name="T95" fmla="*/ 2277 h 2589"/>
                  <a:gd name="T96" fmla="*/ 4148 w 4164"/>
                  <a:gd name="T97" fmla="*/ 2323 h 2589"/>
                  <a:gd name="T98" fmla="*/ 3879 w 4164"/>
                  <a:gd name="T99" fmla="*/ 2586 h 2589"/>
                  <a:gd name="T100" fmla="*/ 278 w 4164"/>
                  <a:gd name="T101" fmla="*/ 2586 h 2589"/>
                  <a:gd name="T102" fmla="*/ 15 w 4164"/>
                  <a:gd name="T103" fmla="*/ 2323 h 2589"/>
                  <a:gd name="T104" fmla="*/ 0 w 4164"/>
                  <a:gd name="T105" fmla="*/ 2276 h 2589"/>
                  <a:gd name="T106" fmla="*/ 25 w 4164"/>
                  <a:gd name="T107" fmla="*/ 2234 h 2589"/>
                  <a:gd name="T108" fmla="*/ 506 w 4164"/>
                  <a:gd name="T109" fmla="*/ 2225 h 2589"/>
                  <a:gd name="T110" fmla="*/ 464 w 4164"/>
                  <a:gd name="T111" fmla="*/ 2123 h 2589"/>
                  <a:gd name="T112" fmla="*/ 466 w 4164"/>
                  <a:gd name="T113" fmla="*/ 200 h 2589"/>
                  <a:gd name="T114" fmla="*/ 519 w 4164"/>
                  <a:gd name="T115" fmla="*/ 87 h 2589"/>
                  <a:gd name="T116" fmla="*/ 621 w 4164"/>
                  <a:gd name="T117" fmla="*/ 15 h 2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64" h="2589">
                    <a:moveTo>
                      <a:pt x="863" y="421"/>
                    </a:moveTo>
                    <a:lnTo>
                      <a:pt x="849" y="425"/>
                    </a:lnTo>
                    <a:lnTo>
                      <a:pt x="837" y="433"/>
                    </a:lnTo>
                    <a:lnTo>
                      <a:pt x="829" y="444"/>
                    </a:lnTo>
                    <a:lnTo>
                      <a:pt x="825" y="459"/>
                    </a:lnTo>
                    <a:lnTo>
                      <a:pt x="825" y="1810"/>
                    </a:lnTo>
                    <a:lnTo>
                      <a:pt x="829" y="1824"/>
                    </a:lnTo>
                    <a:lnTo>
                      <a:pt x="837" y="1835"/>
                    </a:lnTo>
                    <a:lnTo>
                      <a:pt x="849" y="1844"/>
                    </a:lnTo>
                    <a:lnTo>
                      <a:pt x="863" y="1847"/>
                    </a:lnTo>
                    <a:lnTo>
                      <a:pt x="3216" y="1847"/>
                    </a:lnTo>
                    <a:lnTo>
                      <a:pt x="3232" y="1844"/>
                    </a:lnTo>
                    <a:lnTo>
                      <a:pt x="3243" y="1835"/>
                    </a:lnTo>
                    <a:lnTo>
                      <a:pt x="3250" y="1824"/>
                    </a:lnTo>
                    <a:lnTo>
                      <a:pt x="3254" y="1810"/>
                    </a:lnTo>
                    <a:lnTo>
                      <a:pt x="3254" y="459"/>
                    </a:lnTo>
                    <a:lnTo>
                      <a:pt x="3250" y="444"/>
                    </a:lnTo>
                    <a:lnTo>
                      <a:pt x="3243" y="433"/>
                    </a:lnTo>
                    <a:lnTo>
                      <a:pt x="3232" y="425"/>
                    </a:lnTo>
                    <a:lnTo>
                      <a:pt x="3216" y="421"/>
                    </a:lnTo>
                    <a:lnTo>
                      <a:pt x="863" y="421"/>
                    </a:lnTo>
                    <a:close/>
                    <a:moveTo>
                      <a:pt x="863" y="306"/>
                    </a:moveTo>
                    <a:lnTo>
                      <a:pt x="3216" y="306"/>
                    </a:lnTo>
                    <a:lnTo>
                      <a:pt x="3247" y="310"/>
                    </a:lnTo>
                    <a:lnTo>
                      <a:pt x="3276" y="319"/>
                    </a:lnTo>
                    <a:lnTo>
                      <a:pt x="3301" y="333"/>
                    </a:lnTo>
                    <a:lnTo>
                      <a:pt x="3324" y="352"/>
                    </a:lnTo>
                    <a:lnTo>
                      <a:pt x="3343" y="373"/>
                    </a:lnTo>
                    <a:lnTo>
                      <a:pt x="3356" y="400"/>
                    </a:lnTo>
                    <a:lnTo>
                      <a:pt x="3365" y="428"/>
                    </a:lnTo>
                    <a:lnTo>
                      <a:pt x="3368" y="459"/>
                    </a:lnTo>
                    <a:lnTo>
                      <a:pt x="3368" y="1810"/>
                    </a:lnTo>
                    <a:lnTo>
                      <a:pt x="3365" y="1840"/>
                    </a:lnTo>
                    <a:lnTo>
                      <a:pt x="3356" y="1868"/>
                    </a:lnTo>
                    <a:lnTo>
                      <a:pt x="3343" y="1895"/>
                    </a:lnTo>
                    <a:lnTo>
                      <a:pt x="3324" y="1917"/>
                    </a:lnTo>
                    <a:lnTo>
                      <a:pt x="3301" y="1935"/>
                    </a:lnTo>
                    <a:lnTo>
                      <a:pt x="3276" y="1949"/>
                    </a:lnTo>
                    <a:lnTo>
                      <a:pt x="3247" y="1958"/>
                    </a:lnTo>
                    <a:lnTo>
                      <a:pt x="3216" y="1962"/>
                    </a:lnTo>
                    <a:lnTo>
                      <a:pt x="863" y="1962"/>
                    </a:lnTo>
                    <a:lnTo>
                      <a:pt x="833" y="1958"/>
                    </a:lnTo>
                    <a:lnTo>
                      <a:pt x="804" y="1949"/>
                    </a:lnTo>
                    <a:lnTo>
                      <a:pt x="779" y="1935"/>
                    </a:lnTo>
                    <a:lnTo>
                      <a:pt x="756" y="1917"/>
                    </a:lnTo>
                    <a:lnTo>
                      <a:pt x="737" y="1895"/>
                    </a:lnTo>
                    <a:lnTo>
                      <a:pt x="723" y="1868"/>
                    </a:lnTo>
                    <a:lnTo>
                      <a:pt x="714" y="1840"/>
                    </a:lnTo>
                    <a:lnTo>
                      <a:pt x="712" y="1810"/>
                    </a:lnTo>
                    <a:lnTo>
                      <a:pt x="712" y="459"/>
                    </a:lnTo>
                    <a:lnTo>
                      <a:pt x="714" y="428"/>
                    </a:lnTo>
                    <a:lnTo>
                      <a:pt x="723" y="400"/>
                    </a:lnTo>
                    <a:lnTo>
                      <a:pt x="737" y="373"/>
                    </a:lnTo>
                    <a:lnTo>
                      <a:pt x="756" y="352"/>
                    </a:lnTo>
                    <a:lnTo>
                      <a:pt x="779" y="333"/>
                    </a:lnTo>
                    <a:lnTo>
                      <a:pt x="804" y="319"/>
                    </a:lnTo>
                    <a:lnTo>
                      <a:pt x="833" y="310"/>
                    </a:lnTo>
                    <a:lnTo>
                      <a:pt x="863" y="306"/>
                    </a:lnTo>
                    <a:close/>
                    <a:moveTo>
                      <a:pt x="707" y="114"/>
                    </a:moveTo>
                    <a:lnTo>
                      <a:pt x="676" y="117"/>
                    </a:lnTo>
                    <a:lnTo>
                      <a:pt x="649" y="127"/>
                    </a:lnTo>
                    <a:lnTo>
                      <a:pt x="625" y="142"/>
                    </a:lnTo>
                    <a:lnTo>
                      <a:pt x="604" y="162"/>
                    </a:lnTo>
                    <a:lnTo>
                      <a:pt x="589" y="188"/>
                    </a:lnTo>
                    <a:lnTo>
                      <a:pt x="579" y="214"/>
                    </a:lnTo>
                    <a:lnTo>
                      <a:pt x="575" y="244"/>
                    </a:lnTo>
                    <a:lnTo>
                      <a:pt x="575" y="2085"/>
                    </a:lnTo>
                    <a:lnTo>
                      <a:pt x="579" y="2114"/>
                    </a:lnTo>
                    <a:lnTo>
                      <a:pt x="589" y="2142"/>
                    </a:lnTo>
                    <a:lnTo>
                      <a:pt x="604" y="2166"/>
                    </a:lnTo>
                    <a:lnTo>
                      <a:pt x="625" y="2188"/>
                    </a:lnTo>
                    <a:lnTo>
                      <a:pt x="649" y="2203"/>
                    </a:lnTo>
                    <a:lnTo>
                      <a:pt x="676" y="2213"/>
                    </a:lnTo>
                    <a:lnTo>
                      <a:pt x="707" y="2215"/>
                    </a:lnTo>
                    <a:lnTo>
                      <a:pt x="1605" y="2215"/>
                    </a:lnTo>
                    <a:lnTo>
                      <a:pt x="1623" y="2219"/>
                    </a:lnTo>
                    <a:lnTo>
                      <a:pt x="1639" y="2227"/>
                    </a:lnTo>
                    <a:lnTo>
                      <a:pt x="1650" y="2239"/>
                    </a:lnTo>
                    <a:lnTo>
                      <a:pt x="1659" y="2254"/>
                    </a:lnTo>
                    <a:lnTo>
                      <a:pt x="1662" y="2273"/>
                    </a:lnTo>
                    <a:lnTo>
                      <a:pt x="1662" y="2275"/>
                    </a:lnTo>
                    <a:lnTo>
                      <a:pt x="1661" y="2277"/>
                    </a:lnTo>
                    <a:lnTo>
                      <a:pt x="1662" y="2280"/>
                    </a:lnTo>
                    <a:lnTo>
                      <a:pt x="1662" y="2282"/>
                    </a:lnTo>
                    <a:lnTo>
                      <a:pt x="1659" y="2301"/>
                    </a:lnTo>
                    <a:lnTo>
                      <a:pt x="1652" y="2316"/>
                    </a:lnTo>
                    <a:lnTo>
                      <a:pt x="1639" y="2329"/>
                    </a:lnTo>
                    <a:lnTo>
                      <a:pt x="1623" y="2336"/>
                    </a:lnTo>
                    <a:lnTo>
                      <a:pt x="1605" y="2340"/>
                    </a:lnTo>
                    <a:lnTo>
                      <a:pt x="191" y="2340"/>
                    </a:lnTo>
                    <a:lnTo>
                      <a:pt x="317" y="2474"/>
                    </a:lnTo>
                    <a:lnTo>
                      <a:pt x="3840" y="2474"/>
                    </a:lnTo>
                    <a:lnTo>
                      <a:pt x="3971" y="2340"/>
                    </a:lnTo>
                    <a:lnTo>
                      <a:pt x="2558" y="2340"/>
                    </a:lnTo>
                    <a:lnTo>
                      <a:pt x="2539" y="2336"/>
                    </a:lnTo>
                    <a:lnTo>
                      <a:pt x="2522" y="2328"/>
                    </a:lnTo>
                    <a:lnTo>
                      <a:pt x="2511" y="2315"/>
                    </a:lnTo>
                    <a:lnTo>
                      <a:pt x="2503" y="2297"/>
                    </a:lnTo>
                    <a:lnTo>
                      <a:pt x="2498" y="2286"/>
                    </a:lnTo>
                    <a:lnTo>
                      <a:pt x="2497" y="2273"/>
                    </a:lnTo>
                    <a:lnTo>
                      <a:pt x="2500" y="2254"/>
                    </a:lnTo>
                    <a:lnTo>
                      <a:pt x="2508" y="2239"/>
                    </a:lnTo>
                    <a:lnTo>
                      <a:pt x="2520" y="2227"/>
                    </a:lnTo>
                    <a:lnTo>
                      <a:pt x="2536" y="2219"/>
                    </a:lnTo>
                    <a:lnTo>
                      <a:pt x="2554" y="2215"/>
                    </a:lnTo>
                    <a:lnTo>
                      <a:pt x="3384" y="2215"/>
                    </a:lnTo>
                    <a:lnTo>
                      <a:pt x="3414" y="2213"/>
                    </a:lnTo>
                    <a:lnTo>
                      <a:pt x="3442" y="2203"/>
                    </a:lnTo>
                    <a:lnTo>
                      <a:pt x="3466" y="2188"/>
                    </a:lnTo>
                    <a:lnTo>
                      <a:pt x="3486" y="2166"/>
                    </a:lnTo>
                    <a:lnTo>
                      <a:pt x="3502" y="2142"/>
                    </a:lnTo>
                    <a:lnTo>
                      <a:pt x="3512" y="2114"/>
                    </a:lnTo>
                    <a:lnTo>
                      <a:pt x="3515" y="2085"/>
                    </a:lnTo>
                    <a:lnTo>
                      <a:pt x="3515" y="244"/>
                    </a:lnTo>
                    <a:lnTo>
                      <a:pt x="3512" y="214"/>
                    </a:lnTo>
                    <a:lnTo>
                      <a:pt x="3502" y="188"/>
                    </a:lnTo>
                    <a:lnTo>
                      <a:pt x="3486" y="162"/>
                    </a:lnTo>
                    <a:lnTo>
                      <a:pt x="3466" y="142"/>
                    </a:lnTo>
                    <a:lnTo>
                      <a:pt x="3442" y="127"/>
                    </a:lnTo>
                    <a:lnTo>
                      <a:pt x="3414" y="117"/>
                    </a:lnTo>
                    <a:lnTo>
                      <a:pt x="3384" y="114"/>
                    </a:lnTo>
                    <a:lnTo>
                      <a:pt x="707" y="114"/>
                    </a:lnTo>
                    <a:close/>
                    <a:moveTo>
                      <a:pt x="707" y="0"/>
                    </a:moveTo>
                    <a:lnTo>
                      <a:pt x="3384" y="0"/>
                    </a:lnTo>
                    <a:lnTo>
                      <a:pt x="3428" y="3"/>
                    </a:lnTo>
                    <a:lnTo>
                      <a:pt x="3470" y="15"/>
                    </a:lnTo>
                    <a:lnTo>
                      <a:pt x="3508" y="32"/>
                    </a:lnTo>
                    <a:lnTo>
                      <a:pt x="3542" y="58"/>
                    </a:lnTo>
                    <a:lnTo>
                      <a:pt x="3572" y="87"/>
                    </a:lnTo>
                    <a:lnTo>
                      <a:pt x="3596" y="121"/>
                    </a:lnTo>
                    <a:lnTo>
                      <a:pt x="3614" y="159"/>
                    </a:lnTo>
                    <a:lnTo>
                      <a:pt x="3625" y="200"/>
                    </a:lnTo>
                    <a:lnTo>
                      <a:pt x="3629" y="244"/>
                    </a:lnTo>
                    <a:lnTo>
                      <a:pt x="3629" y="2085"/>
                    </a:lnTo>
                    <a:lnTo>
                      <a:pt x="3626" y="2123"/>
                    </a:lnTo>
                    <a:lnTo>
                      <a:pt x="3618" y="2160"/>
                    </a:lnTo>
                    <a:lnTo>
                      <a:pt x="3604" y="2194"/>
                    </a:lnTo>
                    <a:lnTo>
                      <a:pt x="3585" y="2225"/>
                    </a:lnTo>
                    <a:lnTo>
                      <a:pt x="4107" y="2225"/>
                    </a:lnTo>
                    <a:lnTo>
                      <a:pt x="4124" y="2228"/>
                    </a:lnTo>
                    <a:lnTo>
                      <a:pt x="4139" y="2235"/>
                    </a:lnTo>
                    <a:lnTo>
                      <a:pt x="4150" y="2246"/>
                    </a:lnTo>
                    <a:lnTo>
                      <a:pt x="4159" y="2261"/>
                    </a:lnTo>
                    <a:lnTo>
                      <a:pt x="4164" y="2277"/>
                    </a:lnTo>
                    <a:lnTo>
                      <a:pt x="4163" y="2294"/>
                    </a:lnTo>
                    <a:lnTo>
                      <a:pt x="4158" y="2309"/>
                    </a:lnTo>
                    <a:lnTo>
                      <a:pt x="4148" y="2323"/>
                    </a:lnTo>
                    <a:lnTo>
                      <a:pt x="3905" y="2571"/>
                    </a:lnTo>
                    <a:lnTo>
                      <a:pt x="3893" y="2580"/>
                    </a:lnTo>
                    <a:lnTo>
                      <a:pt x="3879" y="2586"/>
                    </a:lnTo>
                    <a:lnTo>
                      <a:pt x="3865" y="2589"/>
                    </a:lnTo>
                    <a:lnTo>
                      <a:pt x="293" y="2589"/>
                    </a:lnTo>
                    <a:lnTo>
                      <a:pt x="278" y="2586"/>
                    </a:lnTo>
                    <a:lnTo>
                      <a:pt x="262" y="2580"/>
                    </a:lnTo>
                    <a:lnTo>
                      <a:pt x="251" y="2570"/>
                    </a:lnTo>
                    <a:lnTo>
                      <a:pt x="15" y="2323"/>
                    </a:lnTo>
                    <a:lnTo>
                      <a:pt x="6" y="2309"/>
                    </a:lnTo>
                    <a:lnTo>
                      <a:pt x="1" y="2292"/>
                    </a:lnTo>
                    <a:lnTo>
                      <a:pt x="0" y="2276"/>
                    </a:lnTo>
                    <a:lnTo>
                      <a:pt x="5" y="2259"/>
                    </a:lnTo>
                    <a:lnTo>
                      <a:pt x="14" y="2246"/>
                    </a:lnTo>
                    <a:lnTo>
                      <a:pt x="25" y="2234"/>
                    </a:lnTo>
                    <a:lnTo>
                      <a:pt x="40" y="2228"/>
                    </a:lnTo>
                    <a:lnTo>
                      <a:pt x="57" y="2225"/>
                    </a:lnTo>
                    <a:lnTo>
                      <a:pt x="506" y="2225"/>
                    </a:lnTo>
                    <a:lnTo>
                      <a:pt x="487" y="2194"/>
                    </a:lnTo>
                    <a:lnTo>
                      <a:pt x="473" y="2160"/>
                    </a:lnTo>
                    <a:lnTo>
                      <a:pt x="464" y="2123"/>
                    </a:lnTo>
                    <a:lnTo>
                      <a:pt x="462" y="2085"/>
                    </a:lnTo>
                    <a:lnTo>
                      <a:pt x="462" y="244"/>
                    </a:lnTo>
                    <a:lnTo>
                      <a:pt x="466" y="200"/>
                    </a:lnTo>
                    <a:lnTo>
                      <a:pt x="477" y="159"/>
                    </a:lnTo>
                    <a:lnTo>
                      <a:pt x="495" y="121"/>
                    </a:lnTo>
                    <a:lnTo>
                      <a:pt x="519" y="87"/>
                    </a:lnTo>
                    <a:lnTo>
                      <a:pt x="549" y="58"/>
                    </a:lnTo>
                    <a:lnTo>
                      <a:pt x="583" y="32"/>
                    </a:lnTo>
                    <a:lnTo>
                      <a:pt x="621" y="15"/>
                    </a:lnTo>
                    <a:lnTo>
                      <a:pt x="662" y="3"/>
                    </a:lnTo>
                    <a:lnTo>
                      <a:pt x="707" y="0"/>
                    </a:lnTo>
                    <a:close/>
                  </a:path>
                </a:pathLst>
              </a:custGeom>
              <a:solidFill>
                <a:srgbClr val="6D69FF"/>
              </a:solidFill>
              <a:ln w="0">
                <a:solidFill>
                  <a:srgbClr val="6D69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7A76FF"/>
                  </a:solidFill>
                  <a:effectLst/>
                  <a:uLnTx/>
                  <a:uFillTx/>
                  <a:latin typeface="Calibri" panose="020F0502020204030204"/>
                  <a:ea typeface="+mn-ea"/>
                  <a:cs typeface="+mn-cs"/>
                </a:endParaRPr>
              </a:p>
            </p:txBody>
          </p:sp>
          <p:sp>
            <p:nvSpPr>
              <p:cNvPr id="16" name="Oval 149">
                <a:extLst>
                  <a:ext uri="{FF2B5EF4-FFF2-40B4-BE49-F238E27FC236}">
                    <a16:creationId xmlns:a16="http://schemas.microsoft.com/office/drawing/2014/main" id="{93B8642C-ADEF-162F-AFEE-2BF6DEE0FD08}"/>
                  </a:ext>
                </a:extLst>
              </p:cNvPr>
              <p:cNvSpPr/>
              <p:nvPr/>
            </p:nvSpPr>
            <p:spPr>
              <a:xfrm>
                <a:off x="4869158" y="1420981"/>
                <a:ext cx="678202" cy="678202"/>
              </a:xfrm>
              <a:prstGeom prst="ellipse">
                <a:avLst/>
              </a:prstGeom>
              <a:noFill/>
              <a:ln w="19050">
                <a:solidFill>
                  <a:srgbClr val="6D6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7A76FF"/>
                  </a:solidFill>
                  <a:effectLst/>
                  <a:uLnTx/>
                  <a:uFillTx/>
                  <a:latin typeface="Calibri" panose="020F0502020204030204"/>
                  <a:ea typeface="+mn-ea"/>
                  <a:cs typeface="+mn-cs"/>
                </a:endParaRPr>
              </a:p>
            </p:txBody>
          </p:sp>
        </p:grpSp>
        <p:sp>
          <p:nvSpPr>
            <p:cNvPr id="14" name="TextBox 140">
              <a:extLst>
                <a:ext uri="{FF2B5EF4-FFF2-40B4-BE49-F238E27FC236}">
                  <a16:creationId xmlns:a16="http://schemas.microsoft.com/office/drawing/2014/main" id="{EF1EE776-EE23-5924-26BC-83ACB89C2E84}"/>
                </a:ext>
              </a:extLst>
            </p:cNvPr>
            <p:cNvSpPr txBox="1"/>
            <p:nvPr/>
          </p:nvSpPr>
          <p:spPr>
            <a:xfrm>
              <a:off x="1920946" y="3087839"/>
              <a:ext cx="1625927" cy="415498"/>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7A76FF"/>
                  </a:solidFill>
                  <a:effectLst/>
                  <a:uLnTx/>
                  <a:uFillTx/>
                  <a:latin typeface="Calibri Light" panose="020F0302020204030204"/>
                  <a:ea typeface="+mn-ea"/>
                  <a:cs typeface="+mn-cs"/>
                </a:rPr>
                <a:t>Accéder n’importe quelles données autorisées</a:t>
              </a:r>
            </a:p>
          </p:txBody>
        </p:sp>
      </p:grpSp>
      <p:grpSp>
        <p:nvGrpSpPr>
          <p:cNvPr id="17" name="Group 12">
            <a:extLst>
              <a:ext uri="{FF2B5EF4-FFF2-40B4-BE49-F238E27FC236}">
                <a16:creationId xmlns:a16="http://schemas.microsoft.com/office/drawing/2014/main" id="{F088371F-6BDC-DAE3-A1B8-DA16EAAEAC72}"/>
              </a:ext>
            </a:extLst>
          </p:cNvPr>
          <p:cNvGrpSpPr/>
          <p:nvPr>
            <p:custDataLst>
              <p:tags r:id="rId4"/>
            </p:custDataLst>
          </p:nvPr>
        </p:nvGrpSpPr>
        <p:grpSpPr>
          <a:xfrm>
            <a:off x="3564932" y="3170505"/>
            <a:ext cx="1773849" cy="432352"/>
            <a:chOff x="3564932" y="3170501"/>
            <a:chExt cx="1773849" cy="432352"/>
          </a:xfrm>
        </p:grpSpPr>
        <p:sp>
          <p:nvSpPr>
            <p:cNvPr id="18" name="TextBox 185">
              <a:extLst>
                <a:ext uri="{FF2B5EF4-FFF2-40B4-BE49-F238E27FC236}">
                  <a16:creationId xmlns:a16="http://schemas.microsoft.com/office/drawing/2014/main" id="{23DDFB62-1841-6267-3AD2-7C0AC8B56F25}"/>
                </a:ext>
              </a:extLst>
            </p:cNvPr>
            <p:cNvSpPr txBox="1"/>
            <p:nvPr/>
          </p:nvSpPr>
          <p:spPr>
            <a:xfrm>
              <a:off x="3894029" y="3187355"/>
              <a:ext cx="1444752" cy="415498"/>
            </a:xfrm>
            <a:prstGeom prst="rect">
              <a:avLst/>
            </a:prstGeom>
            <a:noFill/>
          </p:spPr>
          <p:txBody>
            <a:bodyPr wrap="square" rIns="0"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5ADFD8"/>
                  </a:solidFill>
                  <a:effectLst/>
                  <a:uLnTx/>
                  <a:uFillTx/>
                  <a:latin typeface="Calibri Light" panose="020F0302020204030204"/>
                  <a:ea typeface="+mn-ea"/>
                  <a:cs typeface="+mn-cs"/>
                </a:rPr>
                <a:t>Automatiser les tâches de modélisation</a:t>
              </a:r>
            </a:p>
          </p:txBody>
        </p:sp>
        <p:grpSp>
          <p:nvGrpSpPr>
            <p:cNvPr id="19" name="Group 213">
              <a:extLst>
                <a:ext uri="{FF2B5EF4-FFF2-40B4-BE49-F238E27FC236}">
                  <a16:creationId xmlns:a16="http://schemas.microsoft.com/office/drawing/2014/main" id="{E36EBA1A-0F3D-3B61-C65D-AF54D75247C1}"/>
                </a:ext>
              </a:extLst>
            </p:cNvPr>
            <p:cNvGrpSpPr/>
            <p:nvPr/>
          </p:nvGrpSpPr>
          <p:grpSpPr>
            <a:xfrm>
              <a:off x="3564932" y="3170501"/>
              <a:ext cx="287624" cy="287624"/>
              <a:chOff x="4867490" y="2732053"/>
              <a:chExt cx="382827" cy="382827"/>
            </a:xfrm>
          </p:grpSpPr>
          <p:sp>
            <p:nvSpPr>
              <p:cNvPr id="20" name="Oval 181">
                <a:extLst>
                  <a:ext uri="{FF2B5EF4-FFF2-40B4-BE49-F238E27FC236}">
                    <a16:creationId xmlns:a16="http://schemas.microsoft.com/office/drawing/2014/main" id="{A3FA091E-A487-CBAD-193C-E5ECFF06630A}"/>
                  </a:ext>
                </a:extLst>
              </p:cNvPr>
              <p:cNvSpPr/>
              <p:nvPr/>
            </p:nvSpPr>
            <p:spPr>
              <a:xfrm>
                <a:off x="4867490" y="2732053"/>
                <a:ext cx="382827" cy="382827"/>
              </a:xfrm>
              <a:prstGeom prst="ellipse">
                <a:avLst/>
              </a:prstGeom>
              <a:noFill/>
              <a:ln w="19050">
                <a:solidFill>
                  <a:srgbClr val="5ADF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ADFD8"/>
                  </a:solidFill>
                  <a:effectLst/>
                  <a:uLnTx/>
                  <a:uFillTx/>
                  <a:latin typeface="Calibri" panose="020F0502020204030204"/>
                  <a:ea typeface="+mn-ea"/>
                  <a:cs typeface="+mn-cs"/>
                </a:endParaRPr>
              </a:p>
            </p:txBody>
          </p:sp>
          <p:sp>
            <p:nvSpPr>
              <p:cNvPr id="21" name="Freeform 35">
                <a:extLst>
                  <a:ext uri="{FF2B5EF4-FFF2-40B4-BE49-F238E27FC236}">
                    <a16:creationId xmlns:a16="http://schemas.microsoft.com/office/drawing/2014/main" id="{2B66E224-E66E-C0AB-BC16-BF0797229C2D}"/>
                  </a:ext>
                </a:extLst>
              </p:cNvPr>
              <p:cNvSpPr>
                <a:spLocks noChangeAspect="1" noEditPoints="1"/>
              </p:cNvSpPr>
              <p:nvPr/>
            </p:nvSpPr>
            <p:spPr bwMode="auto">
              <a:xfrm>
                <a:off x="4916336" y="2780899"/>
                <a:ext cx="285135" cy="285135"/>
              </a:xfrm>
              <a:custGeom>
                <a:avLst/>
                <a:gdLst>
                  <a:gd name="T0" fmla="*/ 4531 w 4799"/>
                  <a:gd name="T1" fmla="*/ 2779 h 4799"/>
                  <a:gd name="T2" fmla="*/ 3930 w 4799"/>
                  <a:gd name="T3" fmla="*/ 3322 h 4799"/>
                  <a:gd name="T4" fmla="*/ 4176 w 4799"/>
                  <a:gd name="T5" fmla="*/ 3826 h 4799"/>
                  <a:gd name="T6" fmla="*/ 3410 w 4799"/>
                  <a:gd name="T7" fmla="*/ 3945 h 4799"/>
                  <a:gd name="T8" fmla="*/ 2779 w 4799"/>
                  <a:gd name="T9" fmla="*/ 4211 h 4799"/>
                  <a:gd name="T10" fmla="*/ 2153 w 4799"/>
                  <a:gd name="T11" fmla="*/ 4663 h 4799"/>
                  <a:gd name="T12" fmla="*/ 1966 w 4799"/>
                  <a:gd name="T13" fmla="*/ 4145 h 4799"/>
                  <a:gd name="T14" fmla="*/ 1388 w 4799"/>
                  <a:gd name="T15" fmla="*/ 3948 h 4799"/>
                  <a:gd name="T16" fmla="*/ 623 w 4799"/>
                  <a:gd name="T17" fmla="*/ 3826 h 4799"/>
                  <a:gd name="T18" fmla="*/ 864 w 4799"/>
                  <a:gd name="T19" fmla="*/ 3324 h 4799"/>
                  <a:gd name="T20" fmla="*/ 598 w 4799"/>
                  <a:gd name="T21" fmla="*/ 2779 h 4799"/>
                  <a:gd name="T22" fmla="*/ 135 w 4799"/>
                  <a:gd name="T23" fmla="*/ 2152 h 4799"/>
                  <a:gd name="T24" fmla="*/ 670 w 4799"/>
                  <a:gd name="T25" fmla="*/ 1974 h 4799"/>
                  <a:gd name="T26" fmla="*/ 868 w 4799"/>
                  <a:gd name="T27" fmla="*/ 1405 h 4799"/>
                  <a:gd name="T28" fmla="*/ 972 w 4799"/>
                  <a:gd name="T29" fmla="*/ 622 h 4799"/>
                  <a:gd name="T30" fmla="*/ 1513 w 4799"/>
                  <a:gd name="T31" fmla="*/ 879 h 4799"/>
                  <a:gd name="T32" fmla="*/ 1994 w 4799"/>
                  <a:gd name="T33" fmla="*/ 672 h 4799"/>
                  <a:gd name="T34" fmla="*/ 2153 w 4799"/>
                  <a:gd name="T35" fmla="*/ 134 h 4799"/>
                  <a:gd name="T36" fmla="*/ 2779 w 4799"/>
                  <a:gd name="T37" fmla="*/ 617 h 4799"/>
                  <a:gd name="T38" fmla="*/ 3306 w 4799"/>
                  <a:gd name="T39" fmla="*/ 883 h 4799"/>
                  <a:gd name="T40" fmla="*/ 3827 w 4799"/>
                  <a:gd name="T41" fmla="*/ 622 h 4799"/>
                  <a:gd name="T42" fmla="*/ 3928 w 4799"/>
                  <a:gd name="T43" fmla="*/ 1404 h 4799"/>
                  <a:gd name="T44" fmla="*/ 4177 w 4799"/>
                  <a:gd name="T45" fmla="*/ 2017 h 4799"/>
                  <a:gd name="T46" fmla="*/ 4664 w 4799"/>
                  <a:gd name="T47" fmla="*/ 2152 h 4799"/>
                  <a:gd name="T48" fmla="*/ 4531 w 4799"/>
                  <a:gd name="T49" fmla="*/ 1883 h 4799"/>
                  <a:gd name="T50" fmla="*/ 4060 w 4799"/>
                  <a:gd name="T51" fmla="*/ 1464 h 4799"/>
                  <a:gd name="T52" fmla="*/ 3922 w 4799"/>
                  <a:gd name="T53" fmla="*/ 527 h 4799"/>
                  <a:gd name="T54" fmla="*/ 2915 w 4799"/>
                  <a:gd name="T55" fmla="*/ 570 h 4799"/>
                  <a:gd name="T56" fmla="*/ 2153 w 4799"/>
                  <a:gd name="T57" fmla="*/ 0 h 4799"/>
                  <a:gd name="T58" fmla="*/ 1468 w 4799"/>
                  <a:gd name="T59" fmla="*/ 738 h 4799"/>
                  <a:gd name="T60" fmla="*/ 528 w 4799"/>
                  <a:gd name="T61" fmla="*/ 876 h 4799"/>
                  <a:gd name="T62" fmla="*/ 555 w 4799"/>
                  <a:gd name="T63" fmla="*/ 1883 h 4799"/>
                  <a:gd name="T64" fmla="*/ 0 w 4799"/>
                  <a:gd name="T65" fmla="*/ 2645 h 4799"/>
                  <a:gd name="T66" fmla="*/ 722 w 4799"/>
                  <a:gd name="T67" fmla="*/ 3348 h 4799"/>
                  <a:gd name="T68" fmla="*/ 877 w 4799"/>
                  <a:gd name="T69" fmla="*/ 4270 h 4799"/>
                  <a:gd name="T70" fmla="*/ 1884 w 4799"/>
                  <a:gd name="T71" fmla="*/ 4263 h 4799"/>
                  <a:gd name="T72" fmla="*/ 2646 w 4799"/>
                  <a:gd name="T73" fmla="*/ 4799 h 4799"/>
                  <a:gd name="T74" fmla="*/ 3351 w 4799"/>
                  <a:gd name="T75" fmla="*/ 4078 h 4799"/>
                  <a:gd name="T76" fmla="*/ 4271 w 4799"/>
                  <a:gd name="T77" fmla="*/ 3921 h 4799"/>
                  <a:gd name="T78" fmla="*/ 4248 w 4799"/>
                  <a:gd name="T79" fmla="*/ 2914 h 4799"/>
                  <a:gd name="T80" fmla="*/ 4799 w 4799"/>
                  <a:gd name="T81" fmla="*/ 2152 h 4799"/>
                  <a:gd name="T82" fmla="*/ 2400 w 4799"/>
                  <a:gd name="T83" fmla="*/ 3479 h 4799"/>
                  <a:gd name="T84" fmla="*/ 2400 w 4799"/>
                  <a:gd name="T85" fmla="*/ 1374 h 4799"/>
                  <a:gd name="T86" fmla="*/ 2400 w 4799"/>
                  <a:gd name="T87" fmla="*/ 3479 h 4799"/>
                  <a:gd name="T88" fmla="*/ 1212 w 4799"/>
                  <a:gd name="T89" fmla="*/ 2426 h 4799"/>
                  <a:gd name="T90" fmla="*/ 2400 w 4799"/>
                  <a:gd name="T91" fmla="*/ 1239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99" h="4799">
                    <a:moveTo>
                      <a:pt x="4664" y="2645"/>
                    </a:moveTo>
                    <a:lnTo>
                      <a:pt x="4664" y="2645"/>
                    </a:lnTo>
                    <a:cubicBezTo>
                      <a:pt x="4664" y="2719"/>
                      <a:pt x="4605" y="2779"/>
                      <a:pt x="4531" y="2779"/>
                    </a:cubicBezTo>
                    <a:lnTo>
                      <a:pt x="4196" y="2778"/>
                    </a:lnTo>
                    <a:cubicBezTo>
                      <a:pt x="4162" y="2779"/>
                      <a:pt x="4137" y="2800"/>
                      <a:pt x="4130" y="2830"/>
                    </a:cubicBezTo>
                    <a:cubicBezTo>
                      <a:pt x="4088" y="3003"/>
                      <a:pt x="4021" y="3169"/>
                      <a:pt x="3930" y="3322"/>
                    </a:cubicBezTo>
                    <a:cubicBezTo>
                      <a:pt x="3915" y="3349"/>
                      <a:pt x="3919" y="3382"/>
                      <a:pt x="3941" y="3404"/>
                    </a:cubicBezTo>
                    <a:lnTo>
                      <a:pt x="4176" y="3637"/>
                    </a:lnTo>
                    <a:cubicBezTo>
                      <a:pt x="4227" y="3689"/>
                      <a:pt x="4228" y="3774"/>
                      <a:pt x="4176" y="3826"/>
                    </a:cubicBezTo>
                    <a:lnTo>
                      <a:pt x="3827" y="4175"/>
                    </a:lnTo>
                    <a:cubicBezTo>
                      <a:pt x="3775" y="4227"/>
                      <a:pt x="3690" y="4226"/>
                      <a:pt x="3638" y="4175"/>
                    </a:cubicBezTo>
                    <a:lnTo>
                      <a:pt x="3410" y="3945"/>
                    </a:lnTo>
                    <a:cubicBezTo>
                      <a:pt x="3388" y="3923"/>
                      <a:pt x="3353" y="3919"/>
                      <a:pt x="3327" y="3935"/>
                    </a:cubicBezTo>
                    <a:cubicBezTo>
                      <a:pt x="3172" y="4030"/>
                      <a:pt x="3005" y="4100"/>
                      <a:pt x="2831" y="4144"/>
                    </a:cubicBezTo>
                    <a:cubicBezTo>
                      <a:pt x="2799" y="4151"/>
                      <a:pt x="2779" y="4180"/>
                      <a:pt x="2779" y="4211"/>
                    </a:cubicBezTo>
                    <a:lnTo>
                      <a:pt x="2779" y="4530"/>
                    </a:lnTo>
                    <a:cubicBezTo>
                      <a:pt x="2779" y="4604"/>
                      <a:pt x="2720" y="4663"/>
                      <a:pt x="2646" y="4663"/>
                    </a:cubicBezTo>
                    <a:lnTo>
                      <a:pt x="2153" y="4663"/>
                    </a:lnTo>
                    <a:cubicBezTo>
                      <a:pt x="2079" y="4663"/>
                      <a:pt x="2019" y="4604"/>
                      <a:pt x="2019" y="4530"/>
                    </a:cubicBezTo>
                    <a:lnTo>
                      <a:pt x="2019" y="4211"/>
                    </a:lnTo>
                    <a:cubicBezTo>
                      <a:pt x="2019" y="4180"/>
                      <a:pt x="1996" y="4152"/>
                      <a:pt x="1966" y="4145"/>
                    </a:cubicBezTo>
                    <a:cubicBezTo>
                      <a:pt x="1791" y="4101"/>
                      <a:pt x="1624" y="4032"/>
                      <a:pt x="1471" y="3938"/>
                    </a:cubicBezTo>
                    <a:cubicBezTo>
                      <a:pt x="1460" y="3931"/>
                      <a:pt x="1448" y="3928"/>
                      <a:pt x="1436" y="3928"/>
                    </a:cubicBezTo>
                    <a:cubicBezTo>
                      <a:pt x="1418" y="3928"/>
                      <a:pt x="1401" y="3935"/>
                      <a:pt x="1388" y="3948"/>
                    </a:cubicBezTo>
                    <a:lnTo>
                      <a:pt x="1161" y="4175"/>
                    </a:lnTo>
                    <a:cubicBezTo>
                      <a:pt x="1109" y="4227"/>
                      <a:pt x="1024" y="4227"/>
                      <a:pt x="972" y="4175"/>
                    </a:cubicBezTo>
                    <a:lnTo>
                      <a:pt x="623" y="3826"/>
                    </a:lnTo>
                    <a:cubicBezTo>
                      <a:pt x="571" y="3774"/>
                      <a:pt x="572" y="3689"/>
                      <a:pt x="623" y="3637"/>
                    </a:cubicBezTo>
                    <a:lnTo>
                      <a:pt x="854" y="3407"/>
                    </a:lnTo>
                    <a:cubicBezTo>
                      <a:pt x="876" y="3385"/>
                      <a:pt x="880" y="3351"/>
                      <a:pt x="864" y="3324"/>
                    </a:cubicBezTo>
                    <a:cubicBezTo>
                      <a:pt x="772" y="3170"/>
                      <a:pt x="705" y="3004"/>
                      <a:pt x="664" y="2831"/>
                    </a:cubicBezTo>
                    <a:cubicBezTo>
                      <a:pt x="662" y="2826"/>
                      <a:pt x="661" y="2821"/>
                      <a:pt x="658" y="2816"/>
                    </a:cubicBezTo>
                    <a:cubicBezTo>
                      <a:pt x="647" y="2793"/>
                      <a:pt x="623" y="2779"/>
                      <a:pt x="598" y="2779"/>
                    </a:cubicBezTo>
                    <a:lnTo>
                      <a:pt x="268" y="2779"/>
                    </a:lnTo>
                    <a:cubicBezTo>
                      <a:pt x="194" y="2779"/>
                      <a:pt x="135" y="2719"/>
                      <a:pt x="135" y="2645"/>
                    </a:cubicBezTo>
                    <a:lnTo>
                      <a:pt x="135" y="2152"/>
                    </a:lnTo>
                    <a:cubicBezTo>
                      <a:pt x="135" y="2078"/>
                      <a:pt x="194" y="2018"/>
                      <a:pt x="268" y="2018"/>
                    </a:cubicBezTo>
                    <a:lnTo>
                      <a:pt x="606" y="2018"/>
                    </a:lnTo>
                    <a:cubicBezTo>
                      <a:pt x="635" y="2018"/>
                      <a:pt x="660" y="2001"/>
                      <a:pt x="670" y="1974"/>
                    </a:cubicBezTo>
                    <a:cubicBezTo>
                      <a:pt x="670" y="1972"/>
                      <a:pt x="672" y="1968"/>
                      <a:pt x="672" y="1966"/>
                    </a:cubicBezTo>
                    <a:cubicBezTo>
                      <a:pt x="716" y="1797"/>
                      <a:pt x="785" y="1635"/>
                      <a:pt x="876" y="1486"/>
                    </a:cubicBezTo>
                    <a:cubicBezTo>
                      <a:pt x="892" y="1460"/>
                      <a:pt x="889" y="1427"/>
                      <a:pt x="868" y="1405"/>
                    </a:cubicBezTo>
                    <a:lnTo>
                      <a:pt x="623" y="1160"/>
                    </a:lnTo>
                    <a:cubicBezTo>
                      <a:pt x="571" y="1108"/>
                      <a:pt x="571" y="1023"/>
                      <a:pt x="623" y="971"/>
                    </a:cubicBezTo>
                    <a:lnTo>
                      <a:pt x="972" y="622"/>
                    </a:lnTo>
                    <a:cubicBezTo>
                      <a:pt x="1024" y="571"/>
                      <a:pt x="1109" y="570"/>
                      <a:pt x="1161" y="622"/>
                    </a:cubicBezTo>
                    <a:lnTo>
                      <a:pt x="1418" y="879"/>
                    </a:lnTo>
                    <a:cubicBezTo>
                      <a:pt x="1444" y="906"/>
                      <a:pt x="1487" y="906"/>
                      <a:pt x="1513" y="879"/>
                    </a:cubicBezTo>
                    <a:cubicBezTo>
                      <a:pt x="1519" y="874"/>
                      <a:pt x="1523" y="867"/>
                      <a:pt x="1526" y="860"/>
                    </a:cubicBezTo>
                    <a:cubicBezTo>
                      <a:pt x="1665" y="783"/>
                      <a:pt x="1812" y="724"/>
                      <a:pt x="1966" y="686"/>
                    </a:cubicBezTo>
                    <a:cubicBezTo>
                      <a:pt x="1975" y="684"/>
                      <a:pt x="1986" y="678"/>
                      <a:pt x="1994" y="672"/>
                    </a:cubicBezTo>
                    <a:cubicBezTo>
                      <a:pt x="2010" y="659"/>
                      <a:pt x="2019" y="640"/>
                      <a:pt x="2019" y="619"/>
                    </a:cubicBezTo>
                    <a:lnTo>
                      <a:pt x="2019" y="267"/>
                    </a:lnTo>
                    <a:cubicBezTo>
                      <a:pt x="2019" y="193"/>
                      <a:pt x="2079" y="134"/>
                      <a:pt x="2153" y="134"/>
                    </a:cubicBezTo>
                    <a:lnTo>
                      <a:pt x="2646" y="134"/>
                    </a:lnTo>
                    <a:cubicBezTo>
                      <a:pt x="2720" y="134"/>
                      <a:pt x="2779" y="193"/>
                      <a:pt x="2779" y="267"/>
                    </a:cubicBezTo>
                    <a:lnTo>
                      <a:pt x="2779" y="617"/>
                    </a:lnTo>
                    <a:cubicBezTo>
                      <a:pt x="2779" y="621"/>
                      <a:pt x="2780" y="629"/>
                      <a:pt x="2781" y="632"/>
                    </a:cubicBezTo>
                    <a:cubicBezTo>
                      <a:pt x="2785" y="659"/>
                      <a:pt x="2805" y="681"/>
                      <a:pt x="2831" y="687"/>
                    </a:cubicBezTo>
                    <a:cubicBezTo>
                      <a:pt x="2998" y="729"/>
                      <a:pt x="3158" y="795"/>
                      <a:pt x="3306" y="883"/>
                    </a:cubicBezTo>
                    <a:cubicBezTo>
                      <a:pt x="3333" y="900"/>
                      <a:pt x="3369" y="893"/>
                      <a:pt x="3390" y="871"/>
                    </a:cubicBezTo>
                    <a:lnTo>
                      <a:pt x="3638" y="622"/>
                    </a:lnTo>
                    <a:cubicBezTo>
                      <a:pt x="3690" y="570"/>
                      <a:pt x="3775" y="570"/>
                      <a:pt x="3827" y="622"/>
                    </a:cubicBezTo>
                    <a:lnTo>
                      <a:pt x="4176" y="971"/>
                    </a:lnTo>
                    <a:cubicBezTo>
                      <a:pt x="4228" y="1023"/>
                      <a:pt x="4228" y="1108"/>
                      <a:pt x="4176" y="1160"/>
                    </a:cubicBezTo>
                    <a:lnTo>
                      <a:pt x="3928" y="1404"/>
                    </a:lnTo>
                    <a:cubicBezTo>
                      <a:pt x="3906" y="1426"/>
                      <a:pt x="3901" y="1461"/>
                      <a:pt x="3918" y="1488"/>
                    </a:cubicBezTo>
                    <a:cubicBezTo>
                      <a:pt x="4008" y="1635"/>
                      <a:pt x="4076" y="1795"/>
                      <a:pt x="4120" y="1962"/>
                    </a:cubicBezTo>
                    <a:cubicBezTo>
                      <a:pt x="4124" y="1990"/>
                      <a:pt x="4149" y="2012"/>
                      <a:pt x="4177" y="2017"/>
                    </a:cubicBezTo>
                    <a:cubicBezTo>
                      <a:pt x="4181" y="2018"/>
                      <a:pt x="4185" y="2018"/>
                      <a:pt x="4189" y="2018"/>
                    </a:cubicBezTo>
                    <a:lnTo>
                      <a:pt x="4531" y="2018"/>
                    </a:lnTo>
                    <a:cubicBezTo>
                      <a:pt x="4605" y="2018"/>
                      <a:pt x="4664" y="2078"/>
                      <a:pt x="4664" y="2152"/>
                    </a:cubicBezTo>
                    <a:lnTo>
                      <a:pt x="4664" y="2645"/>
                    </a:lnTo>
                    <a:lnTo>
                      <a:pt x="4664" y="2645"/>
                    </a:lnTo>
                    <a:close/>
                    <a:moveTo>
                      <a:pt x="4531" y="1883"/>
                    </a:moveTo>
                    <a:lnTo>
                      <a:pt x="4531" y="1883"/>
                    </a:lnTo>
                    <a:lnTo>
                      <a:pt x="4238" y="1883"/>
                    </a:lnTo>
                    <a:cubicBezTo>
                      <a:pt x="4196" y="1737"/>
                      <a:pt x="4136" y="1596"/>
                      <a:pt x="4060" y="1464"/>
                    </a:cubicBezTo>
                    <a:lnTo>
                      <a:pt x="4271" y="1255"/>
                    </a:lnTo>
                    <a:cubicBezTo>
                      <a:pt x="4376" y="1151"/>
                      <a:pt x="4376" y="981"/>
                      <a:pt x="4271" y="876"/>
                    </a:cubicBezTo>
                    <a:lnTo>
                      <a:pt x="3922" y="527"/>
                    </a:lnTo>
                    <a:cubicBezTo>
                      <a:pt x="3817" y="422"/>
                      <a:pt x="3647" y="422"/>
                      <a:pt x="3543" y="527"/>
                    </a:cubicBezTo>
                    <a:lnTo>
                      <a:pt x="3329" y="741"/>
                    </a:lnTo>
                    <a:cubicBezTo>
                      <a:pt x="3198" y="667"/>
                      <a:pt x="3059" y="610"/>
                      <a:pt x="2915" y="570"/>
                    </a:cubicBezTo>
                    <a:lnTo>
                      <a:pt x="2915" y="267"/>
                    </a:lnTo>
                    <a:cubicBezTo>
                      <a:pt x="2915" y="119"/>
                      <a:pt x="2794" y="0"/>
                      <a:pt x="2646" y="0"/>
                    </a:cubicBezTo>
                    <a:lnTo>
                      <a:pt x="2153" y="0"/>
                    </a:lnTo>
                    <a:cubicBezTo>
                      <a:pt x="2005" y="0"/>
                      <a:pt x="1884" y="119"/>
                      <a:pt x="1884" y="267"/>
                    </a:cubicBezTo>
                    <a:lnTo>
                      <a:pt x="1884" y="568"/>
                    </a:lnTo>
                    <a:cubicBezTo>
                      <a:pt x="1739" y="608"/>
                      <a:pt x="1600" y="665"/>
                      <a:pt x="1468" y="738"/>
                    </a:cubicBezTo>
                    <a:lnTo>
                      <a:pt x="1256" y="527"/>
                    </a:lnTo>
                    <a:cubicBezTo>
                      <a:pt x="1152" y="422"/>
                      <a:pt x="982" y="422"/>
                      <a:pt x="877" y="527"/>
                    </a:cubicBezTo>
                    <a:lnTo>
                      <a:pt x="528" y="876"/>
                    </a:lnTo>
                    <a:cubicBezTo>
                      <a:pt x="423" y="981"/>
                      <a:pt x="423" y="1151"/>
                      <a:pt x="528" y="1255"/>
                    </a:cubicBezTo>
                    <a:lnTo>
                      <a:pt x="734" y="1461"/>
                    </a:lnTo>
                    <a:cubicBezTo>
                      <a:pt x="657" y="1595"/>
                      <a:pt x="597" y="1738"/>
                      <a:pt x="555" y="1883"/>
                    </a:cubicBezTo>
                    <a:lnTo>
                      <a:pt x="268" y="1883"/>
                    </a:lnTo>
                    <a:cubicBezTo>
                      <a:pt x="120" y="1883"/>
                      <a:pt x="0" y="2004"/>
                      <a:pt x="0" y="2152"/>
                    </a:cubicBezTo>
                    <a:lnTo>
                      <a:pt x="0" y="2645"/>
                    </a:lnTo>
                    <a:cubicBezTo>
                      <a:pt x="0" y="2793"/>
                      <a:pt x="120" y="2914"/>
                      <a:pt x="268" y="2914"/>
                    </a:cubicBezTo>
                    <a:lnTo>
                      <a:pt x="545" y="2914"/>
                    </a:lnTo>
                    <a:cubicBezTo>
                      <a:pt x="586" y="3065"/>
                      <a:pt x="645" y="3210"/>
                      <a:pt x="722" y="3348"/>
                    </a:cubicBezTo>
                    <a:lnTo>
                      <a:pt x="528" y="3542"/>
                    </a:lnTo>
                    <a:cubicBezTo>
                      <a:pt x="423" y="3646"/>
                      <a:pt x="423" y="3816"/>
                      <a:pt x="528" y="3921"/>
                    </a:cubicBezTo>
                    <a:lnTo>
                      <a:pt x="877" y="4270"/>
                    </a:lnTo>
                    <a:cubicBezTo>
                      <a:pt x="982" y="4375"/>
                      <a:pt x="1152" y="4375"/>
                      <a:pt x="1256" y="4270"/>
                    </a:cubicBezTo>
                    <a:lnTo>
                      <a:pt x="1446" y="4080"/>
                    </a:lnTo>
                    <a:cubicBezTo>
                      <a:pt x="1583" y="4159"/>
                      <a:pt x="1729" y="4220"/>
                      <a:pt x="1884" y="4263"/>
                    </a:cubicBezTo>
                    <a:lnTo>
                      <a:pt x="1884" y="4530"/>
                    </a:lnTo>
                    <a:cubicBezTo>
                      <a:pt x="1884" y="4678"/>
                      <a:pt x="2005" y="4799"/>
                      <a:pt x="2153" y="4799"/>
                    </a:cubicBezTo>
                    <a:lnTo>
                      <a:pt x="2646" y="4799"/>
                    </a:lnTo>
                    <a:cubicBezTo>
                      <a:pt x="2794" y="4799"/>
                      <a:pt x="2915" y="4678"/>
                      <a:pt x="2915" y="4530"/>
                    </a:cubicBezTo>
                    <a:lnTo>
                      <a:pt x="2915" y="4261"/>
                    </a:lnTo>
                    <a:cubicBezTo>
                      <a:pt x="3067" y="4218"/>
                      <a:pt x="3213" y="4157"/>
                      <a:pt x="3351" y="4078"/>
                    </a:cubicBezTo>
                    <a:lnTo>
                      <a:pt x="3543" y="4270"/>
                    </a:lnTo>
                    <a:cubicBezTo>
                      <a:pt x="3647" y="4375"/>
                      <a:pt x="3817" y="4375"/>
                      <a:pt x="3922" y="4270"/>
                    </a:cubicBezTo>
                    <a:lnTo>
                      <a:pt x="4271" y="3921"/>
                    </a:lnTo>
                    <a:cubicBezTo>
                      <a:pt x="4376" y="3816"/>
                      <a:pt x="4376" y="3646"/>
                      <a:pt x="4271" y="3541"/>
                    </a:cubicBezTo>
                    <a:lnTo>
                      <a:pt x="4073" y="3345"/>
                    </a:lnTo>
                    <a:cubicBezTo>
                      <a:pt x="4149" y="3209"/>
                      <a:pt x="4207" y="3064"/>
                      <a:pt x="4248" y="2914"/>
                    </a:cubicBezTo>
                    <a:lnTo>
                      <a:pt x="4531" y="2914"/>
                    </a:lnTo>
                    <a:cubicBezTo>
                      <a:pt x="4679" y="2914"/>
                      <a:pt x="4799" y="2793"/>
                      <a:pt x="4799" y="2645"/>
                    </a:cubicBezTo>
                    <a:lnTo>
                      <a:pt x="4799" y="2152"/>
                    </a:lnTo>
                    <a:cubicBezTo>
                      <a:pt x="4799" y="2004"/>
                      <a:pt x="4679" y="1883"/>
                      <a:pt x="4531" y="1883"/>
                    </a:cubicBezTo>
                    <a:lnTo>
                      <a:pt x="4531" y="1883"/>
                    </a:lnTo>
                    <a:close/>
                    <a:moveTo>
                      <a:pt x="2400" y="3479"/>
                    </a:moveTo>
                    <a:lnTo>
                      <a:pt x="2400" y="3479"/>
                    </a:lnTo>
                    <a:cubicBezTo>
                      <a:pt x="1819" y="3479"/>
                      <a:pt x="1347" y="3007"/>
                      <a:pt x="1347" y="2426"/>
                    </a:cubicBezTo>
                    <a:cubicBezTo>
                      <a:pt x="1347" y="1846"/>
                      <a:pt x="1819" y="1374"/>
                      <a:pt x="2400" y="1374"/>
                    </a:cubicBezTo>
                    <a:cubicBezTo>
                      <a:pt x="2980" y="1374"/>
                      <a:pt x="3452" y="1846"/>
                      <a:pt x="3452" y="2426"/>
                    </a:cubicBezTo>
                    <a:cubicBezTo>
                      <a:pt x="3452" y="3007"/>
                      <a:pt x="2980" y="3479"/>
                      <a:pt x="2400" y="3479"/>
                    </a:cubicBezTo>
                    <a:lnTo>
                      <a:pt x="2400" y="3479"/>
                    </a:lnTo>
                    <a:close/>
                    <a:moveTo>
                      <a:pt x="2400" y="1239"/>
                    </a:moveTo>
                    <a:lnTo>
                      <a:pt x="2400" y="1239"/>
                    </a:lnTo>
                    <a:cubicBezTo>
                      <a:pt x="1745" y="1239"/>
                      <a:pt x="1212" y="1771"/>
                      <a:pt x="1212" y="2426"/>
                    </a:cubicBezTo>
                    <a:cubicBezTo>
                      <a:pt x="1212" y="3081"/>
                      <a:pt x="1745" y="3614"/>
                      <a:pt x="2400" y="3614"/>
                    </a:cubicBezTo>
                    <a:cubicBezTo>
                      <a:pt x="3054" y="3614"/>
                      <a:pt x="3587" y="3081"/>
                      <a:pt x="3587" y="2426"/>
                    </a:cubicBezTo>
                    <a:cubicBezTo>
                      <a:pt x="3587" y="1771"/>
                      <a:pt x="3054" y="1239"/>
                      <a:pt x="2400" y="1239"/>
                    </a:cubicBezTo>
                    <a:close/>
                  </a:path>
                </a:pathLst>
              </a:custGeom>
              <a:solidFill>
                <a:srgbClr val="5ADFD8"/>
              </a:solidFill>
              <a:ln w="0">
                <a:solidFill>
                  <a:srgbClr val="5ADFD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ADFD8"/>
                  </a:solidFill>
                  <a:effectLst/>
                  <a:uLnTx/>
                  <a:uFillTx/>
                  <a:latin typeface="Calibri" panose="020F0502020204030204"/>
                  <a:ea typeface="+mn-ea"/>
                  <a:cs typeface="+mn-cs"/>
                </a:endParaRPr>
              </a:p>
            </p:txBody>
          </p:sp>
        </p:grpSp>
      </p:grpSp>
      <p:grpSp>
        <p:nvGrpSpPr>
          <p:cNvPr id="22" name="Group 16">
            <a:extLst>
              <a:ext uri="{FF2B5EF4-FFF2-40B4-BE49-F238E27FC236}">
                <a16:creationId xmlns:a16="http://schemas.microsoft.com/office/drawing/2014/main" id="{6D8F1C52-AC46-4009-5CBE-55190D0D41C0}"/>
              </a:ext>
            </a:extLst>
          </p:cNvPr>
          <p:cNvGrpSpPr/>
          <p:nvPr>
            <p:custDataLst>
              <p:tags r:id="rId5"/>
            </p:custDataLst>
          </p:nvPr>
        </p:nvGrpSpPr>
        <p:grpSpPr>
          <a:xfrm>
            <a:off x="5546463" y="3170503"/>
            <a:ext cx="1855663" cy="287624"/>
            <a:chOff x="5546462" y="3170501"/>
            <a:chExt cx="1855663" cy="287624"/>
          </a:xfrm>
        </p:grpSpPr>
        <p:sp>
          <p:nvSpPr>
            <p:cNvPr id="23" name="TextBox 199">
              <a:extLst>
                <a:ext uri="{FF2B5EF4-FFF2-40B4-BE49-F238E27FC236}">
                  <a16:creationId xmlns:a16="http://schemas.microsoft.com/office/drawing/2014/main" id="{52005FA2-D032-A5A5-C6E1-8CB9691DD8CE}"/>
                </a:ext>
              </a:extLst>
            </p:cNvPr>
            <p:cNvSpPr txBox="1"/>
            <p:nvPr/>
          </p:nvSpPr>
          <p:spPr>
            <a:xfrm>
              <a:off x="5872387" y="3187355"/>
              <a:ext cx="1529738" cy="253916"/>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549FD5"/>
                  </a:solidFill>
                  <a:effectLst/>
                  <a:uLnTx/>
                  <a:uFillTx/>
                  <a:latin typeface="Calibri Light" panose="020F0302020204030204"/>
                  <a:ea typeface="+mn-ea"/>
                  <a:cs typeface="+mn-cs"/>
                </a:rPr>
                <a:t>Valider les performances</a:t>
              </a:r>
            </a:p>
          </p:txBody>
        </p:sp>
        <p:grpSp>
          <p:nvGrpSpPr>
            <p:cNvPr id="25" name="Group 217">
              <a:extLst>
                <a:ext uri="{FF2B5EF4-FFF2-40B4-BE49-F238E27FC236}">
                  <a16:creationId xmlns:a16="http://schemas.microsoft.com/office/drawing/2014/main" id="{4B14BB8D-9DD3-50AB-599E-388F2C4ED757}"/>
                </a:ext>
              </a:extLst>
            </p:cNvPr>
            <p:cNvGrpSpPr/>
            <p:nvPr/>
          </p:nvGrpSpPr>
          <p:grpSpPr>
            <a:xfrm>
              <a:off x="5546462" y="3170501"/>
              <a:ext cx="287624" cy="287624"/>
              <a:chOff x="7295316" y="2624297"/>
              <a:chExt cx="382827" cy="382828"/>
            </a:xfrm>
          </p:grpSpPr>
          <p:sp>
            <p:nvSpPr>
              <p:cNvPr id="26" name="Oval 195">
                <a:extLst>
                  <a:ext uri="{FF2B5EF4-FFF2-40B4-BE49-F238E27FC236}">
                    <a16:creationId xmlns:a16="http://schemas.microsoft.com/office/drawing/2014/main" id="{DD7F9570-595F-F51F-E78E-118AF289A6B4}"/>
                  </a:ext>
                </a:extLst>
              </p:cNvPr>
              <p:cNvSpPr/>
              <p:nvPr/>
            </p:nvSpPr>
            <p:spPr>
              <a:xfrm>
                <a:off x="7295316" y="2624297"/>
                <a:ext cx="382827" cy="382828"/>
              </a:xfrm>
              <a:prstGeom prst="ellipse">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49FD5"/>
                  </a:solidFill>
                  <a:effectLst/>
                  <a:uLnTx/>
                  <a:uFillTx/>
                  <a:latin typeface="Calibri" panose="020F0502020204030204"/>
                  <a:ea typeface="+mn-ea"/>
                  <a:cs typeface="+mn-cs"/>
                </a:endParaRPr>
              </a:p>
            </p:txBody>
          </p:sp>
          <p:sp>
            <p:nvSpPr>
              <p:cNvPr id="29" name="Freeform 9">
                <a:extLst>
                  <a:ext uri="{FF2B5EF4-FFF2-40B4-BE49-F238E27FC236}">
                    <a16:creationId xmlns:a16="http://schemas.microsoft.com/office/drawing/2014/main" id="{C4285658-6132-F4B2-AA0A-56511CBD7765}"/>
                  </a:ext>
                </a:extLst>
              </p:cNvPr>
              <p:cNvSpPr>
                <a:spLocks noChangeAspect="1" noEditPoints="1"/>
              </p:cNvSpPr>
              <p:nvPr/>
            </p:nvSpPr>
            <p:spPr bwMode="auto">
              <a:xfrm flipH="1">
                <a:off x="7387436" y="2691079"/>
                <a:ext cx="193424" cy="249264"/>
              </a:xfrm>
              <a:custGeom>
                <a:avLst/>
                <a:gdLst>
                  <a:gd name="T0" fmla="*/ 3295 w 3723"/>
                  <a:gd name="T1" fmla="*/ 4038 h 4799"/>
                  <a:gd name="T2" fmla="*/ 1937 w 3723"/>
                  <a:gd name="T3" fmla="*/ 3909 h 4799"/>
                  <a:gd name="T4" fmla="*/ 3360 w 3723"/>
                  <a:gd name="T5" fmla="*/ 3973 h 4799"/>
                  <a:gd name="T6" fmla="*/ 3295 w 3723"/>
                  <a:gd name="T7" fmla="*/ 3625 h 4799"/>
                  <a:gd name="T8" fmla="*/ 1937 w 3723"/>
                  <a:gd name="T9" fmla="*/ 3496 h 4799"/>
                  <a:gd name="T10" fmla="*/ 3360 w 3723"/>
                  <a:gd name="T11" fmla="*/ 3561 h 4799"/>
                  <a:gd name="T12" fmla="*/ 3295 w 3723"/>
                  <a:gd name="T13" fmla="*/ 3218 h 4799"/>
                  <a:gd name="T14" fmla="*/ 1937 w 3723"/>
                  <a:gd name="T15" fmla="*/ 3088 h 4799"/>
                  <a:gd name="T16" fmla="*/ 3360 w 3723"/>
                  <a:gd name="T17" fmla="*/ 3153 h 4799"/>
                  <a:gd name="T18" fmla="*/ 3295 w 3723"/>
                  <a:gd name="T19" fmla="*/ 2803 h 4799"/>
                  <a:gd name="T20" fmla="*/ 1937 w 3723"/>
                  <a:gd name="T21" fmla="*/ 2674 h 4799"/>
                  <a:gd name="T22" fmla="*/ 3360 w 3723"/>
                  <a:gd name="T23" fmla="*/ 2739 h 4799"/>
                  <a:gd name="T24" fmla="*/ 3295 w 3723"/>
                  <a:gd name="T25" fmla="*/ 2396 h 4799"/>
                  <a:gd name="T26" fmla="*/ 1937 w 3723"/>
                  <a:gd name="T27" fmla="*/ 2267 h 4799"/>
                  <a:gd name="T28" fmla="*/ 3360 w 3723"/>
                  <a:gd name="T29" fmla="*/ 2331 h 4799"/>
                  <a:gd name="T30" fmla="*/ 3295 w 3723"/>
                  <a:gd name="T31" fmla="*/ 1983 h 4799"/>
                  <a:gd name="T32" fmla="*/ 1937 w 3723"/>
                  <a:gd name="T33" fmla="*/ 1854 h 4799"/>
                  <a:gd name="T34" fmla="*/ 3360 w 3723"/>
                  <a:gd name="T35" fmla="*/ 1919 h 4799"/>
                  <a:gd name="T36" fmla="*/ 3295 w 3723"/>
                  <a:gd name="T37" fmla="*/ 1576 h 4799"/>
                  <a:gd name="T38" fmla="*/ 1937 w 3723"/>
                  <a:gd name="T39" fmla="*/ 1447 h 4799"/>
                  <a:gd name="T40" fmla="*/ 3360 w 3723"/>
                  <a:gd name="T41" fmla="*/ 1511 h 4799"/>
                  <a:gd name="T42" fmla="*/ 1465 w 3723"/>
                  <a:gd name="T43" fmla="*/ 3927 h 4799"/>
                  <a:gd name="T44" fmla="*/ 505 w 3723"/>
                  <a:gd name="T45" fmla="*/ 1631 h 4799"/>
                  <a:gd name="T46" fmla="*/ 1522 w 3723"/>
                  <a:gd name="T47" fmla="*/ 1631 h 4799"/>
                  <a:gd name="T48" fmla="*/ 1465 w 3723"/>
                  <a:gd name="T49" fmla="*/ 1445 h 4799"/>
                  <a:gd name="T50" fmla="*/ 376 w 3723"/>
                  <a:gd name="T51" fmla="*/ 1631 h 4799"/>
                  <a:gd name="T52" fmla="*/ 1465 w 3723"/>
                  <a:gd name="T53" fmla="*/ 4056 h 4799"/>
                  <a:gd name="T54" fmla="*/ 1465 w 3723"/>
                  <a:gd name="T55" fmla="*/ 1445 h 4799"/>
                  <a:gd name="T56" fmla="*/ 485 w 3723"/>
                  <a:gd name="T57" fmla="*/ 532 h 4799"/>
                  <a:gd name="T58" fmla="*/ 3229 w 3723"/>
                  <a:gd name="T59" fmla="*/ 532 h 4799"/>
                  <a:gd name="T60" fmla="*/ 542 w 3723"/>
                  <a:gd name="T61" fmla="*/ 878 h 4799"/>
                  <a:gd name="T62" fmla="*/ 485 w 3723"/>
                  <a:gd name="T63" fmla="*/ 532 h 4799"/>
                  <a:gd name="T64" fmla="*/ 3172 w 3723"/>
                  <a:gd name="T65" fmla="*/ 1007 h 4799"/>
                  <a:gd name="T66" fmla="*/ 3172 w 3723"/>
                  <a:gd name="T67" fmla="*/ 346 h 4799"/>
                  <a:gd name="T68" fmla="*/ 356 w 3723"/>
                  <a:gd name="T69" fmla="*/ 820 h 4799"/>
                  <a:gd name="T70" fmla="*/ 3594 w 3723"/>
                  <a:gd name="T71" fmla="*/ 4490 h 4799"/>
                  <a:gd name="T72" fmla="*/ 308 w 3723"/>
                  <a:gd name="T73" fmla="*/ 4669 h 4799"/>
                  <a:gd name="T74" fmla="*/ 308 w 3723"/>
                  <a:gd name="T75" fmla="*/ 128 h 4799"/>
                  <a:gd name="T76" fmla="*/ 3594 w 3723"/>
                  <a:gd name="T77" fmla="*/ 4490 h 4799"/>
                  <a:gd name="T78" fmla="*/ 3415 w 3723"/>
                  <a:gd name="T79" fmla="*/ 0 h 4799"/>
                  <a:gd name="T80" fmla="*/ 0 w 3723"/>
                  <a:gd name="T81" fmla="*/ 4490 h 4799"/>
                  <a:gd name="T82" fmla="*/ 3723 w 3723"/>
                  <a:gd name="T83" fmla="*/ 4490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23" h="4799">
                    <a:moveTo>
                      <a:pt x="3360" y="3973"/>
                    </a:moveTo>
                    <a:lnTo>
                      <a:pt x="3360" y="3973"/>
                    </a:lnTo>
                    <a:cubicBezTo>
                      <a:pt x="3360" y="4009"/>
                      <a:pt x="3331" y="4038"/>
                      <a:pt x="3295" y="4038"/>
                    </a:cubicBezTo>
                    <a:lnTo>
                      <a:pt x="1937" y="4038"/>
                    </a:lnTo>
                    <a:cubicBezTo>
                      <a:pt x="1901" y="4038"/>
                      <a:pt x="1872" y="4009"/>
                      <a:pt x="1872" y="3973"/>
                    </a:cubicBezTo>
                    <a:cubicBezTo>
                      <a:pt x="1872" y="3937"/>
                      <a:pt x="1901" y="3909"/>
                      <a:pt x="1937" y="3909"/>
                    </a:cubicBezTo>
                    <a:lnTo>
                      <a:pt x="3295" y="3909"/>
                    </a:lnTo>
                    <a:cubicBezTo>
                      <a:pt x="3331" y="3909"/>
                      <a:pt x="3360" y="3937"/>
                      <a:pt x="3360" y="3973"/>
                    </a:cubicBezTo>
                    <a:lnTo>
                      <a:pt x="3360" y="3973"/>
                    </a:lnTo>
                    <a:close/>
                    <a:moveTo>
                      <a:pt x="3360" y="3561"/>
                    </a:moveTo>
                    <a:lnTo>
                      <a:pt x="3360" y="3561"/>
                    </a:lnTo>
                    <a:cubicBezTo>
                      <a:pt x="3360" y="3596"/>
                      <a:pt x="3331" y="3625"/>
                      <a:pt x="3295" y="3625"/>
                    </a:cubicBezTo>
                    <a:lnTo>
                      <a:pt x="1937" y="3625"/>
                    </a:lnTo>
                    <a:cubicBezTo>
                      <a:pt x="1901" y="3625"/>
                      <a:pt x="1872" y="3596"/>
                      <a:pt x="1872" y="3561"/>
                    </a:cubicBezTo>
                    <a:cubicBezTo>
                      <a:pt x="1872" y="3525"/>
                      <a:pt x="1901" y="3496"/>
                      <a:pt x="1937" y="3496"/>
                    </a:cubicBezTo>
                    <a:lnTo>
                      <a:pt x="3295" y="3496"/>
                    </a:lnTo>
                    <a:cubicBezTo>
                      <a:pt x="3331" y="3496"/>
                      <a:pt x="3360" y="3525"/>
                      <a:pt x="3360" y="3561"/>
                    </a:cubicBezTo>
                    <a:lnTo>
                      <a:pt x="3360" y="3561"/>
                    </a:lnTo>
                    <a:close/>
                    <a:moveTo>
                      <a:pt x="3360" y="3153"/>
                    </a:moveTo>
                    <a:lnTo>
                      <a:pt x="3360" y="3153"/>
                    </a:lnTo>
                    <a:cubicBezTo>
                      <a:pt x="3360" y="3189"/>
                      <a:pt x="3331" y="3218"/>
                      <a:pt x="3295" y="3218"/>
                    </a:cubicBezTo>
                    <a:lnTo>
                      <a:pt x="1937" y="3218"/>
                    </a:lnTo>
                    <a:cubicBezTo>
                      <a:pt x="1901" y="3218"/>
                      <a:pt x="1872" y="3189"/>
                      <a:pt x="1872" y="3153"/>
                    </a:cubicBezTo>
                    <a:cubicBezTo>
                      <a:pt x="1872" y="3117"/>
                      <a:pt x="1901" y="3088"/>
                      <a:pt x="1937" y="3088"/>
                    </a:cubicBezTo>
                    <a:lnTo>
                      <a:pt x="3295" y="3088"/>
                    </a:lnTo>
                    <a:cubicBezTo>
                      <a:pt x="3331" y="3088"/>
                      <a:pt x="3360" y="3117"/>
                      <a:pt x="3360" y="3153"/>
                    </a:cubicBezTo>
                    <a:lnTo>
                      <a:pt x="3360" y="3153"/>
                    </a:lnTo>
                    <a:close/>
                    <a:moveTo>
                      <a:pt x="3360" y="2739"/>
                    </a:moveTo>
                    <a:lnTo>
                      <a:pt x="3360" y="2739"/>
                    </a:lnTo>
                    <a:cubicBezTo>
                      <a:pt x="3360" y="2774"/>
                      <a:pt x="3331" y="2803"/>
                      <a:pt x="3295" y="2803"/>
                    </a:cubicBezTo>
                    <a:lnTo>
                      <a:pt x="1937" y="2803"/>
                    </a:lnTo>
                    <a:cubicBezTo>
                      <a:pt x="1901" y="2803"/>
                      <a:pt x="1872" y="2774"/>
                      <a:pt x="1872" y="2739"/>
                    </a:cubicBezTo>
                    <a:cubicBezTo>
                      <a:pt x="1872" y="2703"/>
                      <a:pt x="1901" y="2674"/>
                      <a:pt x="1937" y="2674"/>
                    </a:cubicBezTo>
                    <a:lnTo>
                      <a:pt x="3295" y="2674"/>
                    </a:lnTo>
                    <a:cubicBezTo>
                      <a:pt x="3331" y="2674"/>
                      <a:pt x="3360" y="2703"/>
                      <a:pt x="3360" y="2739"/>
                    </a:cubicBezTo>
                    <a:lnTo>
                      <a:pt x="3360" y="2739"/>
                    </a:lnTo>
                    <a:close/>
                    <a:moveTo>
                      <a:pt x="3360" y="2331"/>
                    </a:moveTo>
                    <a:lnTo>
                      <a:pt x="3360" y="2331"/>
                    </a:lnTo>
                    <a:cubicBezTo>
                      <a:pt x="3360" y="2367"/>
                      <a:pt x="3331" y="2396"/>
                      <a:pt x="3295" y="2396"/>
                    </a:cubicBezTo>
                    <a:lnTo>
                      <a:pt x="1937" y="2396"/>
                    </a:lnTo>
                    <a:cubicBezTo>
                      <a:pt x="1901" y="2396"/>
                      <a:pt x="1872" y="2367"/>
                      <a:pt x="1872" y="2331"/>
                    </a:cubicBezTo>
                    <a:cubicBezTo>
                      <a:pt x="1872" y="2295"/>
                      <a:pt x="1901" y="2267"/>
                      <a:pt x="1937" y="2267"/>
                    </a:cubicBezTo>
                    <a:lnTo>
                      <a:pt x="3295" y="2267"/>
                    </a:lnTo>
                    <a:cubicBezTo>
                      <a:pt x="3331" y="2267"/>
                      <a:pt x="3360" y="2295"/>
                      <a:pt x="3360" y="2331"/>
                    </a:cubicBezTo>
                    <a:lnTo>
                      <a:pt x="3360" y="2331"/>
                    </a:lnTo>
                    <a:close/>
                    <a:moveTo>
                      <a:pt x="3360" y="1919"/>
                    </a:moveTo>
                    <a:lnTo>
                      <a:pt x="3360" y="1919"/>
                    </a:lnTo>
                    <a:cubicBezTo>
                      <a:pt x="3360" y="1954"/>
                      <a:pt x="3331" y="1983"/>
                      <a:pt x="3295" y="1983"/>
                    </a:cubicBezTo>
                    <a:lnTo>
                      <a:pt x="1937" y="1983"/>
                    </a:lnTo>
                    <a:cubicBezTo>
                      <a:pt x="1901" y="1983"/>
                      <a:pt x="1872" y="1954"/>
                      <a:pt x="1872" y="1919"/>
                    </a:cubicBezTo>
                    <a:cubicBezTo>
                      <a:pt x="1872" y="1883"/>
                      <a:pt x="1901" y="1854"/>
                      <a:pt x="1937" y="1854"/>
                    </a:cubicBezTo>
                    <a:lnTo>
                      <a:pt x="3295" y="1854"/>
                    </a:lnTo>
                    <a:cubicBezTo>
                      <a:pt x="3331" y="1854"/>
                      <a:pt x="3360" y="1883"/>
                      <a:pt x="3360" y="1919"/>
                    </a:cubicBezTo>
                    <a:lnTo>
                      <a:pt x="3360" y="1919"/>
                    </a:lnTo>
                    <a:close/>
                    <a:moveTo>
                      <a:pt x="3360" y="1511"/>
                    </a:moveTo>
                    <a:lnTo>
                      <a:pt x="3360" y="1511"/>
                    </a:lnTo>
                    <a:cubicBezTo>
                      <a:pt x="3360" y="1547"/>
                      <a:pt x="3331" y="1576"/>
                      <a:pt x="3295" y="1576"/>
                    </a:cubicBezTo>
                    <a:lnTo>
                      <a:pt x="1937" y="1576"/>
                    </a:lnTo>
                    <a:cubicBezTo>
                      <a:pt x="1901" y="1576"/>
                      <a:pt x="1872" y="1547"/>
                      <a:pt x="1872" y="1511"/>
                    </a:cubicBezTo>
                    <a:cubicBezTo>
                      <a:pt x="1872" y="1475"/>
                      <a:pt x="1901" y="1447"/>
                      <a:pt x="1937" y="1447"/>
                    </a:cubicBezTo>
                    <a:lnTo>
                      <a:pt x="3295" y="1447"/>
                    </a:lnTo>
                    <a:cubicBezTo>
                      <a:pt x="3331" y="1447"/>
                      <a:pt x="3360" y="1475"/>
                      <a:pt x="3360" y="1511"/>
                    </a:cubicBezTo>
                    <a:lnTo>
                      <a:pt x="3360" y="1511"/>
                    </a:lnTo>
                    <a:close/>
                    <a:moveTo>
                      <a:pt x="1522" y="3870"/>
                    </a:moveTo>
                    <a:lnTo>
                      <a:pt x="1522" y="3870"/>
                    </a:lnTo>
                    <a:cubicBezTo>
                      <a:pt x="1522" y="3901"/>
                      <a:pt x="1496" y="3927"/>
                      <a:pt x="1465" y="3927"/>
                    </a:cubicBezTo>
                    <a:lnTo>
                      <a:pt x="563" y="3927"/>
                    </a:lnTo>
                    <a:cubicBezTo>
                      <a:pt x="531" y="3927"/>
                      <a:pt x="505" y="3901"/>
                      <a:pt x="505" y="3870"/>
                    </a:cubicBezTo>
                    <a:lnTo>
                      <a:pt x="505" y="1631"/>
                    </a:lnTo>
                    <a:cubicBezTo>
                      <a:pt x="505" y="1599"/>
                      <a:pt x="531" y="1574"/>
                      <a:pt x="563" y="1574"/>
                    </a:cubicBezTo>
                    <a:lnTo>
                      <a:pt x="1465" y="1574"/>
                    </a:lnTo>
                    <a:cubicBezTo>
                      <a:pt x="1496" y="1574"/>
                      <a:pt x="1522" y="1599"/>
                      <a:pt x="1522" y="1631"/>
                    </a:cubicBezTo>
                    <a:lnTo>
                      <a:pt x="1522" y="3870"/>
                    </a:lnTo>
                    <a:lnTo>
                      <a:pt x="1522" y="3870"/>
                    </a:lnTo>
                    <a:close/>
                    <a:moveTo>
                      <a:pt x="1465" y="1445"/>
                    </a:moveTo>
                    <a:lnTo>
                      <a:pt x="1465" y="1445"/>
                    </a:lnTo>
                    <a:lnTo>
                      <a:pt x="563" y="1445"/>
                    </a:lnTo>
                    <a:cubicBezTo>
                      <a:pt x="460" y="1445"/>
                      <a:pt x="376" y="1528"/>
                      <a:pt x="376" y="1631"/>
                    </a:cubicBezTo>
                    <a:lnTo>
                      <a:pt x="376" y="3870"/>
                    </a:lnTo>
                    <a:cubicBezTo>
                      <a:pt x="376" y="3972"/>
                      <a:pt x="460" y="4056"/>
                      <a:pt x="563" y="4056"/>
                    </a:cubicBezTo>
                    <a:lnTo>
                      <a:pt x="1465" y="4056"/>
                    </a:lnTo>
                    <a:cubicBezTo>
                      <a:pt x="1567" y="4056"/>
                      <a:pt x="1651" y="3972"/>
                      <a:pt x="1651" y="3870"/>
                    </a:cubicBezTo>
                    <a:lnTo>
                      <a:pt x="1651" y="1631"/>
                    </a:lnTo>
                    <a:cubicBezTo>
                      <a:pt x="1651" y="1528"/>
                      <a:pt x="1567" y="1445"/>
                      <a:pt x="1465" y="1445"/>
                    </a:cubicBezTo>
                    <a:lnTo>
                      <a:pt x="1465" y="1445"/>
                    </a:lnTo>
                    <a:close/>
                    <a:moveTo>
                      <a:pt x="485" y="532"/>
                    </a:moveTo>
                    <a:lnTo>
                      <a:pt x="485" y="532"/>
                    </a:lnTo>
                    <a:cubicBezTo>
                      <a:pt x="485" y="501"/>
                      <a:pt x="511" y="475"/>
                      <a:pt x="542" y="475"/>
                    </a:cubicBezTo>
                    <a:lnTo>
                      <a:pt x="3172" y="475"/>
                    </a:lnTo>
                    <a:cubicBezTo>
                      <a:pt x="3203" y="475"/>
                      <a:pt x="3229" y="501"/>
                      <a:pt x="3229" y="532"/>
                    </a:cubicBezTo>
                    <a:lnTo>
                      <a:pt x="3229" y="820"/>
                    </a:lnTo>
                    <a:cubicBezTo>
                      <a:pt x="3229" y="852"/>
                      <a:pt x="3203" y="878"/>
                      <a:pt x="3172" y="878"/>
                    </a:cubicBezTo>
                    <a:lnTo>
                      <a:pt x="542" y="878"/>
                    </a:lnTo>
                    <a:cubicBezTo>
                      <a:pt x="511" y="878"/>
                      <a:pt x="485" y="852"/>
                      <a:pt x="485" y="820"/>
                    </a:cubicBezTo>
                    <a:lnTo>
                      <a:pt x="485" y="532"/>
                    </a:lnTo>
                    <a:lnTo>
                      <a:pt x="485" y="532"/>
                    </a:lnTo>
                    <a:close/>
                    <a:moveTo>
                      <a:pt x="542" y="1007"/>
                    </a:moveTo>
                    <a:lnTo>
                      <a:pt x="542" y="1007"/>
                    </a:lnTo>
                    <a:lnTo>
                      <a:pt x="3172" y="1007"/>
                    </a:lnTo>
                    <a:cubicBezTo>
                      <a:pt x="3274" y="1007"/>
                      <a:pt x="3358" y="923"/>
                      <a:pt x="3358" y="820"/>
                    </a:cubicBezTo>
                    <a:lnTo>
                      <a:pt x="3358" y="532"/>
                    </a:lnTo>
                    <a:cubicBezTo>
                      <a:pt x="3358" y="430"/>
                      <a:pt x="3274" y="346"/>
                      <a:pt x="3172" y="346"/>
                    </a:cubicBezTo>
                    <a:lnTo>
                      <a:pt x="542" y="346"/>
                    </a:lnTo>
                    <a:cubicBezTo>
                      <a:pt x="439" y="346"/>
                      <a:pt x="356" y="430"/>
                      <a:pt x="356" y="532"/>
                    </a:cubicBezTo>
                    <a:lnTo>
                      <a:pt x="356" y="820"/>
                    </a:lnTo>
                    <a:cubicBezTo>
                      <a:pt x="356" y="923"/>
                      <a:pt x="439" y="1007"/>
                      <a:pt x="542" y="1007"/>
                    </a:cubicBezTo>
                    <a:lnTo>
                      <a:pt x="542" y="1007"/>
                    </a:lnTo>
                    <a:close/>
                    <a:moveTo>
                      <a:pt x="3594" y="4490"/>
                    </a:moveTo>
                    <a:lnTo>
                      <a:pt x="3594" y="4490"/>
                    </a:lnTo>
                    <a:cubicBezTo>
                      <a:pt x="3594" y="4589"/>
                      <a:pt x="3514" y="4669"/>
                      <a:pt x="3415" y="4669"/>
                    </a:cubicBezTo>
                    <a:lnTo>
                      <a:pt x="308" y="4669"/>
                    </a:lnTo>
                    <a:cubicBezTo>
                      <a:pt x="209" y="4669"/>
                      <a:pt x="129" y="4589"/>
                      <a:pt x="129" y="4490"/>
                    </a:cubicBezTo>
                    <a:lnTo>
                      <a:pt x="129" y="307"/>
                    </a:lnTo>
                    <a:cubicBezTo>
                      <a:pt x="129" y="208"/>
                      <a:pt x="209" y="128"/>
                      <a:pt x="308" y="128"/>
                    </a:cubicBezTo>
                    <a:lnTo>
                      <a:pt x="3415" y="128"/>
                    </a:lnTo>
                    <a:cubicBezTo>
                      <a:pt x="3514" y="128"/>
                      <a:pt x="3594" y="208"/>
                      <a:pt x="3594" y="307"/>
                    </a:cubicBezTo>
                    <a:lnTo>
                      <a:pt x="3594" y="4490"/>
                    </a:lnTo>
                    <a:lnTo>
                      <a:pt x="3594" y="4490"/>
                    </a:lnTo>
                    <a:close/>
                    <a:moveTo>
                      <a:pt x="3415" y="0"/>
                    </a:moveTo>
                    <a:lnTo>
                      <a:pt x="3415" y="0"/>
                    </a:lnTo>
                    <a:lnTo>
                      <a:pt x="308" y="0"/>
                    </a:lnTo>
                    <a:cubicBezTo>
                      <a:pt x="138" y="0"/>
                      <a:pt x="0" y="137"/>
                      <a:pt x="0" y="307"/>
                    </a:cubicBezTo>
                    <a:lnTo>
                      <a:pt x="0" y="4490"/>
                    </a:lnTo>
                    <a:cubicBezTo>
                      <a:pt x="0" y="4660"/>
                      <a:pt x="138" y="4799"/>
                      <a:pt x="308" y="4799"/>
                    </a:cubicBezTo>
                    <a:lnTo>
                      <a:pt x="3415" y="4799"/>
                    </a:lnTo>
                    <a:cubicBezTo>
                      <a:pt x="3585" y="4799"/>
                      <a:pt x="3723" y="4660"/>
                      <a:pt x="3723" y="4490"/>
                    </a:cubicBezTo>
                    <a:lnTo>
                      <a:pt x="3723" y="307"/>
                    </a:lnTo>
                    <a:cubicBezTo>
                      <a:pt x="3723" y="137"/>
                      <a:pt x="3585" y="0"/>
                      <a:pt x="3415" y="0"/>
                    </a:cubicBez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49FD5"/>
                  </a:solidFill>
                  <a:effectLst/>
                  <a:uLnTx/>
                  <a:uFillTx/>
                  <a:latin typeface="Calibri" panose="020F0502020204030204"/>
                  <a:ea typeface="+mn-ea"/>
                  <a:cs typeface="+mn-cs"/>
                </a:endParaRPr>
              </a:p>
            </p:txBody>
          </p:sp>
        </p:grpSp>
      </p:grpSp>
      <p:grpSp>
        <p:nvGrpSpPr>
          <p:cNvPr id="30" name="Group 9">
            <a:extLst>
              <a:ext uri="{FF2B5EF4-FFF2-40B4-BE49-F238E27FC236}">
                <a16:creationId xmlns:a16="http://schemas.microsoft.com/office/drawing/2014/main" id="{D35E498B-7CBD-4A32-20B1-9C8599D7FB1A}"/>
              </a:ext>
            </a:extLst>
          </p:cNvPr>
          <p:cNvGrpSpPr/>
          <p:nvPr>
            <p:custDataLst>
              <p:tags r:id="rId6"/>
            </p:custDataLst>
          </p:nvPr>
        </p:nvGrpSpPr>
        <p:grpSpPr>
          <a:xfrm>
            <a:off x="1699657" y="3516795"/>
            <a:ext cx="1834250" cy="415498"/>
            <a:chOff x="1591849" y="3506405"/>
            <a:chExt cx="1834250" cy="415498"/>
          </a:xfrm>
        </p:grpSpPr>
        <p:sp>
          <p:nvSpPr>
            <p:cNvPr id="31" name="TextBox 141">
              <a:extLst>
                <a:ext uri="{FF2B5EF4-FFF2-40B4-BE49-F238E27FC236}">
                  <a16:creationId xmlns:a16="http://schemas.microsoft.com/office/drawing/2014/main" id="{B0C29F22-A8BE-0D10-2D19-75A88A10D0EF}"/>
                </a:ext>
              </a:extLst>
            </p:cNvPr>
            <p:cNvSpPr txBox="1"/>
            <p:nvPr/>
          </p:nvSpPr>
          <p:spPr>
            <a:xfrm>
              <a:off x="1882532" y="3506405"/>
              <a:ext cx="1543567" cy="415498"/>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7A76FF"/>
                  </a:solidFill>
                  <a:effectLst/>
                  <a:uLnTx/>
                  <a:uFillTx/>
                  <a:latin typeface="Calibri Light" panose="020F0302020204030204"/>
                  <a:ea typeface="+mn-ea"/>
                  <a:cs typeface="+mn-cs"/>
                </a:rPr>
                <a:t>Préparer et transformer avec de l’automatisation</a:t>
              </a:r>
            </a:p>
          </p:txBody>
        </p:sp>
        <p:grpSp>
          <p:nvGrpSpPr>
            <p:cNvPr id="32" name="Group 153">
              <a:extLst>
                <a:ext uri="{FF2B5EF4-FFF2-40B4-BE49-F238E27FC236}">
                  <a16:creationId xmlns:a16="http://schemas.microsoft.com/office/drawing/2014/main" id="{10348DD9-3D1F-53D1-A0AA-7F5771DF75A8}"/>
                </a:ext>
              </a:extLst>
            </p:cNvPr>
            <p:cNvGrpSpPr/>
            <p:nvPr/>
          </p:nvGrpSpPr>
          <p:grpSpPr>
            <a:xfrm>
              <a:off x="1591849" y="3552930"/>
              <a:ext cx="287624" cy="287624"/>
              <a:chOff x="2934433" y="3132253"/>
              <a:chExt cx="382827" cy="382828"/>
            </a:xfrm>
          </p:grpSpPr>
          <p:sp>
            <p:nvSpPr>
              <p:cNvPr id="33" name="Oval 137">
                <a:extLst>
                  <a:ext uri="{FF2B5EF4-FFF2-40B4-BE49-F238E27FC236}">
                    <a16:creationId xmlns:a16="http://schemas.microsoft.com/office/drawing/2014/main" id="{924BB09F-6CE8-2117-A0FD-B4F54FFB9F70}"/>
                  </a:ext>
                </a:extLst>
              </p:cNvPr>
              <p:cNvSpPr/>
              <p:nvPr/>
            </p:nvSpPr>
            <p:spPr>
              <a:xfrm>
                <a:off x="2934433" y="3132253"/>
                <a:ext cx="382827" cy="382828"/>
              </a:xfrm>
              <a:prstGeom prst="ellipse">
                <a:avLst/>
              </a:prstGeom>
              <a:noFill/>
              <a:ln w="19050">
                <a:solidFill>
                  <a:srgbClr val="6D6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7A76FF"/>
                  </a:solidFill>
                  <a:effectLst/>
                  <a:uLnTx/>
                  <a:uFillTx/>
                  <a:latin typeface="Calibri" panose="020F0502020204030204"/>
                  <a:ea typeface="+mn-ea"/>
                  <a:cs typeface="+mn-cs"/>
                </a:endParaRPr>
              </a:p>
            </p:txBody>
          </p:sp>
          <p:sp>
            <p:nvSpPr>
              <p:cNvPr id="34" name="Freeform 40">
                <a:extLst>
                  <a:ext uri="{FF2B5EF4-FFF2-40B4-BE49-F238E27FC236}">
                    <a16:creationId xmlns:a16="http://schemas.microsoft.com/office/drawing/2014/main" id="{658DCBA2-0BDB-6569-C3C1-7D9264FA0E2B}"/>
                  </a:ext>
                </a:extLst>
              </p:cNvPr>
              <p:cNvSpPr>
                <a:spLocks noChangeAspect="1" noEditPoints="1"/>
              </p:cNvSpPr>
              <p:nvPr/>
            </p:nvSpPr>
            <p:spPr bwMode="auto">
              <a:xfrm>
                <a:off x="3014816" y="3188431"/>
                <a:ext cx="222061" cy="270471"/>
              </a:xfrm>
              <a:custGeom>
                <a:avLst/>
                <a:gdLst>
                  <a:gd name="T0" fmla="*/ 1842 w 3941"/>
                  <a:gd name="T1" fmla="*/ 472 h 4799"/>
                  <a:gd name="T2" fmla="*/ 2101 w 3941"/>
                  <a:gd name="T3" fmla="*/ 472 h 4799"/>
                  <a:gd name="T4" fmla="*/ 1842 w 3941"/>
                  <a:gd name="T5" fmla="*/ 472 h 4799"/>
                  <a:gd name="T6" fmla="*/ 3813 w 3941"/>
                  <a:gd name="T7" fmla="*/ 4475 h 4799"/>
                  <a:gd name="T8" fmla="*/ 3617 w 3941"/>
                  <a:gd name="T9" fmla="*/ 4671 h 4799"/>
                  <a:gd name="T10" fmla="*/ 127 w 3941"/>
                  <a:gd name="T11" fmla="*/ 4475 h 4799"/>
                  <a:gd name="T12" fmla="*/ 323 w 3941"/>
                  <a:gd name="T13" fmla="*/ 711 h 4799"/>
                  <a:gd name="T14" fmla="*/ 844 w 3941"/>
                  <a:gd name="T15" fmla="*/ 895 h 4799"/>
                  <a:gd name="T16" fmla="*/ 397 w 3941"/>
                  <a:gd name="T17" fmla="*/ 1219 h 4799"/>
                  <a:gd name="T18" fmla="*/ 721 w 3941"/>
                  <a:gd name="T19" fmla="*/ 4287 h 4799"/>
                  <a:gd name="T20" fmla="*/ 3537 w 3941"/>
                  <a:gd name="T21" fmla="*/ 3963 h 4799"/>
                  <a:gd name="T22" fmla="*/ 3214 w 3941"/>
                  <a:gd name="T23" fmla="*/ 895 h 4799"/>
                  <a:gd name="T24" fmla="*/ 3107 w 3941"/>
                  <a:gd name="T25" fmla="*/ 711 h 4799"/>
                  <a:gd name="T26" fmla="*/ 3813 w 3941"/>
                  <a:gd name="T27" fmla="*/ 907 h 4799"/>
                  <a:gd name="T28" fmla="*/ 3813 w 3941"/>
                  <a:gd name="T29" fmla="*/ 4475 h 4799"/>
                  <a:gd name="T30" fmla="*/ 1028 w 3941"/>
                  <a:gd name="T31" fmla="*/ 1332 h 4799"/>
                  <a:gd name="T32" fmla="*/ 3107 w 3941"/>
                  <a:gd name="T33" fmla="*/ 1147 h 4799"/>
                  <a:gd name="T34" fmla="*/ 3214 w 3941"/>
                  <a:gd name="T35" fmla="*/ 1023 h 4799"/>
                  <a:gd name="T36" fmla="*/ 3410 w 3941"/>
                  <a:gd name="T37" fmla="*/ 3963 h 4799"/>
                  <a:gd name="T38" fmla="*/ 721 w 3941"/>
                  <a:gd name="T39" fmla="*/ 4159 h 4799"/>
                  <a:gd name="T40" fmla="*/ 525 w 3941"/>
                  <a:gd name="T41" fmla="*/ 1219 h 4799"/>
                  <a:gd name="T42" fmla="*/ 844 w 3941"/>
                  <a:gd name="T43" fmla="*/ 1023 h 4799"/>
                  <a:gd name="T44" fmla="*/ 1028 w 3941"/>
                  <a:gd name="T45" fmla="*/ 1332 h 4799"/>
                  <a:gd name="T46" fmla="*/ 972 w 3941"/>
                  <a:gd name="T47" fmla="*/ 516 h 4799"/>
                  <a:gd name="T48" fmla="*/ 1028 w 3941"/>
                  <a:gd name="T49" fmla="*/ 459 h 4799"/>
                  <a:gd name="T50" fmla="*/ 1702 w 3941"/>
                  <a:gd name="T51" fmla="*/ 395 h 4799"/>
                  <a:gd name="T52" fmla="*/ 2240 w 3941"/>
                  <a:gd name="T53" fmla="*/ 395 h 4799"/>
                  <a:gd name="T54" fmla="*/ 2923 w 3941"/>
                  <a:gd name="T55" fmla="*/ 459 h 4799"/>
                  <a:gd name="T56" fmla="*/ 2979 w 3941"/>
                  <a:gd name="T57" fmla="*/ 1147 h 4799"/>
                  <a:gd name="T58" fmla="*/ 1028 w 3941"/>
                  <a:gd name="T59" fmla="*/ 1204 h 4799"/>
                  <a:gd name="T60" fmla="*/ 972 w 3941"/>
                  <a:gd name="T61" fmla="*/ 516 h 4799"/>
                  <a:gd name="T62" fmla="*/ 3617 w 3941"/>
                  <a:gd name="T63" fmla="*/ 583 h 4799"/>
                  <a:gd name="T64" fmla="*/ 3107 w 3941"/>
                  <a:gd name="T65" fmla="*/ 583 h 4799"/>
                  <a:gd name="T66" fmla="*/ 2923 w 3941"/>
                  <a:gd name="T67" fmla="*/ 331 h 4799"/>
                  <a:gd name="T68" fmla="*/ 1971 w 3941"/>
                  <a:gd name="T69" fmla="*/ 0 h 4799"/>
                  <a:gd name="T70" fmla="*/ 1028 w 3941"/>
                  <a:gd name="T71" fmla="*/ 331 h 4799"/>
                  <a:gd name="T72" fmla="*/ 844 w 3941"/>
                  <a:gd name="T73" fmla="*/ 583 h 4799"/>
                  <a:gd name="T74" fmla="*/ 0 w 3941"/>
                  <a:gd name="T75" fmla="*/ 907 h 4799"/>
                  <a:gd name="T76" fmla="*/ 323 w 3941"/>
                  <a:gd name="T77" fmla="*/ 4799 h 4799"/>
                  <a:gd name="T78" fmla="*/ 3941 w 3941"/>
                  <a:gd name="T79" fmla="*/ 4475 h 4799"/>
                  <a:gd name="T80" fmla="*/ 3617 w 3941"/>
                  <a:gd name="T81" fmla="*/ 583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41" h="4799">
                    <a:moveTo>
                      <a:pt x="1842" y="472"/>
                    </a:moveTo>
                    <a:lnTo>
                      <a:pt x="1842" y="472"/>
                    </a:lnTo>
                    <a:cubicBezTo>
                      <a:pt x="1842" y="400"/>
                      <a:pt x="1900" y="342"/>
                      <a:pt x="1971" y="342"/>
                    </a:cubicBezTo>
                    <a:cubicBezTo>
                      <a:pt x="2043" y="342"/>
                      <a:pt x="2101" y="400"/>
                      <a:pt x="2101" y="472"/>
                    </a:cubicBezTo>
                    <a:cubicBezTo>
                      <a:pt x="2101" y="543"/>
                      <a:pt x="2043" y="602"/>
                      <a:pt x="1971" y="602"/>
                    </a:cubicBezTo>
                    <a:cubicBezTo>
                      <a:pt x="1900" y="602"/>
                      <a:pt x="1842" y="543"/>
                      <a:pt x="1842" y="472"/>
                    </a:cubicBezTo>
                    <a:lnTo>
                      <a:pt x="1842" y="472"/>
                    </a:lnTo>
                    <a:close/>
                    <a:moveTo>
                      <a:pt x="3813" y="4475"/>
                    </a:moveTo>
                    <a:lnTo>
                      <a:pt x="3813" y="4475"/>
                    </a:lnTo>
                    <a:cubicBezTo>
                      <a:pt x="3813" y="4583"/>
                      <a:pt x="3725" y="4671"/>
                      <a:pt x="3617" y="4671"/>
                    </a:cubicBezTo>
                    <a:lnTo>
                      <a:pt x="323" y="4671"/>
                    </a:lnTo>
                    <a:cubicBezTo>
                      <a:pt x="215" y="4671"/>
                      <a:pt x="127" y="4583"/>
                      <a:pt x="127" y="4475"/>
                    </a:cubicBezTo>
                    <a:lnTo>
                      <a:pt x="127" y="907"/>
                    </a:lnTo>
                    <a:cubicBezTo>
                      <a:pt x="127" y="799"/>
                      <a:pt x="215" y="711"/>
                      <a:pt x="323" y="711"/>
                    </a:cubicBezTo>
                    <a:lnTo>
                      <a:pt x="844" y="711"/>
                    </a:lnTo>
                    <a:lnTo>
                      <a:pt x="844" y="895"/>
                    </a:lnTo>
                    <a:lnTo>
                      <a:pt x="721" y="895"/>
                    </a:lnTo>
                    <a:cubicBezTo>
                      <a:pt x="543" y="895"/>
                      <a:pt x="397" y="1040"/>
                      <a:pt x="397" y="1219"/>
                    </a:cubicBezTo>
                    <a:lnTo>
                      <a:pt x="397" y="3963"/>
                    </a:lnTo>
                    <a:cubicBezTo>
                      <a:pt x="397" y="4142"/>
                      <a:pt x="543" y="4287"/>
                      <a:pt x="721" y="4287"/>
                    </a:cubicBezTo>
                    <a:lnTo>
                      <a:pt x="3214" y="4287"/>
                    </a:lnTo>
                    <a:cubicBezTo>
                      <a:pt x="3392" y="4287"/>
                      <a:pt x="3537" y="4142"/>
                      <a:pt x="3537" y="3963"/>
                    </a:cubicBezTo>
                    <a:lnTo>
                      <a:pt x="3537" y="1219"/>
                    </a:lnTo>
                    <a:cubicBezTo>
                      <a:pt x="3537" y="1040"/>
                      <a:pt x="3392" y="895"/>
                      <a:pt x="3214" y="895"/>
                    </a:cubicBezTo>
                    <a:lnTo>
                      <a:pt x="3107" y="895"/>
                    </a:lnTo>
                    <a:lnTo>
                      <a:pt x="3107" y="711"/>
                    </a:lnTo>
                    <a:lnTo>
                      <a:pt x="3617" y="711"/>
                    </a:lnTo>
                    <a:cubicBezTo>
                      <a:pt x="3725" y="711"/>
                      <a:pt x="3813" y="799"/>
                      <a:pt x="3813" y="907"/>
                    </a:cubicBezTo>
                    <a:lnTo>
                      <a:pt x="3813" y="4475"/>
                    </a:lnTo>
                    <a:lnTo>
                      <a:pt x="3813" y="4475"/>
                    </a:lnTo>
                    <a:close/>
                    <a:moveTo>
                      <a:pt x="1028" y="1332"/>
                    </a:moveTo>
                    <a:lnTo>
                      <a:pt x="1028" y="1332"/>
                    </a:lnTo>
                    <a:lnTo>
                      <a:pt x="2923" y="1332"/>
                    </a:lnTo>
                    <a:cubicBezTo>
                      <a:pt x="3024" y="1332"/>
                      <a:pt x="3107" y="1249"/>
                      <a:pt x="3107" y="1147"/>
                    </a:cubicBezTo>
                    <a:lnTo>
                      <a:pt x="3107" y="1023"/>
                    </a:lnTo>
                    <a:lnTo>
                      <a:pt x="3214" y="1023"/>
                    </a:lnTo>
                    <a:cubicBezTo>
                      <a:pt x="3322" y="1023"/>
                      <a:pt x="3410" y="1111"/>
                      <a:pt x="3410" y="1219"/>
                    </a:cubicBezTo>
                    <a:lnTo>
                      <a:pt x="3410" y="3963"/>
                    </a:lnTo>
                    <a:cubicBezTo>
                      <a:pt x="3410" y="4071"/>
                      <a:pt x="3322" y="4159"/>
                      <a:pt x="3214" y="4159"/>
                    </a:cubicBezTo>
                    <a:lnTo>
                      <a:pt x="721" y="4159"/>
                    </a:lnTo>
                    <a:cubicBezTo>
                      <a:pt x="613" y="4159"/>
                      <a:pt x="525" y="4071"/>
                      <a:pt x="525" y="3963"/>
                    </a:cubicBezTo>
                    <a:lnTo>
                      <a:pt x="525" y="1219"/>
                    </a:lnTo>
                    <a:cubicBezTo>
                      <a:pt x="525" y="1111"/>
                      <a:pt x="613" y="1023"/>
                      <a:pt x="721" y="1023"/>
                    </a:cubicBezTo>
                    <a:lnTo>
                      <a:pt x="844" y="1023"/>
                    </a:lnTo>
                    <a:lnTo>
                      <a:pt x="844" y="1147"/>
                    </a:lnTo>
                    <a:cubicBezTo>
                      <a:pt x="844" y="1249"/>
                      <a:pt x="927" y="1332"/>
                      <a:pt x="1028" y="1332"/>
                    </a:cubicBezTo>
                    <a:lnTo>
                      <a:pt x="1028" y="1332"/>
                    </a:lnTo>
                    <a:close/>
                    <a:moveTo>
                      <a:pt x="972" y="516"/>
                    </a:moveTo>
                    <a:lnTo>
                      <a:pt x="972" y="516"/>
                    </a:lnTo>
                    <a:cubicBezTo>
                      <a:pt x="972" y="485"/>
                      <a:pt x="997" y="459"/>
                      <a:pt x="1028" y="459"/>
                    </a:cubicBezTo>
                    <a:lnTo>
                      <a:pt x="1639" y="459"/>
                    </a:lnTo>
                    <a:cubicBezTo>
                      <a:pt x="1674" y="459"/>
                      <a:pt x="1702" y="431"/>
                      <a:pt x="1702" y="395"/>
                    </a:cubicBezTo>
                    <a:cubicBezTo>
                      <a:pt x="1702" y="247"/>
                      <a:pt x="1823" y="126"/>
                      <a:pt x="1971" y="126"/>
                    </a:cubicBezTo>
                    <a:cubicBezTo>
                      <a:pt x="2120" y="126"/>
                      <a:pt x="2240" y="247"/>
                      <a:pt x="2240" y="395"/>
                    </a:cubicBezTo>
                    <a:cubicBezTo>
                      <a:pt x="2240" y="431"/>
                      <a:pt x="2269" y="459"/>
                      <a:pt x="2304" y="459"/>
                    </a:cubicBezTo>
                    <a:lnTo>
                      <a:pt x="2923" y="459"/>
                    </a:lnTo>
                    <a:cubicBezTo>
                      <a:pt x="2954" y="459"/>
                      <a:pt x="2979" y="485"/>
                      <a:pt x="2979" y="516"/>
                    </a:cubicBezTo>
                    <a:lnTo>
                      <a:pt x="2979" y="1147"/>
                    </a:lnTo>
                    <a:cubicBezTo>
                      <a:pt x="2979" y="1178"/>
                      <a:pt x="2954" y="1204"/>
                      <a:pt x="2923" y="1204"/>
                    </a:cubicBezTo>
                    <a:lnTo>
                      <a:pt x="1028" y="1204"/>
                    </a:lnTo>
                    <a:cubicBezTo>
                      <a:pt x="997" y="1204"/>
                      <a:pt x="972" y="1178"/>
                      <a:pt x="972" y="1147"/>
                    </a:cubicBezTo>
                    <a:lnTo>
                      <a:pt x="972" y="516"/>
                    </a:lnTo>
                    <a:lnTo>
                      <a:pt x="972" y="516"/>
                    </a:lnTo>
                    <a:close/>
                    <a:moveTo>
                      <a:pt x="3617" y="583"/>
                    </a:moveTo>
                    <a:lnTo>
                      <a:pt x="3617" y="583"/>
                    </a:lnTo>
                    <a:lnTo>
                      <a:pt x="3107" y="583"/>
                    </a:lnTo>
                    <a:lnTo>
                      <a:pt x="3107" y="516"/>
                    </a:lnTo>
                    <a:cubicBezTo>
                      <a:pt x="3107" y="414"/>
                      <a:pt x="3024" y="331"/>
                      <a:pt x="2923" y="331"/>
                    </a:cubicBezTo>
                    <a:lnTo>
                      <a:pt x="2363" y="331"/>
                    </a:lnTo>
                    <a:cubicBezTo>
                      <a:pt x="2332" y="143"/>
                      <a:pt x="2169" y="0"/>
                      <a:pt x="1971" y="0"/>
                    </a:cubicBezTo>
                    <a:cubicBezTo>
                      <a:pt x="1774" y="0"/>
                      <a:pt x="1610" y="143"/>
                      <a:pt x="1580" y="331"/>
                    </a:cubicBezTo>
                    <a:lnTo>
                      <a:pt x="1028" y="331"/>
                    </a:lnTo>
                    <a:cubicBezTo>
                      <a:pt x="927" y="331"/>
                      <a:pt x="844" y="414"/>
                      <a:pt x="844" y="516"/>
                    </a:cubicBezTo>
                    <a:lnTo>
                      <a:pt x="844" y="583"/>
                    </a:lnTo>
                    <a:lnTo>
                      <a:pt x="323" y="583"/>
                    </a:lnTo>
                    <a:cubicBezTo>
                      <a:pt x="145" y="583"/>
                      <a:pt x="0" y="729"/>
                      <a:pt x="0" y="907"/>
                    </a:cubicBezTo>
                    <a:lnTo>
                      <a:pt x="0" y="4475"/>
                    </a:lnTo>
                    <a:cubicBezTo>
                      <a:pt x="0" y="4653"/>
                      <a:pt x="145" y="4799"/>
                      <a:pt x="323" y="4799"/>
                    </a:cubicBezTo>
                    <a:lnTo>
                      <a:pt x="3617" y="4799"/>
                    </a:lnTo>
                    <a:cubicBezTo>
                      <a:pt x="3795" y="4799"/>
                      <a:pt x="3941" y="4653"/>
                      <a:pt x="3941" y="4475"/>
                    </a:cubicBezTo>
                    <a:lnTo>
                      <a:pt x="3941" y="907"/>
                    </a:lnTo>
                    <a:cubicBezTo>
                      <a:pt x="3941" y="729"/>
                      <a:pt x="3795" y="583"/>
                      <a:pt x="3617" y="583"/>
                    </a:cubicBezTo>
                    <a:close/>
                  </a:path>
                </a:pathLst>
              </a:custGeom>
              <a:solidFill>
                <a:srgbClr val="6D69FF"/>
              </a:solidFill>
              <a:ln w="0">
                <a:solidFill>
                  <a:srgbClr val="6D69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7A76FF"/>
                  </a:solidFill>
                  <a:effectLst/>
                  <a:uLnTx/>
                  <a:uFillTx/>
                  <a:latin typeface="Calibri" panose="020F0502020204030204"/>
                  <a:ea typeface="+mn-ea"/>
                  <a:cs typeface="+mn-cs"/>
                </a:endParaRPr>
              </a:p>
            </p:txBody>
          </p:sp>
        </p:grpSp>
      </p:grpSp>
      <p:grpSp>
        <p:nvGrpSpPr>
          <p:cNvPr id="35" name="Group 13">
            <a:extLst>
              <a:ext uri="{FF2B5EF4-FFF2-40B4-BE49-F238E27FC236}">
                <a16:creationId xmlns:a16="http://schemas.microsoft.com/office/drawing/2014/main" id="{F0A38FAC-3C2E-A3C0-6462-791A8CD27BC9}"/>
              </a:ext>
            </a:extLst>
          </p:cNvPr>
          <p:cNvGrpSpPr/>
          <p:nvPr>
            <p:custDataLst>
              <p:tags r:id="rId7"/>
            </p:custDataLst>
          </p:nvPr>
        </p:nvGrpSpPr>
        <p:grpSpPr>
          <a:xfrm>
            <a:off x="3564932" y="3552932"/>
            <a:ext cx="1812444" cy="432352"/>
            <a:chOff x="3564932" y="3552930"/>
            <a:chExt cx="1812444" cy="432352"/>
          </a:xfrm>
        </p:grpSpPr>
        <p:sp>
          <p:nvSpPr>
            <p:cNvPr id="36" name="TextBox 186">
              <a:extLst>
                <a:ext uri="{FF2B5EF4-FFF2-40B4-BE49-F238E27FC236}">
                  <a16:creationId xmlns:a16="http://schemas.microsoft.com/office/drawing/2014/main" id="{31F1F2CB-DFAD-E54E-FDF6-7317FA07D3CC}"/>
                </a:ext>
              </a:extLst>
            </p:cNvPr>
            <p:cNvSpPr txBox="1"/>
            <p:nvPr/>
          </p:nvSpPr>
          <p:spPr>
            <a:xfrm>
              <a:off x="3894030" y="3569784"/>
              <a:ext cx="1483346" cy="415498"/>
            </a:xfrm>
            <a:prstGeom prst="rect">
              <a:avLst/>
            </a:prstGeom>
            <a:noFill/>
          </p:spPr>
          <p:txBody>
            <a:bodyPr wrap="square" rIns="0"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5ADFD8"/>
                  </a:solidFill>
                  <a:effectLst/>
                  <a:uLnTx/>
                  <a:uFillTx/>
                  <a:latin typeface="Calibri Light" panose="020F0302020204030204"/>
                  <a:ea typeface="+mn-ea"/>
                  <a:cs typeface="+mn-cs"/>
                </a:rPr>
                <a:t>Prédire le future avec IA/ML</a:t>
              </a:r>
            </a:p>
          </p:txBody>
        </p:sp>
        <p:grpSp>
          <p:nvGrpSpPr>
            <p:cNvPr id="37" name="Group 212">
              <a:extLst>
                <a:ext uri="{FF2B5EF4-FFF2-40B4-BE49-F238E27FC236}">
                  <a16:creationId xmlns:a16="http://schemas.microsoft.com/office/drawing/2014/main" id="{099C7318-BFDB-8A3E-0339-E63C6E669DD2}"/>
                </a:ext>
              </a:extLst>
            </p:cNvPr>
            <p:cNvGrpSpPr/>
            <p:nvPr/>
          </p:nvGrpSpPr>
          <p:grpSpPr>
            <a:xfrm>
              <a:off x="3564932" y="3552930"/>
              <a:ext cx="287624" cy="287624"/>
              <a:chOff x="4867490" y="3195636"/>
              <a:chExt cx="382827" cy="382827"/>
            </a:xfrm>
          </p:grpSpPr>
          <p:sp>
            <p:nvSpPr>
              <p:cNvPr id="38" name="Oval 182">
                <a:extLst>
                  <a:ext uri="{FF2B5EF4-FFF2-40B4-BE49-F238E27FC236}">
                    <a16:creationId xmlns:a16="http://schemas.microsoft.com/office/drawing/2014/main" id="{4D916EA1-18E8-D369-42BF-999A4CA9DBB9}"/>
                  </a:ext>
                </a:extLst>
              </p:cNvPr>
              <p:cNvSpPr/>
              <p:nvPr/>
            </p:nvSpPr>
            <p:spPr>
              <a:xfrm>
                <a:off x="4867490" y="3195636"/>
                <a:ext cx="382827" cy="382827"/>
              </a:xfrm>
              <a:prstGeom prst="ellipse">
                <a:avLst/>
              </a:prstGeom>
              <a:noFill/>
              <a:ln w="19050">
                <a:solidFill>
                  <a:srgbClr val="5ADF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ADFD8"/>
                  </a:solidFill>
                  <a:effectLst/>
                  <a:uLnTx/>
                  <a:uFillTx/>
                  <a:latin typeface="Calibri" panose="020F0502020204030204"/>
                  <a:ea typeface="+mn-ea"/>
                  <a:cs typeface="+mn-cs"/>
                </a:endParaRPr>
              </a:p>
            </p:txBody>
          </p:sp>
          <p:sp>
            <p:nvSpPr>
              <p:cNvPr id="39" name="Freeform 28">
                <a:extLst>
                  <a:ext uri="{FF2B5EF4-FFF2-40B4-BE49-F238E27FC236}">
                    <a16:creationId xmlns:a16="http://schemas.microsoft.com/office/drawing/2014/main" id="{6AC5A573-CAE9-B3DB-31ED-7D83D7A61118}"/>
                  </a:ext>
                </a:extLst>
              </p:cNvPr>
              <p:cNvSpPr>
                <a:spLocks noChangeAspect="1" noEditPoints="1"/>
              </p:cNvSpPr>
              <p:nvPr/>
            </p:nvSpPr>
            <p:spPr bwMode="auto">
              <a:xfrm>
                <a:off x="4950077" y="3264427"/>
                <a:ext cx="223331" cy="229424"/>
              </a:xfrm>
              <a:custGeom>
                <a:avLst/>
                <a:gdLst>
                  <a:gd name="T0" fmla="*/ 3298 w 4668"/>
                  <a:gd name="T1" fmla="*/ 2427 h 4799"/>
                  <a:gd name="T2" fmla="*/ 2224 w 4668"/>
                  <a:gd name="T3" fmla="*/ 2406 h 4799"/>
                  <a:gd name="T4" fmla="*/ 3298 w 4668"/>
                  <a:gd name="T5" fmla="*/ 2427 h 4799"/>
                  <a:gd name="T6" fmla="*/ 4668 w 4668"/>
                  <a:gd name="T7" fmla="*/ 3219 h 4799"/>
                  <a:gd name="T8" fmla="*/ 4668 w 4668"/>
                  <a:gd name="T9" fmla="*/ 3642 h 4799"/>
                  <a:gd name="T10" fmla="*/ 4179 w 4668"/>
                  <a:gd name="T11" fmla="*/ 3708 h 4799"/>
                  <a:gd name="T12" fmla="*/ 4179 w 4668"/>
                  <a:gd name="T13" fmla="*/ 3576 h 4799"/>
                  <a:gd name="T14" fmla="*/ 3391 w 4668"/>
                  <a:gd name="T15" fmla="*/ 2520 h 4799"/>
                  <a:gd name="T16" fmla="*/ 2763 w 4668"/>
                  <a:gd name="T17" fmla="*/ 3107 h 4799"/>
                  <a:gd name="T18" fmla="*/ 2131 w 4668"/>
                  <a:gd name="T19" fmla="*/ 2499 h 4799"/>
                  <a:gd name="T20" fmla="*/ 666 w 4668"/>
                  <a:gd name="T21" fmla="*/ 3937 h 4799"/>
                  <a:gd name="T22" fmla="*/ 619 w 4668"/>
                  <a:gd name="T23" fmla="*/ 3825 h 4799"/>
                  <a:gd name="T24" fmla="*/ 1025 w 4668"/>
                  <a:gd name="T25" fmla="*/ 1385 h 4799"/>
                  <a:gd name="T26" fmla="*/ 441 w 4668"/>
                  <a:gd name="T27" fmla="*/ 1880 h 4799"/>
                  <a:gd name="T28" fmla="*/ 978 w 4668"/>
                  <a:gd name="T29" fmla="*/ 1245 h 4799"/>
                  <a:gd name="T30" fmla="*/ 2132 w 4668"/>
                  <a:gd name="T31" fmla="*/ 2313 h 4799"/>
                  <a:gd name="T32" fmla="*/ 2797 w 4668"/>
                  <a:gd name="T33" fmla="*/ 1740 h 4799"/>
                  <a:gd name="T34" fmla="*/ 4385 w 4668"/>
                  <a:gd name="T35" fmla="*/ 1363 h 4799"/>
                  <a:gd name="T36" fmla="*/ 4046 w 4668"/>
                  <a:gd name="T37" fmla="*/ 1297 h 4799"/>
                  <a:gd name="T38" fmla="*/ 4535 w 4668"/>
                  <a:gd name="T39" fmla="*/ 1232 h 4799"/>
                  <a:gd name="T40" fmla="*/ 4600 w 4668"/>
                  <a:gd name="T41" fmla="*/ 1721 h 4799"/>
                  <a:gd name="T42" fmla="*/ 4469 w 4668"/>
                  <a:gd name="T43" fmla="*/ 1721 h 4799"/>
                  <a:gd name="T44" fmla="*/ 3485 w 4668"/>
                  <a:gd name="T45" fmla="*/ 2428 h 4799"/>
                  <a:gd name="T46" fmla="*/ 4537 w 4668"/>
                  <a:gd name="T47" fmla="*/ 3219 h 4799"/>
                  <a:gd name="T48" fmla="*/ 4668 w 4668"/>
                  <a:gd name="T49" fmla="*/ 3219 h 4799"/>
                  <a:gd name="T50" fmla="*/ 4574 w 4668"/>
                  <a:gd name="T51" fmla="*/ 4733 h 4799"/>
                  <a:gd name="T52" fmla="*/ 4508 w 4668"/>
                  <a:gd name="T53" fmla="*/ 4799 h 4799"/>
                  <a:gd name="T54" fmla="*/ 0 w 4668"/>
                  <a:gd name="T55" fmla="*/ 4733 h 4799"/>
                  <a:gd name="T56" fmla="*/ 65 w 4668"/>
                  <a:gd name="T57" fmla="*/ 0 h 4799"/>
                  <a:gd name="T58" fmla="*/ 131 w 4668"/>
                  <a:gd name="T59" fmla="*/ 535 h 4799"/>
                  <a:gd name="T60" fmla="*/ 456 w 4668"/>
                  <a:gd name="T61" fmla="*/ 601 h 4799"/>
                  <a:gd name="T62" fmla="*/ 131 w 4668"/>
                  <a:gd name="T63" fmla="*/ 666 h 4799"/>
                  <a:gd name="T64" fmla="*/ 390 w 4668"/>
                  <a:gd name="T65" fmla="*/ 1408 h 4799"/>
                  <a:gd name="T66" fmla="*/ 390 w 4668"/>
                  <a:gd name="T67" fmla="*/ 1539 h 4799"/>
                  <a:gd name="T68" fmla="*/ 131 w 4668"/>
                  <a:gd name="T69" fmla="*/ 2280 h 4799"/>
                  <a:gd name="T70" fmla="*/ 456 w 4668"/>
                  <a:gd name="T71" fmla="*/ 2346 h 4799"/>
                  <a:gd name="T72" fmla="*/ 131 w 4668"/>
                  <a:gd name="T73" fmla="*/ 2412 h 4799"/>
                  <a:gd name="T74" fmla="*/ 390 w 4668"/>
                  <a:gd name="T75" fmla="*/ 3153 h 4799"/>
                  <a:gd name="T76" fmla="*/ 390 w 4668"/>
                  <a:gd name="T77" fmla="*/ 3285 h 4799"/>
                  <a:gd name="T78" fmla="*/ 131 w 4668"/>
                  <a:gd name="T79" fmla="*/ 4026 h 4799"/>
                  <a:gd name="T80" fmla="*/ 456 w 4668"/>
                  <a:gd name="T81" fmla="*/ 4092 h 4799"/>
                  <a:gd name="T82" fmla="*/ 131 w 4668"/>
                  <a:gd name="T83" fmla="*/ 4157 h 4799"/>
                  <a:gd name="T84" fmla="*/ 511 w 4668"/>
                  <a:gd name="T85" fmla="*/ 4667 h 4799"/>
                  <a:gd name="T86" fmla="*/ 577 w 4668"/>
                  <a:gd name="T87" fmla="*/ 4285 h 4799"/>
                  <a:gd name="T88" fmla="*/ 643 w 4668"/>
                  <a:gd name="T89" fmla="*/ 4667 h 4799"/>
                  <a:gd name="T90" fmla="*/ 1384 w 4668"/>
                  <a:gd name="T91" fmla="*/ 4351 h 4799"/>
                  <a:gd name="T92" fmla="*/ 1515 w 4668"/>
                  <a:gd name="T93" fmla="*/ 4351 h 4799"/>
                  <a:gd name="T94" fmla="*/ 2257 w 4668"/>
                  <a:gd name="T95" fmla="*/ 4667 h 4799"/>
                  <a:gd name="T96" fmla="*/ 2322 w 4668"/>
                  <a:gd name="T97" fmla="*/ 4285 h 4799"/>
                  <a:gd name="T98" fmla="*/ 2388 w 4668"/>
                  <a:gd name="T99" fmla="*/ 4667 h 4799"/>
                  <a:gd name="T100" fmla="*/ 3129 w 4668"/>
                  <a:gd name="T101" fmla="*/ 4351 h 4799"/>
                  <a:gd name="T102" fmla="*/ 3261 w 4668"/>
                  <a:gd name="T103" fmla="*/ 4351 h 4799"/>
                  <a:gd name="T104" fmla="*/ 4002 w 4668"/>
                  <a:gd name="T105" fmla="*/ 4667 h 4799"/>
                  <a:gd name="T106" fmla="*/ 4068 w 4668"/>
                  <a:gd name="T107" fmla="*/ 4285 h 4799"/>
                  <a:gd name="T108" fmla="*/ 4134 w 4668"/>
                  <a:gd name="T109" fmla="*/ 4667 h 4799"/>
                  <a:gd name="T110" fmla="*/ 4574 w 4668"/>
                  <a:gd name="T111" fmla="*/ 4733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68" h="4799">
                    <a:moveTo>
                      <a:pt x="3298" y="2427"/>
                    </a:moveTo>
                    <a:lnTo>
                      <a:pt x="3298" y="2427"/>
                    </a:lnTo>
                    <a:lnTo>
                      <a:pt x="2750" y="1880"/>
                    </a:lnTo>
                    <a:lnTo>
                      <a:pt x="2224" y="2406"/>
                    </a:lnTo>
                    <a:lnTo>
                      <a:pt x="2764" y="2949"/>
                    </a:lnTo>
                    <a:lnTo>
                      <a:pt x="3298" y="2427"/>
                    </a:lnTo>
                    <a:lnTo>
                      <a:pt x="3298" y="2427"/>
                    </a:lnTo>
                    <a:close/>
                    <a:moveTo>
                      <a:pt x="4668" y="3219"/>
                    </a:moveTo>
                    <a:lnTo>
                      <a:pt x="4668" y="3219"/>
                    </a:lnTo>
                    <a:lnTo>
                      <a:pt x="4668" y="3642"/>
                    </a:lnTo>
                    <a:cubicBezTo>
                      <a:pt x="4668" y="3678"/>
                      <a:pt x="4639" y="3708"/>
                      <a:pt x="4602" y="3708"/>
                    </a:cubicBezTo>
                    <a:lnTo>
                      <a:pt x="4179" y="3708"/>
                    </a:lnTo>
                    <a:cubicBezTo>
                      <a:pt x="4143" y="3708"/>
                      <a:pt x="4114" y="3678"/>
                      <a:pt x="4114" y="3642"/>
                    </a:cubicBezTo>
                    <a:cubicBezTo>
                      <a:pt x="4114" y="3606"/>
                      <a:pt x="4143" y="3576"/>
                      <a:pt x="4179" y="3576"/>
                    </a:cubicBezTo>
                    <a:lnTo>
                      <a:pt x="4447" y="3576"/>
                    </a:lnTo>
                    <a:lnTo>
                      <a:pt x="3391" y="2520"/>
                    </a:lnTo>
                    <a:lnTo>
                      <a:pt x="2809" y="3088"/>
                    </a:lnTo>
                    <a:cubicBezTo>
                      <a:pt x="2796" y="3101"/>
                      <a:pt x="2780" y="3107"/>
                      <a:pt x="2763" y="3107"/>
                    </a:cubicBezTo>
                    <a:cubicBezTo>
                      <a:pt x="2746" y="3107"/>
                      <a:pt x="2729" y="3101"/>
                      <a:pt x="2717" y="3088"/>
                    </a:cubicBezTo>
                    <a:lnTo>
                      <a:pt x="2131" y="2499"/>
                    </a:lnTo>
                    <a:lnTo>
                      <a:pt x="712" y="3918"/>
                    </a:lnTo>
                    <a:cubicBezTo>
                      <a:pt x="699" y="3931"/>
                      <a:pt x="682" y="3937"/>
                      <a:pt x="666" y="3937"/>
                    </a:cubicBezTo>
                    <a:cubicBezTo>
                      <a:pt x="649" y="3937"/>
                      <a:pt x="632" y="3931"/>
                      <a:pt x="619" y="3918"/>
                    </a:cubicBezTo>
                    <a:cubicBezTo>
                      <a:pt x="593" y="3892"/>
                      <a:pt x="593" y="3851"/>
                      <a:pt x="619" y="3825"/>
                    </a:cubicBezTo>
                    <a:lnTo>
                      <a:pt x="2039" y="2405"/>
                    </a:lnTo>
                    <a:lnTo>
                      <a:pt x="1025" y="1385"/>
                    </a:lnTo>
                    <a:lnTo>
                      <a:pt x="534" y="1879"/>
                    </a:lnTo>
                    <a:cubicBezTo>
                      <a:pt x="508" y="1905"/>
                      <a:pt x="467" y="1905"/>
                      <a:pt x="441" y="1880"/>
                    </a:cubicBezTo>
                    <a:cubicBezTo>
                      <a:pt x="415" y="1854"/>
                      <a:pt x="415" y="1812"/>
                      <a:pt x="441" y="1787"/>
                    </a:cubicBezTo>
                    <a:lnTo>
                      <a:pt x="978" y="1245"/>
                    </a:lnTo>
                    <a:cubicBezTo>
                      <a:pt x="1003" y="1221"/>
                      <a:pt x="1047" y="1221"/>
                      <a:pt x="1071" y="1245"/>
                    </a:cubicBezTo>
                    <a:lnTo>
                      <a:pt x="2132" y="2313"/>
                    </a:lnTo>
                    <a:lnTo>
                      <a:pt x="2704" y="1740"/>
                    </a:lnTo>
                    <a:cubicBezTo>
                      <a:pt x="2730" y="1714"/>
                      <a:pt x="2771" y="1714"/>
                      <a:pt x="2797" y="1740"/>
                    </a:cubicBezTo>
                    <a:lnTo>
                      <a:pt x="3392" y="2335"/>
                    </a:lnTo>
                    <a:lnTo>
                      <a:pt x="4385" y="1363"/>
                    </a:lnTo>
                    <a:lnTo>
                      <a:pt x="4111" y="1363"/>
                    </a:lnTo>
                    <a:cubicBezTo>
                      <a:pt x="4075" y="1363"/>
                      <a:pt x="4046" y="1334"/>
                      <a:pt x="4046" y="1297"/>
                    </a:cubicBezTo>
                    <a:cubicBezTo>
                      <a:pt x="4046" y="1261"/>
                      <a:pt x="4075" y="1232"/>
                      <a:pt x="4111" y="1232"/>
                    </a:cubicBezTo>
                    <a:lnTo>
                      <a:pt x="4535" y="1232"/>
                    </a:lnTo>
                    <a:cubicBezTo>
                      <a:pt x="4571" y="1232"/>
                      <a:pt x="4600" y="1261"/>
                      <a:pt x="4600" y="1297"/>
                    </a:cubicBezTo>
                    <a:lnTo>
                      <a:pt x="4600" y="1721"/>
                    </a:lnTo>
                    <a:cubicBezTo>
                      <a:pt x="4600" y="1757"/>
                      <a:pt x="4571" y="1786"/>
                      <a:pt x="4535" y="1786"/>
                    </a:cubicBezTo>
                    <a:cubicBezTo>
                      <a:pt x="4498" y="1786"/>
                      <a:pt x="4469" y="1757"/>
                      <a:pt x="4469" y="1721"/>
                    </a:cubicBezTo>
                    <a:lnTo>
                      <a:pt x="4469" y="1466"/>
                    </a:lnTo>
                    <a:lnTo>
                      <a:pt x="3485" y="2428"/>
                    </a:lnTo>
                    <a:lnTo>
                      <a:pt x="4537" y="3480"/>
                    </a:lnTo>
                    <a:lnTo>
                      <a:pt x="4537" y="3219"/>
                    </a:lnTo>
                    <a:cubicBezTo>
                      <a:pt x="4537" y="3183"/>
                      <a:pt x="4566" y="3153"/>
                      <a:pt x="4602" y="3153"/>
                    </a:cubicBezTo>
                    <a:cubicBezTo>
                      <a:pt x="4639" y="3153"/>
                      <a:pt x="4668" y="3183"/>
                      <a:pt x="4668" y="3219"/>
                    </a:cubicBezTo>
                    <a:lnTo>
                      <a:pt x="4668" y="3219"/>
                    </a:lnTo>
                    <a:close/>
                    <a:moveTo>
                      <a:pt x="4574" y="4733"/>
                    </a:moveTo>
                    <a:lnTo>
                      <a:pt x="4574" y="4733"/>
                    </a:lnTo>
                    <a:cubicBezTo>
                      <a:pt x="4574" y="4769"/>
                      <a:pt x="4545" y="4799"/>
                      <a:pt x="4508" y="4799"/>
                    </a:cubicBezTo>
                    <a:lnTo>
                      <a:pt x="65" y="4799"/>
                    </a:lnTo>
                    <a:cubicBezTo>
                      <a:pt x="29" y="4799"/>
                      <a:pt x="0" y="4769"/>
                      <a:pt x="0" y="4733"/>
                    </a:cubicBezTo>
                    <a:lnTo>
                      <a:pt x="0" y="64"/>
                    </a:lnTo>
                    <a:cubicBezTo>
                      <a:pt x="0" y="28"/>
                      <a:pt x="29" y="0"/>
                      <a:pt x="65" y="0"/>
                    </a:cubicBezTo>
                    <a:cubicBezTo>
                      <a:pt x="102" y="0"/>
                      <a:pt x="131" y="28"/>
                      <a:pt x="131" y="64"/>
                    </a:cubicBezTo>
                    <a:lnTo>
                      <a:pt x="131" y="535"/>
                    </a:lnTo>
                    <a:lnTo>
                      <a:pt x="390" y="535"/>
                    </a:lnTo>
                    <a:cubicBezTo>
                      <a:pt x="426" y="535"/>
                      <a:pt x="456" y="564"/>
                      <a:pt x="456" y="601"/>
                    </a:cubicBezTo>
                    <a:cubicBezTo>
                      <a:pt x="456" y="637"/>
                      <a:pt x="426" y="666"/>
                      <a:pt x="390" y="666"/>
                    </a:cubicBezTo>
                    <a:lnTo>
                      <a:pt x="131" y="666"/>
                    </a:lnTo>
                    <a:lnTo>
                      <a:pt x="131" y="1408"/>
                    </a:lnTo>
                    <a:lnTo>
                      <a:pt x="390" y="1408"/>
                    </a:lnTo>
                    <a:cubicBezTo>
                      <a:pt x="426" y="1408"/>
                      <a:pt x="456" y="1437"/>
                      <a:pt x="456" y="1473"/>
                    </a:cubicBezTo>
                    <a:cubicBezTo>
                      <a:pt x="456" y="1510"/>
                      <a:pt x="426" y="1539"/>
                      <a:pt x="390" y="1539"/>
                    </a:cubicBezTo>
                    <a:lnTo>
                      <a:pt x="131" y="1539"/>
                    </a:lnTo>
                    <a:lnTo>
                      <a:pt x="131" y="2280"/>
                    </a:lnTo>
                    <a:lnTo>
                      <a:pt x="390" y="2280"/>
                    </a:lnTo>
                    <a:cubicBezTo>
                      <a:pt x="426" y="2280"/>
                      <a:pt x="456" y="2310"/>
                      <a:pt x="456" y="2346"/>
                    </a:cubicBezTo>
                    <a:cubicBezTo>
                      <a:pt x="456" y="2382"/>
                      <a:pt x="426" y="2412"/>
                      <a:pt x="390" y="2412"/>
                    </a:cubicBezTo>
                    <a:lnTo>
                      <a:pt x="131" y="2412"/>
                    </a:lnTo>
                    <a:lnTo>
                      <a:pt x="131" y="3153"/>
                    </a:lnTo>
                    <a:lnTo>
                      <a:pt x="390" y="3153"/>
                    </a:lnTo>
                    <a:cubicBezTo>
                      <a:pt x="426" y="3153"/>
                      <a:pt x="456" y="3183"/>
                      <a:pt x="456" y="3219"/>
                    </a:cubicBezTo>
                    <a:cubicBezTo>
                      <a:pt x="456" y="3255"/>
                      <a:pt x="426" y="3285"/>
                      <a:pt x="390" y="3285"/>
                    </a:cubicBezTo>
                    <a:lnTo>
                      <a:pt x="131" y="3285"/>
                    </a:lnTo>
                    <a:lnTo>
                      <a:pt x="131" y="4026"/>
                    </a:lnTo>
                    <a:lnTo>
                      <a:pt x="390" y="4026"/>
                    </a:lnTo>
                    <a:cubicBezTo>
                      <a:pt x="426" y="4026"/>
                      <a:pt x="456" y="4055"/>
                      <a:pt x="456" y="4092"/>
                    </a:cubicBezTo>
                    <a:cubicBezTo>
                      <a:pt x="456" y="4128"/>
                      <a:pt x="426" y="4157"/>
                      <a:pt x="390" y="4157"/>
                    </a:cubicBezTo>
                    <a:lnTo>
                      <a:pt x="131" y="4157"/>
                    </a:lnTo>
                    <a:lnTo>
                      <a:pt x="131" y="4667"/>
                    </a:lnTo>
                    <a:lnTo>
                      <a:pt x="511" y="4667"/>
                    </a:lnTo>
                    <a:lnTo>
                      <a:pt x="511" y="4351"/>
                    </a:lnTo>
                    <a:cubicBezTo>
                      <a:pt x="511" y="4314"/>
                      <a:pt x="540" y="4285"/>
                      <a:pt x="577" y="4285"/>
                    </a:cubicBezTo>
                    <a:cubicBezTo>
                      <a:pt x="613" y="4285"/>
                      <a:pt x="643" y="4314"/>
                      <a:pt x="643" y="4351"/>
                    </a:cubicBezTo>
                    <a:lnTo>
                      <a:pt x="643" y="4667"/>
                    </a:lnTo>
                    <a:lnTo>
                      <a:pt x="1384" y="4667"/>
                    </a:lnTo>
                    <a:lnTo>
                      <a:pt x="1384" y="4351"/>
                    </a:lnTo>
                    <a:cubicBezTo>
                      <a:pt x="1384" y="4314"/>
                      <a:pt x="1413" y="4285"/>
                      <a:pt x="1450" y="4285"/>
                    </a:cubicBezTo>
                    <a:cubicBezTo>
                      <a:pt x="1486" y="4285"/>
                      <a:pt x="1515" y="4314"/>
                      <a:pt x="1515" y="4351"/>
                    </a:cubicBezTo>
                    <a:lnTo>
                      <a:pt x="1515" y="4667"/>
                    </a:lnTo>
                    <a:lnTo>
                      <a:pt x="2257" y="4667"/>
                    </a:lnTo>
                    <a:lnTo>
                      <a:pt x="2257" y="4351"/>
                    </a:lnTo>
                    <a:cubicBezTo>
                      <a:pt x="2257" y="4314"/>
                      <a:pt x="2286" y="4285"/>
                      <a:pt x="2322" y="4285"/>
                    </a:cubicBezTo>
                    <a:cubicBezTo>
                      <a:pt x="2359" y="4285"/>
                      <a:pt x="2388" y="4314"/>
                      <a:pt x="2388" y="4351"/>
                    </a:cubicBezTo>
                    <a:lnTo>
                      <a:pt x="2388" y="4667"/>
                    </a:lnTo>
                    <a:lnTo>
                      <a:pt x="3129" y="4667"/>
                    </a:lnTo>
                    <a:lnTo>
                      <a:pt x="3129" y="4351"/>
                    </a:lnTo>
                    <a:cubicBezTo>
                      <a:pt x="3129" y="4314"/>
                      <a:pt x="3159" y="4285"/>
                      <a:pt x="3195" y="4285"/>
                    </a:cubicBezTo>
                    <a:cubicBezTo>
                      <a:pt x="3231" y="4285"/>
                      <a:pt x="3261" y="4314"/>
                      <a:pt x="3261" y="4351"/>
                    </a:cubicBezTo>
                    <a:lnTo>
                      <a:pt x="3261" y="4667"/>
                    </a:lnTo>
                    <a:lnTo>
                      <a:pt x="4002" y="4667"/>
                    </a:lnTo>
                    <a:lnTo>
                      <a:pt x="4002" y="4351"/>
                    </a:lnTo>
                    <a:cubicBezTo>
                      <a:pt x="4002" y="4314"/>
                      <a:pt x="4032" y="4285"/>
                      <a:pt x="4068" y="4285"/>
                    </a:cubicBezTo>
                    <a:cubicBezTo>
                      <a:pt x="4104" y="4285"/>
                      <a:pt x="4134" y="4314"/>
                      <a:pt x="4134" y="4351"/>
                    </a:cubicBezTo>
                    <a:lnTo>
                      <a:pt x="4134" y="4667"/>
                    </a:lnTo>
                    <a:lnTo>
                      <a:pt x="4508" y="4667"/>
                    </a:lnTo>
                    <a:cubicBezTo>
                      <a:pt x="4545" y="4667"/>
                      <a:pt x="4574" y="4696"/>
                      <a:pt x="4574" y="4733"/>
                    </a:cubicBezTo>
                    <a:close/>
                  </a:path>
                </a:pathLst>
              </a:custGeom>
              <a:solidFill>
                <a:srgbClr val="5ADFD8"/>
              </a:solidFill>
              <a:ln w="0">
                <a:solidFill>
                  <a:srgbClr val="5ADFD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ADFD8"/>
                  </a:solidFill>
                  <a:effectLst/>
                  <a:uLnTx/>
                  <a:uFillTx/>
                  <a:latin typeface="Calibri" panose="020F0502020204030204"/>
                  <a:ea typeface="+mn-ea"/>
                  <a:cs typeface="+mn-cs"/>
                </a:endParaRPr>
              </a:p>
            </p:txBody>
          </p:sp>
        </p:grpSp>
      </p:grpSp>
      <p:grpSp>
        <p:nvGrpSpPr>
          <p:cNvPr id="40" name="Group 17">
            <a:extLst>
              <a:ext uri="{FF2B5EF4-FFF2-40B4-BE49-F238E27FC236}">
                <a16:creationId xmlns:a16="http://schemas.microsoft.com/office/drawing/2014/main" id="{91175A5E-0086-69A2-37AB-8A93099C9FF2}"/>
              </a:ext>
            </a:extLst>
          </p:cNvPr>
          <p:cNvGrpSpPr/>
          <p:nvPr>
            <p:custDataLst>
              <p:tags r:id="rId8"/>
            </p:custDataLst>
          </p:nvPr>
        </p:nvGrpSpPr>
        <p:grpSpPr>
          <a:xfrm>
            <a:off x="5546462" y="3552932"/>
            <a:ext cx="2036937" cy="287624"/>
            <a:chOff x="5546462" y="3552930"/>
            <a:chExt cx="2036937" cy="287624"/>
          </a:xfrm>
        </p:grpSpPr>
        <p:sp>
          <p:nvSpPr>
            <p:cNvPr id="41" name="TextBox 200">
              <a:extLst>
                <a:ext uri="{FF2B5EF4-FFF2-40B4-BE49-F238E27FC236}">
                  <a16:creationId xmlns:a16="http://schemas.microsoft.com/office/drawing/2014/main" id="{F37466E7-1548-4D1A-F72D-DFB7E72D9DCB}"/>
                </a:ext>
              </a:extLst>
            </p:cNvPr>
            <p:cNvSpPr txBox="1"/>
            <p:nvPr/>
          </p:nvSpPr>
          <p:spPr>
            <a:xfrm>
              <a:off x="5872386" y="3569784"/>
              <a:ext cx="1711013" cy="253916"/>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549FD5"/>
                  </a:solidFill>
                  <a:effectLst/>
                  <a:uLnTx/>
                  <a:uFillTx/>
                  <a:latin typeface="Calibri Light" panose="020F0302020204030204"/>
                  <a:ea typeface="+mn-ea"/>
                  <a:cs typeface="+mn-cs"/>
                </a:rPr>
                <a:t>Déployer automatiquement</a:t>
              </a:r>
            </a:p>
          </p:txBody>
        </p:sp>
        <p:grpSp>
          <p:nvGrpSpPr>
            <p:cNvPr id="42" name="Group 216">
              <a:extLst>
                <a:ext uri="{FF2B5EF4-FFF2-40B4-BE49-F238E27FC236}">
                  <a16:creationId xmlns:a16="http://schemas.microsoft.com/office/drawing/2014/main" id="{27F7DB10-205F-1657-F886-287E4DD75A18}"/>
                </a:ext>
              </a:extLst>
            </p:cNvPr>
            <p:cNvGrpSpPr/>
            <p:nvPr/>
          </p:nvGrpSpPr>
          <p:grpSpPr>
            <a:xfrm>
              <a:off x="5546462" y="3552930"/>
              <a:ext cx="287624" cy="287624"/>
              <a:chOff x="7295316" y="3087880"/>
              <a:chExt cx="382827" cy="382828"/>
            </a:xfrm>
          </p:grpSpPr>
          <p:sp>
            <p:nvSpPr>
              <p:cNvPr id="43" name="Oval 196">
                <a:extLst>
                  <a:ext uri="{FF2B5EF4-FFF2-40B4-BE49-F238E27FC236}">
                    <a16:creationId xmlns:a16="http://schemas.microsoft.com/office/drawing/2014/main" id="{64E633CF-1433-BC7C-3761-68F57C721C62}"/>
                  </a:ext>
                </a:extLst>
              </p:cNvPr>
              <p:cNvSpPr/>
              <p:nvPr/>
            </p:nvSpPr>
            <p:spPr>
              <a:xfrm>
                <a:off x="7295316" y="3087880"/>
                <a:ext cx="382827" cy="382828"/>
              </a:xfrm>
              <a:prstGeom prst="ellipse">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49FD5"/>
                  </a:solidFill>
                  <a:effectLst/>
                  <a:uLnTx/>
                  <a:uFillTx/>
                  <a:latin typeface="Calibri" panose="020F0502020204030204"/>
                  <a:ea typeface="+mn-ea"/>
                  <a:cs typeface="+mn-cs"/>
                </a:endParaRPr>
              </a:p>
            </p:txBody>
          </p:sp>
          <p:sp>
            <p:nvSpPr>
              <p:cNvPr id="44" name="Freeform 16">
                <a:extLst>
                  <a:ext uri="{FF2B5EF4-FFF2-40B4-BE49-F238E27FC236}">
                    <a16:creationId xmlns:a16="http://schemas.microsoft.com/office/drawing/2014/main" id="{F345B58C-3E99-65AD-5ED9-0201DA9E33EA}"/>
                  </a:ext>
                </a:extLst>
              </p:cNvPr>
              <p:cNvSpPr>
                <a:spLocks noChangeAspect="1" noEditPoints="1"/>
              </p:cNvSpPr>
              <p:nvPr/>
            </p:nvSpPr>
            <p:spPr bwMode="auto">
              <a:xfrm>
                <a:off x="7351347" y="3167082"/>
                <a:ext cx="270766" cy="224424"/>
              </a:xfrm>
              <a:custGeom>
                <a:avLst/>
                <a:gdLst>
                  <a:gd name="T0" fmla="*/ 3136 w 4160"/>
                  <a:gd name="T1" fmla="*/ 3427 h 3450"/>
                  <a:gd name="T2" fmla="*/ 945 w 4160"/>
                  <a:gd name="T3" fmla="*/ 3393 h 3450"/>
                  <a:gd name="T4" fmla="*/ 2019 w 4160"/>
                  <a:gd name="T5" fmla="*/ 2827 h 3450"/>
                  <a:gd name="T6" fmla="*/ 2124 w 4160"/>
                  <a:gd name="T7" fmla="*/ 2932 h 3450"/>
                  <a:gd name="T8" fmla="*/ 2079 w 4160"/>
                  <a:gd name="T9" fmla="*/ 2730 h 3450"/>
                  <a:gd name="T10" fmla="*/ 2206 w 4160"/>
                  <a:gd name="T11" fmla="*/ 2933 h 3450"/>
                  <a:gd name="T12" fmla="*/ 1969 w 4160"/>
                  <a:gd name="T13" fmla="*/ 2959 h 3450"/>
                  <a:gd name="T14" fmla="*/ 2047 w 4160"/>
                  <a:gd name="T15" fmla="*/ 2734 h 3450"/>
                  <a:gd name="T16" fmla="*/ 1609 w 4160"/>
                  <a:gd name="T17" fmla="*/ 1595 h 3450"/>
                  <a:gd name="T18" fmla="*/ 1771 w 4160"/>
                  <a:gd name="T19" fmla="*/ 1795 h 3450"/>
                  <a:gd name="T20" fmla="*/ 1934 w 4160"/>
                  <a:gd name="T21" fmla="*/ 1595 h 3450"/>
                  <a:gd name="T22" fmla="*/ 2575 w 4160"/>
                  <a:gd name="T23" fmla="*/ 1164 h 3450"/>
                  <a:gd name="T24" fmla="*/ 2495 w 4160"/>
                  <a:gd name="T25" fmla="*/ 1360 h 3450"/>
                  <a:gd name="T26" fmla="*/ 2695 w 4160"/>
                  <a:gd name="T27" fmla="*/ 1374 h 3450"/>
                  <a:gd name="T28" fmla="*/ 2649 w 4160"/>
                  <a:gd name="T29" fmla="*/ 1172 h 3450"/>
                  <a:gd name="T30" fmla="*/ 1859 w 4160"/>
                  <a:gd name="T31" fmla="*/ 1205 h 3450"/>
                  <a:gd name="T32" fmla="*/ 2104 w 4160"/>
                  <a:gd name="T33" fmla="*/ 1187 h 3450"/>
                  <a:gd name="T34" fmla="*/ 2159 w 4160"/>
                  <a:gd name="T35" fmla="*/ 1438 h 3450"/>
                  <a:gd name="T36" fmla="*/ 2317 w 4160"/>
                  <a:gd name="T37" fmla="*/ 1709 h 3450"/>
                  <a:gd name="T38" fmla="*/ 2214 w 4160"/>
                  <a:gd name="T39" fmla="*/ 1948 h 3450"/>
                  <a:gd name="T40" fmla="*/ 2093 w 4160"/>
                  <a:gd name="T41" fmla="*/ 2073 h 3450"/>
                  <a:gd name="T42" fmla="*/ 1856 w 4160"/>
                  <a:gd name="T43" fmla="*/ 2172 h 3450"/>
                  <a:gd name="T44" fmla="*/ 1630 w 4160"/>
                  <a:gd name="T45" fmla="*/ 2037 h 3450"/>
                  <a:gd name="T46" fmla="*/ 1330 w 4160"/>
                  <a:gd name="T47" fmla="*/ 1962 h 3450"/>
                  <a:gd name="T48" fmla="*/ 1348 w 4160"/>
                  <a:gd name="T49" fmla="*/ 1717 h 3450"/>
                  <a:gd name="T50" fmla="*/ 1232 w 4160"/>
                  <a:gd name="T51" fmla="*/ 1540 h 3450"/>
                  <a:gd name="T52" fmla="*/ 1327 w 4160"/>
                  <a:gd name="T53" fmla="*/ 1302 h 3450"/>
                  <a:gd name="T54" fmla="*/ 1455 w 4160"/>
                  <a:gd name="T55" fmla="*/ 1187 h 3450"/>
                  <a:gd name="T56" fmla="*/ 1694 w 4160"/>
                  <a:gd name="T57" fmla="*/ 1081 h 3450"/>
                  <a:gd name="T58" fmla="*/ 2695 w 4160"/>
                  <a:gd name="T59" fmla="*/ 886 h 3450"/>
                  <a:gd name="T60" fmla="*/ 2820 w 4160"/>
                  <a:gd name="T61" fmla="*/ 939 h 3450"/>
                  <a:gd name="T62" fmla="*/ 2965 w 4160"/>
                  <a:gd name="T63" fmla="*/ 1076 h 3450"/>
                  <a:gd name="T64" fmla="*/ 2925 w 4160"/>
                  <a:gd name="T65" fmla="*/ 1351 h 3450"/>
                  <a:gd name="T66" fmla="*/ 2955 w 4160"/>
                  <a:gd name="T67" fmla="*/ 1510 h 3450"/>
                  <a:gd name="T68" fmla="*/ 2817 w 4160"/>
                  <a:gd name="T69" fmla="*/ 1653 h 3450"/>
                  <a:gd name="T70" fmla="*/ 2579 w 4160"/>
                  <a:gd name="T71" fmla="*/ 1620 h 3450"/>
                  <a:gd name="T72" fmla="*/ 2381 w 4160"/>
                  <a:gd name="T73" fmla="*/ 1649 h 3450"/>
                  <a:gd name="T74" fmla="*/ 2241 w 4160"/>
                  <a:gd name="T75" fmla="*/ 1509 h 3450"/>
                  <a:gd name="T76" fmla="*/ 2270 w 4160"/>
                  <a:gd name="T77" fmla="*/ 1310 h 3450"/>
                  <a:gd name="T78" fmla="*/ 2239 w 4160"/>
                  <a:gd name="T79" fmla="*/ 1072 h 3450"/>
                  <a:gd name="T80" fmla="*/ 2381 w 4160"/>
                  <a:gd name="T81" fmla="*/ 934 h 3450"/>
                  <a:gd name="T82" fmla="*/ 451 w 4160"/>
                  <a:gd name="T83" fmla="*/ 452 h 3450"/>
                  <a:gd name="T84" fmla="*/ 451 w 4160"/>
                  <a:gd name="T85" fmla="*/ 2528 h 3450"/>
                  <a:gd name="T86" fmla="*/ 3735 w 4160"/>
                  <a:gd name="T87" fmla="*/ 2490 h 3450"/>
                  <a:gd name="T88" fmla="*/ 3661 w 4160"/>
                  <a:gd name="T89" fmla="*/ 430 h 3450"/>
                  <a:gd name="T90" fmla="*/ 3806 w 4160"/>
                  <a:gd name="T91" fmla="*/ 394 h 3450"/>
                  <a:gd name="T92" fmla="*/ 3806 w 4160"/>
                  <a:gd name="T93" fmla="*/ 2586 h 3450"/>
                  <a:gd name="T94" fmla="*/ 408 w 4160"/>
                  <a:gd name="T95" fmla="*/ 2634 h 3450"/>
                  <a:gd name="T96" fmla="*/ 313 w 4160"/>
                  <a:gd name="T97" fmla="*/ 461 h 3450"/>
                  <a:gd name="T98" fmla="*/ 237 w 4160"/>
                  <a:gd name="T99" fmla="*/ 115 h 3450"/>
                  <a:gd name="T100" fmla="*/ 116 w 4160"/>
                  <a:gd name="T101" fmla="*/ 2982 h 3450"/>
                  <a:gd name="T102" fmla="*/ 3923 w 4160"/>
                  <a:gd name="T103" fmla="*/ 3103 h 3450"/>
                  <a:gd name="T104" fmla="*/ 4044 w 4160"/>
                  <a:gd name="T105" fmla="*/ 237 h 3450"/>
                  <a:gd name="T106" fmla="*/ 269 w 4160"/>
                  <a:gd name="T107" fmla="*/ 0 h 3450"/>
                  <a:gd name="T108" fmla="*/ 4146 w 4160"/>
                  <a:gd name="T109" fmla="*/ 183 h 3450"/>
                  <a:gd name="T110" fmla="*/ 4050 w 4160"/>
                  <a:gd name="T111" fmla="*/ 3167 h 3450"/>
                  <a:gd name="T112" fmla="*/ 110 w 4160"/>
                  <a:gd name="T113" fmla="*/ 3167 h 3450"/>
                  <a:gd name="T114" fmla="*/ 14 w 4160"/>
                  <a:gd name="T115" fmla="*/ 183 h 3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60" h="3450">
                    <a:moveTo>
                      <a:pt x="1002" y="3336"/>
                    </a:moveTo>
                    <a:lnTo>
                      <a:pt x="3090" y="3336"/>
                    </a:lnTo>
                    <a:lnTo>
                      <a:pt x="3109" y="3340"/>
                    </a:lnTo>
                    <a:lnTo>
                      <a:pt x="3124" y="3348"/>
                    </a:lnTo>
                    <a:lnTo>
                      <a:pt x="3136" y="3360"/>
                    </a:lnTo>
                    <a:lnTo>
                      <a:pt x="3144" y="3376"/>
                    </a:lnTo>
                    <a:lnTo>
                      <a:pt x="3146" y="3393"/>
                    </a:lnTo>
                    <a:lnTo>
                      <a:pt x="3144" y="3412"/>
                    </a:lnTo>
                    <a:lnTo>
                      <a:pt x="3136" y="3427"/>
                    </a:lnTo>
                    <a:lnTo>
                      <a:pt x="3124" y="3440"/>
                    </a:lnTo>
                    <a:lnTo>
                      <a:pt x="3109" y="3447"/>
                    </a:lnTo>
                    <a:lnTo>
                      <a:pt x="3090" y="3450"/>
                    </a:lnTo>
                    <a:lnTo>
                      <a:pt x="1002" y="3450"/>
                    </a:lnTo>
                    <a:lnTo>
                      <a:pt x="985" y="3447"/>
                    </a:lnTo>
                    <a:lnTo>
                      <a:pt x="968" y="3440"/>
                    </a:lnTo>
                    <a:lnTo>
                      <a:pt x="956" y="3427"/>
                    </a:lnTo>
                    <a:lnTo>
                      <a:pt x="948" y="3412"/>
                    </a:lnTo>
                    <a:lnTo>
                      <a:pt x="945" y="3393"/>
                    </a:lnTo>
                    <a:lnTo>
                      <a:pt x="948" y="3376"/>
                    </a:lnTo>
                    <a:lnTo>
                      <a:pt x="956" y="3360"/>
                    </a:lnTo>
                    <a:lnTo>
                      <a:pt x="968" y="3348"/>
                    </a:lnTo>
                    <a:lnTo>
                      <a:pt x="985" y="3340"/>
                    </a:lnTo>
                    <a:lnTo>
                      <a:pt x="1002" y="3336"/>
                    </a:lnTo>
                    <a:close/>
                    <a:moveTo>
                      <a:pt x="2079" y="2797"/>
                    </a:moveTo>
                    <a:lnTo>
                      <a:pt x="2056" y="2800"/>
                    </a:lnTo>
                    <a:lnTo>
                      <a:pt x="2036" y="2811"/>
                    </a:lnTo>
                    <a:lnTo>
                      <a:pt x="2019" y="2827"/>
                    </a:lnTo>
                    <a:lnTo>
                      <a:pt x="2009" y="2847"/>
                    </a:lnTo>
                    <a:lnTo>
                      <a:pt x="2004" y="2871"/>
                    </a:lnTo>
                    <a:lnTo>
                      <a:pt x="2009" y="2895"/>
                    </a:lnTo>
                    <a:lnTo>
                      <a:pt x="2019" y="2915"/>
                    </a:lnTo>
                    <a:lnTo>
                      <a:pt x="2036" y="2932"/>
                    </a:lnTo>
                    <a:lnTo>
                      <a:pt x="2056" y="2942"/>
                    </a:lnTo>
                    <a:lnTo>
                      <a:pt x="2079" y="2945"/>
                    </a:lnTo>
                    <a:lnTo>
                      <a:pt x="2103" y="2942"/>
                    </a:lnTo>
                    <a:lnTo>
                      <a:pt x="2124" y="2932"/>
                    </a:lnTo>
                    <a:lnTo>
                      <a:pt x="2139" y="2915"/>
                    </a:lnTo>
                    <a:lnTo>
                      <a:pt x="2151" y="2895"/>
                    </a:lnTo>
                    <a:lnTo>
                      <a:pt x="2154" y="2871"/>
                    </a:lnTo>
                    <a:lnTo>
                      <a:pt x="2151" y="2847"/>
                    </a:lnTo>
                    <a:lnTo>
                      <a:pt x="2139" y="2827"/>
                    </a:lnTo>
                    <a:lnTo>
                      <a:pt x="2124" y="2811"/>
                    </a:lnTo>
                    <a:lnTo>
                      <a:pt x="2103" y="2800"/>
                    </a:lnTo>
                    <a:lnTo>
                      <a:pt x="2079" y="2797"/>
                    </a:lnTo>
                    <a:close/>
                    <a:moveTo>
                      <a:pt x="2079" y="2730"/>
                    </a:moveTo>
                    <a:lnTo>
                      <a:pt x="2112" y="2734"/>
                    </a:lnTo>
                    <a:lnTo>
                      <a:pt x="2142" y="2744"/>
                    </a:lnTo>
                    <a:lnTo>
                      <a:pt x="2168" y="2761"/>
                    </a:lnTo>
                    <a:lnTo>
                      <a:pt x="2190" y="2783"/>
                    </a:lnTo>
                    <a:lnTo>
                      <a:pt x="2206" y="2809"/>
                    </a:lnTo>
                    <a:lnTo>
                      <a:pt x="2217" y="2838"/>
                    </a:lnTo>
                    <a:lnTo>
                      <a:pt x="2221" y="2871"/>
                    </a:lnTo>
                    <a:lnTo>
                      <a:pt x="2217" y="2904"/>
                    </a:lnTo>
                    <a:lnTo>
                      <a:pt x="2206" y="2933"/>
                    </a:lnTo>
                    <a:lnTo>
                      <a:pt x="2190" y="2959"/>
                    </a:lnTo>
                    <a:lnTo>
                      <a:pt x="2168" y="2981"/>
                    </a:lnTo>
                    <a:lnTo>
                      <a:pt x="2142" y="2997"/>
                    </a:lnTo>
                    <a:lnTo>
                      <a:pt x="2112" y="3009"/>
                    </a:lnTo>
                    <a:lnTo>
                      <a:pt x="2079" y="3012"/>
                    </a:lnTo>
                    <a:lnTo>
                      <a:pt x="2047" y="3009"/>
                    </a:lnTo>
                    <a:lnTo>
                      <a:pt x="2018" y="2997"/>
                    </a:lnTo>
                    <a:lnTo>
                      <a:pt x="1992" y="2981"/>
                    </a:lnTo>
                    <a:lnTo>
                      <a:pt x="1969" y="2959"/>
                    </a:lnTo>
                    <a:lnTo>
                      <a:pt x="1953" y="2933"/>
                    </a:lnTo>
                    <a:lnTo>
                      <a:pt x="1943" y="2904"/>
                    </a:lnTo>
                    <a:lnTo>
                      <a:pt x="1939" y="2871"/>
                    </a:lnTo>
                    <a:lnTo>
                      <a:pt x="1943" y="2838"/>
                    </a:lnTo>
                    <a:lnTo>
                      <a:pt x="1953" y="2809"/>
                    </a:lnTo>
                    <a:lnTo>
                      <a:pt x="1969" y="2783"/>
                    </a:lnTo>
                    <a:lnTo>
                      <a:pt x="1992" y="2761"/>
                    </a:lnTo>
                    <a:lnTo>
                      <a:pt x="2018" y="2744"/>
                    </a:lnTo>
                    <a:lnTo>
                      <a:pt x="2047" y="2734"/>
                    </a:lnTo>
                    <a:lnTo>
                      <a:pt x="2079" y="2730"/>
                    </a:lnTo>
                    <a:close/>
                    <a:moveTo>
                      <a:pt x="1771" y="1462"/>
                    </a:moveTo>
                    <a:lnTo>
                      <a:pt x="1737" y="1466"/>
                    </a:lnTo>
                    <a:lnTo>
                      <a:pt x="1707" y="1475"/>
                    </a:lnTo>
                    <a:lnTo>
                      <a:pt x="1678" y="1490"/>
                    </a:lnTo>
                    <a:lnTo>
                      <a:pt x="1654" y="1511"/>
                    </a:lnTo>
                    <a:lnTo>
                      <a:pt x="1634" y="1535"/>
                    </a:lnTo>
                    <a:lnTo>
                      <a:pt x="1617" y="1564"/>
                    </a:lnTo>
                    <a:lnTo>
                      <a:pt x="1609" y="1595"/>
                    </a:lnTo>
                    <a:lnTo>
                      <a:pt x="1605" y="1629"/>
                    </a:lnTo>
                    <a:lnTo>
                      <a:pt x="1609" y="1661"/>
                    </a:lnTo>
                    <a:lnTo>
                      <a:pt x="1617" y="1693"/>
                    </a:lnTo>
                    <a:lnTo>
                      <a:pt x="1634" y="1721"/>
                    </a:lnTo>
                    <a:lnTo>
                      <a:pt x="1654" y="1746"/>
                    </a:lnTo>
                    <a:lnTo>
                      <a:pt x="1678" y="1766"/>
                    </a:lnTo>
                    <a:lnTo>
                      <a:pt x="1707" y="1781"/>
                    </a:lnTo>
                    <a:lnTo>
                      <a:pt x="1737" y="1791"/>
                    </a:lnTo>
                    <a:lnTo>
                      <a:pt x="1771" y="1795"/>
                    </a:lnTo>
                    <a:lnTo>
                      <a:pt x="1804" y="1791"/>
                    </a:lnTo>
                    <a:lnTo>
                      <a:pt x="1835" y="1781"/>
                    </a:lnTo>
                    <a:lnTo>
                      <a:pt x="1864" y="1766"/>
                    </a:lnTo>
                    <a:lnTo>
                      <a:pt x="1888" y="1746"/>
                    </a:lnTo>
                    <a:lnTo>
                      <a:pt x="1909" y="1721"/>
                    </a:lnTo>
                    <a:lnTo>
                      <a:pt x="1924" y="1693"/>
                    </a:lnTo>
                    <a:lnTo>
                      <a:pt x="1934" y="1661"/>
                    </a:lnTo>
                    <a:lnTo>
                      <a:pt x="1938" y="1629"/>
                    </a:lnTo>
                    <a:lnTo>
                      <a:pt x="1934" y="1595"/>
                    </a:lnTo>
                    <a:lnTo>
                      <a:pt x="1924" y="1564"/>
                    </a:lnTo>
                    <a:lnTo>
                      <a:pt x="1909" y="1535"/>
                    </a:lnTo>
                    <a:lnTo>
                      <a:pt x="1888" y="1511"/>
                    </a:lnTo>
                    <a:lnTo>
                      <a:pt x="1864" y="1490"/>
                    </a:lnTo>
                    <a:lnTo>
                      <a:pt x="1835" y="1475"/>
                    </a:lnTo>
                    <a:lnTo>
                      <a:pt x="1804" y="1466"/>
                    </a:lnTo>
                    <a:lnTo>
                      <a:pt x="1771" y="1462"/>
                    </a:lnTo>
                    <a:close/>
                    <a:moveTo>
                      <a:pt x="2601" y="1163"/>
                    </a:moveTo>
                    <a:lnTo>
                      <a:pt x="2575" y="1164"/>
                    </a:lnTo>
                    <a:lnTo>
                      <a:pt x="2551" y="1172"/>
                    </a:lnTo>
                    <a:lnTo>
                      <a:pt x="2526" y="1186"/>
                    </a:lnTo>
                    <a:lnTo>
                      <a:pt x="2505" y="1206"/>
                    </a:lnTo>
                    <a:lnTo>
                      <a:pt x="2490" y="1229"/>
                    </a:lnTo>
                    <a:lnTo>
                      <a:pt x="2478" y="1254"/>
                    </a:lnTo>
                    <a:lnTo>
                      <a:pt x="2473" y="1282"/>
                    </a:lnTo>
                    <a:lnTo>
                      <a:pt x="2475" y="1310"/>
                    </a:lnTo>
                    <a:lnTo>
                      <a:pt x="2483" y="1339"/>
                    </a:lnTo>
                    <a:lnTo>
                      <a:pt x="2495" y="1360"/>
                    </a:lnTo>
                    <a:lnTo>
                      <a:pt x="2510" y="1380"/>
                    </a:lnTo>
                    <a:lnTo>
                      <a:pt x="2530" y="1395"/>
                    </a:lnTo>
                    <a:lnTo>
                      <a:pt x="2551" y="1407"/>
                    </a:lnTo>
                    <a:lnTo>
                      <a:pt x="2575" y="1414"/>
                    </a:lnTo>
                    <a:lnTo>
                      <a:pt x="2601" y="1417"/>
                    </a:lnTo>
                    <a:lnTo>
                      <a:pt x="2625" y="1414"/>
                    </a:lnTo>
                    <a:lnTo>
                      <a:pt x="2649" y="1408"/>
                    </a:lnTo>
                    <a:lnTo>
                      <a:pt x="2675" y="1393"/>
                    </a:lnTo>
                    <a:lnTo>
                      <a:pt x="2695" y="1374"/>
                    </a:lnTo>
                    <a:lnTo>
                      <a:pt x="2712" y="1351"/>
                    </a:lnTo>
                    <a:lnTo>
                      <a:pt x="2723" y="1326"/>
                    </a:lnTo>
                    <a:lnTo>
                      <a:pt x="2727" y="1298"/>
                    </a:lnTo>
                    <a:lnTo>
                      <a:pt x="2725" y="1269"/>
                    </a:lnTo>
                    <a:lnTo>
                      <a:pt x="2718" y="1241"/>
                    </a:lnTo>
                    <a:lnTo>
                      <a:pt x="2705" y="1219"/>
                    </a:lnTo>
                    <a:lnTo>
                      <a:pt x="2690" y="1199"/>
                    </a:lnTo>
                    <a:lnTo>
                      <a:pt x="2670" y="1183"/>
                    </a:lnTo>
                    <a:lnTo>
                      <a:pt x="2649" y="1172"/>
                    </a:lnTo>
                    <a:lnTo>
                      <a:pt x="2625" y="1164"/>
                    </a:lnTo>
                    <a:lnTo>
                      <a:pt x="2601" y="1163"/>
                    </a:lnTo>
                    <a:close/>
                    <a:moveTo>
                      <a:pt x="1694" y="1081"/>
                    </a:moveTo>
                    <a:lnTo>
                      <a:pt x="1848" y="1081"/>
                    </a:lnTo>
                    <a:lnTo>
                      <a:pt x="1852" y="1083"/>
                    </a:lnTo>
                    <a:lnTo>
                      <a:pt x="1856" y="1085"/>
                    </a:lnTo>
                    <a:lnTo>
                      <a:pt x="1858" y="1089"/>
                    </a:lnTo>
                    <a:lnTo>
                      <a:pt x="1859" y="1093"/>
                    </a:lnTo>
                    <a:lnTo>
                      <a:pt x="1859" y="1205"/>
                    </a:lnTo>
                    <a:lnTo>
                      <a:pt x="1911" y="1220"/>
                    </a:lnTo>
                    <a:lnTo>
                      <a:pt x="1962" y="1240"/>
                    </a:lnTo>
                    <a:lnTo>
                      <a:pt x="2008" y="1267"/>
                    </a:lnTo>
                    <a:lnTo>
                      <a:pt x="2086" y="1187"/>
                    </a:lnTo>
                    <a:lnTo>
                      <a:pt x="2090" y="1185"/>
                    </a:lnTo>
                    <a:lnTo>
                      <a:pt x="2094" y="1185"/>
                    </a:lnTo>
                    <a:lnTo>
                      <a:pt x="2098" y="1185"/>
                    </a:lnTo>
                    <a:lnTo>
                      <a:pt x="2100" y="1185"/>
                    </a:lnTo>
                    <a:lnTo>
                      <a:pt x="2104" y="1187"/>
                    </a:lnTo>
                    <a:lnTo>
                      <a:pt x="2212" y="1296"/>
                    </a:lnTo>
                    <a:lnTo>
                      <a:pt x="2214" y="1298"/>
                    </a:lnTo>
                    <a:lnTo>
                      <a:pt x="2215" y="1301"/>
                    </a:lnTo>
                    <a:lnTo>
                      <a:pt x="2215" y="1305"/>
                    </a:lnTo>
                    <a:lnTo>
                      <a:pt x="2215" y="1307"/>
                    </a:lnTo>
                    <a:lnTo>
                      <a:pt x="2214" y="1310"/>
                    </a:lnTo>
                    <a:lnTo>
                      <a:pt x="2212" y="1312"/>
                    </a:lnTo>
                    <a:lnTo>
                      <a:pt x="2133" y="1392"/>
                    </a:lnTo>
                    <a:lnTo>
                      <a:pt x="2159" y="1438"/>
                    </a:lnTo>
                    <a:lnTo>
                      <a:pt x="2180" y="1487"/>
                    </a:lnTo>
                    <a:lnTo>
                      <a:pt x="2193" y="1540"/>
                    </a:lnTo>
                    <a:lnTo>
                      <a:pt x="2306" y="1540"/>
                    </a:lnTo>
                    <a:lnTo>
                      <a:pt x="2311" y="1540"/>
                    </a:lnTo>
                    <a:lnTo>
                      <a:pt x="2314" y="1544"/>
                    </a:lnTo>
                    <a:lnTo>
                      <a:pt x="2317" y="1548"/>
                    </a:lnTo>
                    <a:lnTo>
                      <a:pt x="2318" y="1552"/>
                    </a:lnTo>
                    <a:lnTo>
                      <a:pt x="2318" y="1704"/>
                    </a:lnTo>
                    <a:lnTo>
                      <a:pt x="2317" y="1709"/>
                    </a:lnTo>
                    <a:lnTo>
                      <a:pt x="2314" y="1713"/>
                    </a:lnTo>
                    <a:lnTo>
                      <a:pt x="2311" y="1716"/>
                    </a:lnTo>
                    <a:lnTo>
                      <a:pt x="2306" y="1717"/>
                    </a:lnTo>
                    <a:lnTo>
                      <a:pt x="2193" y="1717"/>
                    </a:lnTo>
                    <a:lnTo>
                      <a:pt x="2180" y="1769"/>
                    </a:lnTo>
                    <a:lnTo>
                      <a:pt x="2159" y="1819"/>
                    </a:lnTo>
                    <a:lnTo>
                      <a:pt x="2133" y="1865"/>
                    </a:lnTo>
                    <a:lnTo>
                      <a:pt x="2212" y="1944"/>
                    </a:lnTo>
                    <a:lnTo>
                      <a:pt x="2214" y="1948"/>
                    </a:lnTo>
                    <a:lnTo>
                      <a:pt x="2215" y="1950"/>
                    </a:lnTo>
                    <a:lnTo>
                      <a:pt x="2215" y="1954"/>
                    </a:lnTo>
                    <a:lnTo>
                      <a:pt x="2214" y="1958"/>
                    </a:lnTo>
                    <a:lnTo>
                      <a:pt x="2212" y="1962"/>
                    </a:lnTo>
                    <a:lnTo>
                      <a:pt x="2104" y="2070"/>
                    </a:lnTo>
                    <a:lnTo>
                      <a:pt x="2101" y="2071"/>
                    </a:lnTo>
                    <a:lnTo>
                      <a:pt x="2099" y="2073"/>
                    </a:lnTo>
                    <a:lnTo>
                      <a:pt x="2095" y="2073"/>
                    </a:lnTo>
                    <a:lnTo>
                      <a:pt x="2093" y="2073"/>
                    </a:lnTo>
                    <a:lnTo>
                      <a:pt x="2089" y="2071"/>
                    </a:lnTo>
                    <a:lnTo>
                      <a:pt x="2086" y="2070"/>
                    </a:lnTo>
                    <a:lnTo>
                      <a:pt x="2008" y="1991"/>
                    </a:lnTo>
                    <a:lnTo>
                      <a:pt x="1962" y="2017"/>
                    </a:lnTo>
                    <a:lnTo>
                      <a:pt x="1911" y="2037"/>
                    </a:lnTo>
                    <a:lnTo>
                      <a:pt x="1859" y="2051"/>
                    </a:lnTo>
                    <a:lnTo>
                      <a:pt x="1859" y="2163"/>
                    </a:lnTo>
                    <a:lnTo>
                      <a:pt x="1858" y="2169"/>
                    </a:lnTo>
                    <a:lnTo>
                      <a:pt x="1856" y="2172"/>
                    </a:lnTo>
                    <a:lnTo>
                      <a:pt x="1852" y="2175"/>
                    </a:lnTo>
                    <a:lnTo>
                      <a:pt x="1848" y="2176"/>
                    </a:lnTo>
                    <a:lnTo>
                      <a:pt x="1694" y="2176"/>
                    </a:lnTo>
                    <a:lnTo>
                      <a:pt x="1690" y="2175"/>
                    </a:lnTo>
                    <a:lnTo>
                      <a:pt x="1687" y="2172"/>
                    </a:lnTo>
                    <a:lnTo>
                      <a:pt x="1684" y="2169"/>
                    </a:lnTo>
                    <a:lnTo>
                      <a:pt x="1683" y="2163"/>
                    </a:lnTo>
                    <a:lnTo>
                      <a:pt x="1683" y="2051"/>
                    </a:lnTo>
                    <a:lnTo>
                      <a:pt x="1630" y="2037"/>
                    </a:lnTo>
                    <a:lnTo>
                      <a:pt x="1581" y="2017"/>
                    </a:lnTo>
                    <a:lnTo>
                      <a:pt x="1534" y="1991"/>
                    </a:lnTo>
                    <a:lnTo>
                      <a:pt x="1455" y="2070"/>
                    </a:lnTo>
                    <a:lnTo>
                      <a:pt x="1452" y="2071"/>
                    </a:lnTo>
                    <a:lnTo>
                      <a:pt x="1448" y="2073"/>
                    </a:lnTo>
                    <a:lnTo>
                      <a:pt x="1445" y="2073"/>
                    </a:lnTo>
                    <a:lnTo>
                      <a:pt x="1441" y="2071"/>
                    </a:lnTo>
                    <a:lnTo>
                      <a:pt x="1438" y="2070"/>
                    </a:lnTo>
                    <a:lnTo>
                      <a:pt x="1330" y="1962"/>
                    </a:lnTo>
                    <a:lnTo>
                      <a:pt x="1327" y="1958"/>
                    </a:lnTo>
                    <a:lnTo>
                      <a:pt x="1327" y="1954"/>
                    </a:lnTo>
                    <a:lnTo>
                      <a:pt x="1327" y="1950"/>
                    </a:lnTo>
                    <a:lnTo>
                      <a:pt x="1327" y="1948"/>
                    </a:lnTo>
                    <a:lnTo>
                      <a:pt x="1330" y="1944"/>
                    </a:lnTo>
                    <a:lnTo>
                      <a:pt x="1409" y="1865"/>
                    </a:lnTo>
                    <a:lnTo>
                      <a:pt x="1383" y="1819"/>
                    </a:lnTo>
                    <a:lnTo>
                      <a:pt x="1363" y="1769"/>
                    </a:lnTo>
                    <a:lnTo>
                      <a:pt x="1348" y="1717"/>
                    </a:lnTo>
                    <a:lnTo>
                      <a:pt x="1237" y="1717"/>
                    </a:lnTo>
                    <a:lnTo>
                      <a:pt x="1232" y="1716"/>
                    </a:lnTo>
                    <a:lnTo>
                      <a:pt x="1228" y="1713"/>
                    </a:lnTo>
                    <a:lnTo>
                      <a:pt x="1225" y="1709"/>
                    </a:lnTo>
                    <a:lnTo>
                      <a:pt x="1224" y="1704"/>
                    </a:lnTo>
                    <a:lnTo>
                      <a:pt x="1224" y="1552"/>
                    </a:lnTo>
                    <a:lnTo>
                      <a:pt x="1225" y="1548"/>
                    </a:lnTo>
                    <a:lnTo>
                      <a:pt x="1228" y="1544"/>
                    </a:lnTo>
                    <a:lnTo>
                      <a:pt x="1232" y="1540"/>
                    </a:lnTo>
                    <a:lnTo>
                      <a:pt x="1237" y="1540"/>
                    </a:lnTo>
                    <a:lnTo>
                      <a:pt x="1348" y="1540"/>
                    </a:lnTo>
                    <a:lnTo>
                      <a:pt x="1363" y="1487"/>
                    </a:lnTo>
                    <a:lnTo>
                      <a:pt x="1383" y="1438"/>
                    </a:lnTo>
                    <a:lnTo>
                      <a:pt x="1409" y="1392"/>
                    </a:lnTo>
                    <a:lnTo>
                      <a:pt x="1330" y="1312"/>
                    </a:lnTo>
                    <a:lnTo>
                      <a:pt x="1327" y="1310"/>
                    </a:lnTo>
                    <a:lnTo>
                      <a:pt x="1327" y="1306"/>
                    </a:lnTo>
                    <a:lnTo>
                      <a:pt x="1327" y="1302"/>
                    </a:lnTo>
                    <a:lnTo>
                      <a:pt x="1327" y="1298"/>
                    </a:lnTo>
                    <a:lnTo>
                      <a:pt x="1330" y="1296"/>
                    </a:lnTo>
                    <a:lnTo>
                      <a:pt x="1438" y="1187"/>
                    </a:lnTo>
                    <a:lnTo>
                      <a:pt x="1441" y="1186"/>
                    </a:lnTo>
                    <a:lnTo>
                      <a:pt x="1443" y="1185"/>
                    </a:lnTo>
                    <a:lnTo>
                      <a:pt x="1447" y="1183"/>
                    </a:lnTo>
                    <a:lnTo>
                      <a:pt x="1450" y="1185"/>
                    </a:lnTo>
                    <a:lnTo>
                      <a:pt x="1452" y="1186"/>
                    </a:lnTo>
                    <a:lnTo>
                      <a:pt x="1455" y="1187"/>
                    </a:lnTo>
                    <a:lnTo>
                      <a:pt x="1534" y="1267"/>
                    </a:lnTo>
                    <a:lnTo>
                      <a:pt x="1581" y="1240"/>
                    </a:lnTo>
                    <a:lnTo>
                      <a:pt x="1630" y="1220"/>
                    </a:lnTo>
                    <a:lnTo>
                      <a:pt x="1683" y="1205"/>
                    </a:lnTo>
                    <a:lnTo>
                      <a:pt x="1683" y="1093"/>
                    </a:lnTo>
                    <a:lnTo>
                      <a:pt x="1684" y="1089"/>
                    </a:lnTo>
                    <a:lnTo>
                      <a:pt x="1687" y="1085"/>
                    </a:lnTo>
                    <a:lnTo>
                      <a:pt x="1690" y="1083"/>
                    </a:lnTo>
                    <a:lnTo>
                      <a:pt x="1694" y="1081"/>
                    </a:lnTo>
                    <a:close/>
                    <a:moveTo>
                      <a:pt x="2499" y="881"/>
                    </a:moveTo>
                    <a:lnTo>
                      <a:pt x="2502" y="881"/>
                    </a:lnTo>
                    <a:lnTo>
                      <a:pt x="2505" y="883"/>
                    </a:lnTo>
                    <a:lnTo>
                      <a:pt x="2507" y="886"/>
                    </a:lnTo>
                    <a:lnTo>
                      <a:pt x="2540" y="965"/>
                    </a:lnTo>
                    <a:lnTo>
                      <a:pt x="2580" y="960"/>
                    </a:lnTo>
                    <a:lnTo>
                      <a:pt x="2622" y="960"/>
                    </a:lnTo>
                    <a:lnTo>
                      <a:pt x="2662" y="965"/>
                    </a:lnTo>
                    <a:lnTo>
                      <a:pt x="2695" y="886"/>
                    </a:lnTo>
                    <a:lnTo>
                      <a:pt x="2696" y="883"/>
                    </a:lnTo>
                    <a:lnTo>
                      <a:pt x="2700" y="881"/>
                    </a:lnTo>
                    <a:lnTo>
                      <a:pt x="2704" y="881"/>
                    </a:lnTo>
                    <a:lnTo>
                      <a:pt x="2707" y="881"/>
                    </a:lnTo>
                    <a:lnTo>
                      <a:pt x="2815" y="926"/>
                    </a:lnTo>
                    <a:lnTo>
                      <a:pt x="2817" y="929"/>
                    </a:lnTo>
                    <a:lnTo>
                      <a:pt x="2820" y="931"/>
                    </a:lnTo>
                    <a:lnTo>
                      <a:pt x="2820" y="935"/>
                    </a:lnTo>
                    <a:lnTo>
                      <a:pt x="2820" y="939"/>
                    </a:lnTo>
                    <a:lnTo>
                      <a:pt x="2787" y="1017"/>
                    </a:lnTo>
                    <a:lnTo>
                      <a:pt x="2819" y="1042"/>
                    </a:lnTo>
                    <a:lnTo>
                      <a:pt x="2848" y="1071"/>
                    </a:lnTo>
                    <a:lnTo>
                      <a:pt x="2873" y="1104"/>
                    </a:lnTo>
                    <a:lnTo>
                      <a:pt x="2952" y="1071"/>
                    </a:lnTo>
                    <a:lnTo>
                      <a:pt x="2956" y="1071"/>
                    </a:lnTo>
                    <a:lnTo>
                      <a:pt x="2960" y="1071"/>
                    </a:lnTo>
                    <a:lnTo>
                      <a:pt x="2962" y="1074"/>
                    </a:lnTo>
                    <a:lnTo>
                      <a:pt x="2965" y="1076"/>
                    </a:lnTo>
                    <a:lnTo>
                      <a:pt x="3009" y="1185"/>
                    </a:lnTo>
                    <a:lnTo>
                      <a:pt x="3010" y="1188"/>
                    </a:lnTo>
                    <a:lnTo>
                      <a:pt x="3009" y="1191"/>
                    </a:lnTo>
                    <a:lnTo>
                      <a:pt x="3007" y="1195"/>
                    </a:lnTo>
                    <a:lnTo>
                      <a:pt x="3004" y="1196"/>
                    </a:lnTo>
                    <a:lnTo>
                      <a:pt x="2925" y="1229"/>
                    </a:lnTo>
                    <a:lnTo>
                      <a:pt x="2930" y="1270"/>
                    </a:lnTo>
                    <a:lnTo>
                      <a:pt x="2930" y="1311"/>
                    </a:lnTo>
                    <a:lnTo>
                      <a:pt x="2925" y="1351"/>
                    </a:lnTo>
                    <a:lnTo>
                      <a:pt x="3004" y="1384"/>
                    </a:lnTo>
                    <a:lnTo>
                      <a:pt x="3007" y="1386"/>
                    </a:lnTo>
                    <a:lnTo>
                      <a:pt x="3009" y="1389"/>
                    </a:lnTo>
                    <a:lnTo>
                      <a:pt x="3009" y="1393"/>
                    </a:lnTo>
                    <a:lnTo>
                      <a:pt x="3009" y="1397"/>
                    </a:lnTo>
                    <a:lnTo>
                      <a:pt x="2964" y="1505"/>
                    </a:lnTo>
                    <a:lnTo>
                      <a:pt x="2962" y="1508"/>
                    </a:lnTo>
                    <a:lnTo>
                      <a:pt x="2959" y="1509"/>
                    </a:lnTo>
                    <a:lnTo>
                      <a:pt x="2955" y="1510"/>
                    </a:lnTo>
                    <a:lnTo>
                      <a:pt x="2952" y="1509"/>
                    </a:lnTo>
                    <a:lnTo>
                      <a:pt x="2873" y="1476"/>
                    </a:lnTo>
                    <a:lnTo>
                      <a:pt x="2848" y="1509"/>
                    </a:lnTo>
                    <a:lnTo>
                      <a:pt x="2819" y="1538"/>
                    </a:lnTo>
                    <a:lnTo>
                      <a:pt x="2786" y="1563"/>
                    </a:lnTo>
                    <a:lnTo>
                      <a:pt x="2819" y="1643"/>
                    </a:lnTo>
                    <a:lnTo>
                      <a:pt x="2820" y="1646"/>
                    </a:lnTo>
                    <a:lnTo>
                      <a:pt x="2819" y="1649"/>
                    </a:lnTo>
                    <a:lnTo>
                      <a:pt x="2817" y="1653"/>
                    </a:lnTo>
                    <a:lnTo>
                      <a:pt x="2814" y="1654"/>
                    </a:lnTo>
                    <a:lnTo>
                      <a:pt x="2707" y="1699"/>
                    </a:lnTo>
                    <a:lnTo>
                      <a:pt x="2703" y="1699"/>
                    </a:lnTo>
                    <a:lnTo>
                      <a:pt x="2699" y="1699"/>
                    </a:lnTo>
                    <a:lnTo>
                      <a:pt x="2696" y="1697"/>
                    </a:lnTo>
                    <a:lnTo>
                      <a:pt x="2694" y="1694"/>
                    </a:lnTo>
                    <a:lnTo>
                      <a:pt x="2661" y="1615"/>
                    </a:lnTo>
                    <a:lnTo>
                      <a:pt x="2621" y="1620"/>
                    </a:lnTo>
                    <a:lnTo>
                      <a:pt x="2579" y="1620"/>
                    </a:lnTo>
                    <a:lnTo>
                      <a:pt x="2539" y="1615"/>
                    </a:lnTo>
                    <a:lnTo>
                      <a:pt x="2506" y="1693"/>
                    </a:lnTo>
                    <a:lnTo>
                      <a:pt x="2504" y="1697"/>
                    </a:lnTo>
                    <a:lnTo>
                      <a:pt x="2501" y="1698"/>
                    </a:lnTo>
                    <a:lnTo>
                      <a:pt x="2497" y="1699"/>
                    </a:lnTo>
                    <a:lnTo>
                      <a:pt x="2493" y="1698"/>
                    </a:lnTo>
                    <a:lnTo>
                      <a:pt x="2386" y="1654"/>
                    </a:lnTo>
                    <a:lnTo>
                      <a:pt x="2383" y="1651"/>
                    </a:lnTo>
                    <a:lnTo>
                      <a:pt x="2381" y="1649"/>
                    </a:lnTo>
                    <a:lnTo>
                      <a:pt x="2380" y="1645"/>
                    </a:lnTo>
                    <a:lnTo>
                      <a:pt x="2381" y="1641"/>
                    </a:lnTo>
                    <a:lnTo>
                      <a:pt x="2414" y="1563"/>
                    </a:lnTo>
                    <a:lnTo>
                      <a:pt x="2381" y="1538"/>
                    </a:lnTo>
                    <a:lnTo>
                      <a:pt x="2352" y="1509"/>
                    </a:lnTo>
                    <a:lnTo>
                      <a:pt x="2327" y="1476"/>
                    </a:lnTo>
                    <a:lnTo>
                      <a:pt x="2248" y="1509"/>
                    </a:lnTo>
                    <a:lnTo>
                      <a:pt x="2245" y="1509"/>
                    </a:lnTo>
                    <a:lnTo>
                      <a:pt x="2241" y="1509"/>
                    </a:lnTo>
                    <a:lnTo>
                      <a:pt x="2238" y="1506"/>
                    </a:lnTo>
                    <a:lnTo>
                      <a:pt x="2236" y="1504"/>
                    </a:lnTo>
                    <a:lnTo>
                      <a:pt x="2192" y="1395"/>
                    </a:lnTo>
                    <a:lnTo>
                      <a:pt x="2191" y="1392"/>
                    </a:lnTo>
                    <a:lnTo>
                      <a:pt x="2192" y="1389"/>
                    </a:lnTo>
                    <a:lnTo>
                      <a:pt x="2193" y="1385"/>
                    </a:lnTo>
                    <a:lnTo>
                      <a:pt x="2197" y="1384"/>
                    </a:lnTo>
                    <a:lnTo>
                      <a:pt x="2275" y="1351"/>
                    </a:lnTo>
                    <a:lnTo>
                      <a:pt x="2270" y="1310"/>
                    </a:lnTo>
                    <a:lnTo>
                      <a:pt x="2270" y="1269"/>
                    </a:lnTo>
                    <a:lnTo>
                      <a:pt x="2275" y="1228"/>
                    </a:lnTo>
                    <a:lnTo>
                      <a:pt x="2197" y="1195"/>
                    </a:lnTo>
                    <a:lnTo>
                      <a:pt x="2193" y="1194"/>
                    </a:lnTo>
                    <a:lnTo>
                      <a:pt x="2192" y="1191"/>
                    </a:lnTo>
                    <a:lnTo>
                      <a:pt x="2191" y="1187"/>
                    </a:lnTo>
                    <a:lnTo>
                      <a:pt x="2192" y="1183"/>
                    </a:lnTo>
                    <a:lnTo>
                      <a:pt x="2236" y="1075"/>
                    </a:lnTo>
                    <a:lnTo>
                      <a:pt x="2239" y="1072"/>
                    </a:lnTo>
                    <a:lnTo>
                      <a:pt x="2241" y="1070"/>
                    </a:lnTo>
                    <a:lnTo>
                      <a:pt x="2245" y="1070"/>
                    </a:lnTo>
                    <a:lnTo>
                      <a:pt x="2249" y="1070"/>
                    </a:lnTo>
                    <a:lnTo>
                      <a:pt x="2328" y="1103"/>
                    </a:lnTo>
                    <a:lnTo>
                      <a:pt x="2354" y="1071"/>
                    </a:lnTo>
                    <a:lnTo>
                      <a:pt x="2383" y="1042"/>
                    </a:lnTo>
                    <a:lnTo>
                      <a:pt x="2414" y="1017"/>
                    </a:lnTo>
                    <a:lnTo>
                      <a:pt x="2383" y="937"/>
                    </a:lnTo>
                    <a:lnTo>
                      <a:pt x="2381" y="934"/>
                    </a:lnTo>
                    <a:lnTo>
                      <a:pt x="2383" y="930"/>
                    </a:lnTo>
                    <a:lnTo>
                      <a:pt x="2384" y="927"/>
                    </a:lnTo>
                    <a:lnTo>
                      <a:pt x="2388" y="926"/>
                    </a:lnTo>
                    <a:lnTo>
                      <a:pt x="2495" y="881"/>
                    </a:lnTo>
                    <a:lnTo>
                      <a:pt x="2499" y="881"/>
                    </a:lnTo>
                    <a:close/>
                    <a:moveTo>
                      <a:pt x="521" y="428"/>
                    </a:moveTo>
                    <a:lnTo>
                      <a:pt x="495" y="430"/>
                    </a:lnTo>
                    <a:lnTo>
                      <a:pt x="473" y="439"/>
                    </a:lnTo>
                    <a:lnTo>
                      <a:pt x="451" y="452"/>
                    </a:lnTo>
                    <a:lnTo>
                      <a:pt x="435" y="470"/>
                    </a:lnTo>
                    <a:lnTo>
                      <a:pt x="422" y="490"/>
                    </a:lnTo>
                    <a:lnTo>
                      <a:pt x="413" y="512"/>
                    </a:lnTo>
                    <a:lnTo>
                      <a:pt x="411" y="538"/>
                    </a:lnTo>
                    <a:lnTo>
                      <a:pt x="411" y="2442"/>
                    </a:lnTo>
                    <a:lnTo>
                      <a:pt x="413" y="2467"/>
                    </a:lnTo>
                    <a:lnTo>
                      <a:pt x="422" y="2490"/>
                    </a:lnTo>
                    <a:lnTo>
                      <a:pt x="435" y="2510"/>
                    </a:lnTo>
                    <a:lnTo>
                      <a:pt x="451" y="2528"/>
                    </a:lnTo>
                    <a:lnTo>
                      <a:pt x="473" y="2541"/>
                    </a:lnTo>
                    <a:lnTo>
                      <a:pt x="495" y="2549"/>
                    </a:lnTo>
                    <a:lnTo>
                      <a:pt x="521" y="2552"/>
                    </a:lnTo>
                    <a:lnTo>
                      <a:pt x="3636" y="2552"/>
                    </a:lnTo>
                    <a:lnTo>
                      <a:pt x="3661" y="2549"/>
                    </a:lnTo>
                    <a:lnTo>
                      <a:pt x="3685" y="2541"/>
                    </a:lnTo>
                    <a:lnTo>
                      <a:pt x="3705" y="2528"/>
                    </a:lnTo>
                    <a:lnTo>
                      <a:pt x="3721" y="2510"/>
                    </a:lnTo>
                    <a:lnTo>
                      <a:pt x="3735" y="2490"/>
                    </a:lnTo>
                    <a:lnTo>
                      <a:pt x="3743" y="2467"/>
                    </a:lnTo>
                    <a:lnTo>
                      <a:pt x="3745" y="2442"/>
                    </a:lnTo>
                    <a:lnTo>
                      <a:pt x="3745" y="538"/>
                    </a:lnTo>
                    <a:lnTo>
                      <a:pt x="3743" y="512"/>
                    </a:lnTo>
                    <a:lnTo>
                      <a:pt x="3735" y="490"/>
                    </a:lnTo>
                    <a:lnTo>
                      <a:pt x="3721" y="470"/>
                    </a:lnTo>
                    <a:lnTo>
                      <a:pt x="3705" y="452"/>
                    </a:lnTo>
                    <a:lnTo>
                      <a:pt x="3685" y="439"/>
                    </a:lnTo>
                    <a:lnTo>
                      <a:pt x="3661" y="430"/>
                    </a:lnTo>
                    <a:lnTo>
                      <a:pt x="3636" y="428"/>
                    </a:lnTo>
                    <a:lnTo>
                      <a:pt x="521" y="428"/>
                    </a:lnTo>
                    <a:close/>
                    <a:moveTo>
                      <a:pt x="521" y="316"/>
                    </a:moveTo>
                    <a:lnTo>
                      <a:pt x="3636" y="316"/>
                    </a:lnTo>
                    <a:lnTo>
                      <a:pt x="3676" y="318"/>
                    </a:lnTo>
                    <a:lnTo>
                      <a:pt x="3714" y="330"/>
                    </a:lnTo>
                    <a:lnTo>
                      <a:pt x="3748" y="346"/>
                    </a:lnTo>
                    <a:lnTo>
                      <a:pt x="3779" y="367"/>
                    </a:lnTo>
                    <a:lnTo>
                      <a:pt x="3806" y="394"/>
                    </a:lnTo>
                    <a:lnTo>
                      <a:pt x="3828" y="425"/>
                    </a:lnTo>
                    <a:lnTo>
                      <a:pt x="3845" y="461"/>
                    </a:lnTo>
                    <a:lnTo>
                      <a:pt x="3855" y="497"/>
                    </a:lnTo>
                    <a:lnTo>
                      <a:pt x="3859" y="538"/>
                    </a:lnTo>
                    <a:lnTo>
                      <a:pt x="3859" y="2442"/>
                    </a:lnTo>
                    <a:lnTo>
                      <a:pt x="3855" y="2483"/>
                    </a:lnTo>
                    <a:lnTo>
                      <a:pt x="3845" y="2519"/>
                    </a:lnTo>
                    <a:lnTo>
                      <a:pt x="3828" y="2554"/>
                    </a:lnTo>
                    <a:lnTo>
                      <a:pt x="3806" y="2586"/>
                    </a:lnTo>
                    <a:lnTo>
                      <a:pt x="3779" y="2612"/>
                    </a:lnTo>
                    <a:lnTo>
                      <a:pt x="3748" y="2634"/>
                    </a:lnTo>
                    <a:lnTo>
                      <a:pt x="3714" y="2650"/>
                    </a:lnTo>
                    <a:lnTo>
                      <a:pt x="3676" y="2662"/>
                    </a:lnTo>
                    <a:lnTo>
                      <a:pt x="3636" y="2664"/>
                    </a:lnTo>
                    <a:lnTo>
                      <a:pt x="521" y="2664"/>
                    </a:lnTo>
                    <a:lnTo>
                      <a:pt x="480" y="2662"/>
                    </a:lnTo>
                    <a:lnTo>
                      <a:pt x="442" y="2650"/>
                    </a:lnTo>
                    <a:lnTo>
                      <a:pt x="408" y="2634"/>
                    </a:lnTo>
                    <a:lnTo>
                      <a:pt x="377" y="2612"/>
                    </a:lnTo>
                    <a:lnTo>
                      <a:pt x="350" y="2586"/>
                    </a:lnTo>
                    <a:lnTo>
                      <a:pt x="329" y="2554"/>
                    </a:lnTo>
                    <a:lnTo>
                      <a:pt x="313" y="2519"/>
                    </a:lnTo>
                    <a:lnTo>
                      <a:pt x="301" y="2483"/>
                    </a:lnTo>
                    <a:lnTo>
                      <a:pt x="298" y="2442"/>
                    </a:lnTo>
                    <a:lnTo>
                      <a:pt x="298" y="538"/>
                    </a:lnTo>
                    <a:lnTo>
                      <a:pt x="301" y="497"/>
                    </a:lnTo>
                    <a:lnTo>
                      <a:pt x="313" y="461"/>
                    </a:lnTo>
                    <a:lnTo>
                      <a:pt x="329" y="425"/>
                    </a:lnTo>
                    <a:lnTo>
                      <a:pt x="350" y="394"/>
                    </a:lnTo>
                    <a:lnTo>
                      <a:pt x="377" y="367"/>
                    </a:lnTo>
                    <a:lnTo>
                      <a:pt x="408" y="346"/>
                    </a:lnTo>
                    <a:lnTo>
                      <a:pt x="442" y="330"/>
                    </a:lnTo>
                    <a:lnTo>
                      <a:pt x="480" y="318"/>
                    </a:lnTo>
                    <a:lnTo>
                      <a:pt x="521" y="316"/>
                    </a:lnTo>
                    <a:close/>
                    <a:moveTo>
                      <a:pt x="269" y="113"/>
                    </a:moveTo>
                    <a:lnTo>
                      <a:pt x="237" y="115"/>
                    </a:lnTo>
                    <a:lnTo>
                      <a:pt x="208" y="125"/>
                    </a:lnTo>
                    <a:lnTo>
                      <a:pt x="182" y="139"/>
                    </a:lnTo>
                    <a:lnTo>
                      <a:pt x="159" y="158"/>
                    </a:lnTo>
                    <a:lnTo>
                      <a:pt x="140" y="181"/>
                    </a:lnTo>
                    <a:lnTo>
                      <a:pt x="125" y="207"/>
                    </a:lnTo>
                    <a:lnTo>
                      <a:pt x="116" y="237"/>
                    </a:lnTo>
                    <a:lnTo>
                      <a:pt x="112" y="269"/>
                    </a:lnTo>
                    <a:lnTo>
                      <a:pt x="112" y="2951"/>
                    </a:lnTo>
                    <a:lnTo>
                      <a:pt x="116" y="2982"/>
                    </a:lnTo>
                    <a:lnTo>
                      <a:pt x="125" y="3011"/>
                    </a:lnTo>
                    <a:lnTo>
                      <a:pt x="140" y="3038"/>
                    </a:lnTo>
                    <a:lnTo>
                      <a:pt x="159" y="3060"/>
                    </a:lnTo>
                    <a:lnTo>
                      <a:pt x="182" y="3080"/>
                    </a:lnTo>
                    <a:lnTo>
                      <a:pt x="208" y="3094"/>
                    </a:lnTo>
                    <a:lnTo>
                      <a:pt x="237" y="3103"/>
                    </a:lnTo>
                    <a:lnTo>
                      <a:pt x="269" y="3107"/>
                    </a:lnTo>
                    <a:lnTo>
                      <a:pt x="3891" y="3107"/>
                    </a:lnTo>
                    <a:lnTo>
                      <a:pt x="3923" y="3103"/>
                    </a:lnTo>
                    <a:lnTo>
                      <a:pt x="3952" y="3094"/>
                    </a:lnTo>
                    <a:lnTo>
                      <a:pt x="3978" y="3080"/>
                    </a:lnTo>
                    <a:lnTo>
                      <a:pt x="4001" y="3060"/>
                    </a:lnTo>
                    <a:lnTo>
                      <a:pt x="4020" y="3038"/>
                    </a:lnTo>
                    <a:lnTo>
                      <a:pt x="4035" y="3011"/>
                    </a:lnTo>
                    <a:lnTo>
                      <a:pt x="4044" y="2982"/>
                    </a:lnTo>
                    <a:lnTo>
                      <a:pt x="4048" y="2951"/>
                    </a:lnTo>
                    <a:lnTo>
                      <a:pt x="4048" y="269"/>
                    </a:lnTo>
                    <a:lnTo>
                      <a:pt x="4044" y="237"/>
                    </a:lnTo>
                    <a:lnTo>
                      <a:pt x="4035" y="207"/>
                    </a:lnTo>
                    <a:lnTo>
                      <a:pt x="4020" y="181"/>
                    </a:lnTo>
                    <a:lnTo>
                      <a:pt x="4001" y="158"/>
                    </a:lnTo>
                    <a:lnTo>
                      <a:pt x="3978" y="139"/>
                    </a:lnTo>
                    <a:lnTo>
                      <a:pt x="3952" y="125"/>
                    </a:lnTo>
                    <a:lnTo>
                      <a:pt x="3923" y="115"/>
                    </a:lnTo>
                    <a:lnTo>
                      <a:pt x="3891" y="113"/>
                    </a:lnTo>
                    <a:lnTo>
                      <a:pt x="269" y="113"/>
                    </a:lnTo>
                    <a:close/>
                    <a:moveTo>
                      <a:pt x="269" y="0"/>
                    </a:moveTo>
                    <a:lnTo>
                      <a:pt x="3891" y="0"/>
                    </a:lnTo>
                    <a:lnTo>
                      <a:pt x="3934" y="3"/>
                    </a:lnTo>
                    <a:lnTo>
                      <a:pt x="3976" y="13"/>
                    </a:lnTo>
                    <a:lnTo>
                      <a:pt x="4015" y="29"/>
                    </a:lnTo>
                    <a:lnTo>
                      <a:pt x="4050" y="52"/>
                    </a:lnTo>
                    <a:lnTo>
                      <a:pt x="4082" y="79"/>
                    </a:lnTo>
                    <a:lnTo>
                      <a:pt x="4108" y="110"/>
                    </a:lnTo>
                    <a:lnTo>
                      <a:pt x="4130" y="145"/>
                    </a:lnTo>
                    <a:lnTo>
                      <a:pt x="4146" y="183"/>
                    </a:lnTo>
                    <a:lnTo>
                      <a:pt x="4156" y="225"/>
                    </a:lnTo>
                    <a:lnTo>
                      <a:pt x="4160" y="269"/>
                    </a:lnTo>
                    <a:lnTo>
                      <a:pt x="4160" y="2951"/>
                    </a:lnTo>
                    <a:lnTo>
                      <a:pt x="4156" y="2995"/>
                    </a:lnTo>
                    <a:lnTo>
                      <a:pt x="4146" y="3035"/>
                    </a:lnTo>
                    <a:lnTo>
                      <a:pt x="4130" y="3074"/>
                    </a:lnTo>
                    <a:lnTo>
                      <a:pt x="4108" y="3109"/>
                    </a:lnTo>
                    <a:lnTo>
                      <a:pt x="4082" y="3141"/>
                    </a:lnTo>
                    <a:lnTo>
                      <a:pt x="4050" y="3167"/>
                    </a:lnTo>
                    <a:lnTo>
                      <a:pt x="4015" y="3189"/>
                    </a:lnTo>
                    <a:lnTo>
                      <a:pt x="3976" y="3205"/>
                    </a:lnTo>
                    <a:lnTo>
                      <a:pt x="3934" y="3215"/>
                    </a:lnTo>
                    <a:lnTo>
                      <a:pt x="3891" y="3219"/>
                    </a:lnTo>
                    <a:lnTo>
                      <a:pt x="269" y="3219"/>
                    </a:lnTo>
                    <a:lnTo>
                      <a:pt x="226" y="3215"/>
                    </a:lnTo>
                    <a:lnTo>
                      <a:pt x="184" y="3205"/>
                    </a:lnTo>
                    <a:lnTo>
                      <a:pt x="145" y="3189"/>
                    </a:lnTo>
                    <a:lnTo>
                      <a:pt x="110" y="3167"/>
                    </a:lnTo>
                    <a:lnTo>
                      <a:pt x="78" y="3141"/>
                    </a:lnTo>
                    <a:lnTo>
                      <a:pt x="52" y="3109"/>
                    </a:lnTo>
                    <a:lnTo>
                      <a:pt x="30" y="3074"/>
                    </a:lnTo>
                    <a:lnTo>
                      <a:pt x="14" y="3035"/>
                    </a:lnTo>
                    <a:lnTo>
                      <a:pt x="4" y="2995"/>
                    </a:lnTo>
                    <a:lnTo>
                      <a:pt x="0" y="2951"/>
                    </a:lnTo>
                    <a:lnTo>
                      <a:pt x="0" y="269"/>
                    </a:lnTo>
                    <a:lnTo>
                      <a:pt x="4" y="225"/>
                    </a:lnTo>
                    <a:lnTo>
                      <a:pt x="14" y="183"/>
                    </a:lnTo>
                    <a:lnTo>
                      <a:pt x="30" y="145"/>
                    </a:lnTo>
                    <a:lnTo>
                      <a:pt x="52" y="110"/>
                    </a:lnTo>
                    <a:lnTo>
                      <a:pt x="78" y="79"/>
                    </a:lnTo>
                    <a:lnTo>
                      <a:pt x="110" y="52"/>
                    </a:lnTo>
                    <a:lnTo>
                      <a:pt x="145" y="29"/>
                    </a:lnTo>
                    <a:lnTo>
                      <a:pt x="184" y="13"/>
                    </a:lnTo>
                    <a:lnTo>
                      <a:pt x="226" y="3"/>
                    </a:lnTo>
                    <a:lnTo>
                      <a:pt x="269" y="0"/>
                    </a:ln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49FD5"/>
                  </a:solidFill>
                  <a:effectLst/>
                  <a:uLnTx/>
                  <a:uFillTx/>
                  <a:latin typeface="Calibri" panose="020F0502020204030204"/>
                  <a:ea typeface="+mn-ea"/>
                  <a:cs typeface="+mn-cs"/>
                </a:endParaRPr>
              </a:p>
            </p:txBody>
          </p:sp>
        </p:grpSp>
      </p:grpSp>
      <p:grpSp>
        <p:nvGrpSpPr>
          <p:cNvPr id="45" name="Group 11">
            <a:extLst>
              <a:ext uri="{FF2B5EF4-FFF2-40B4-BE49-F238E27FC236}">
                <a16:creationId xmlns:a16="http://schemas.microsoft.com/office/drawing/2014/main" id="{5B70B5FB-955C-028B-433B-6FEF4A7BD7DC}"/>
              </a:ext>
            </a:extLst>
          </p:cNvPr>
          <p:cNvGrpSpPr/>
          <p:nvPr>
            <p:custDataLst>
              <p:tags r:id="rId9"/>
            </p:custDataLst>
          </p:nvPr>
        </p:nvGrpSpPr>
        <p:grpSpPr>
          <a:xfrm>
            <a:off x="1699657" y="4286923"/>
            <a:ext cx="1764977" cy="415498"/>
            <a:chOff x="1591849" y="4276535"/>
            <a:chExt cx="1764977" cy="415498"/>
          </a:xfrm>
        </p:grpSpPr>
        <p:grpSp>
          <p:nvGrpSpPr>
            <p:cNvPr id="46" name="Group 138">
              <a:extLst>
                <a:ext uri="{FF2B5EF4-FFF2-40B4-BE49-F238E27FC236}">
                  <a16:creationId xmlns:a16="http://schemas.microsoft.com/office/drawing/2014/main" id="{775B15BA-97F1-C142-8E4A-6332BF07DBF8}"/>
                </a:ext>
              </a:extLst>
            </p:cNvPr>
            <p:cNvGrpSpPr/>
            <p:nvPr/>
          </p:nvGrpSpPr>
          <p:grpSpPr>
            <a:xfrm>
              <a:off x="1591849" y="4317788"/>
              <a:ext cx="287624" cy="287624"/>
              <a:chOff x="4869158" y="3910181"/>
              <a:chExt cx="678202" cy="678202"/>
            </a:xfrm>
          </p:grpSpPr>
          <p:sp>
            <p:nvSpPr>
              <p:cNvPr id="48" name="Freeform 6">
                <a:extLst>
                  <a:ext uri="{FF2B5EF4-FFF2-40B4-BE49-F238E27FC236}">
                    <a16:creationId xmlns:a16="http://schemas.microsoft.com/office/drawing/2014/main" id="{F438ED40-5774-9995-E703-4BA8F2FD0A46}"/>
                  </a:ext>
                </a:extLst>
              </p:cNvPr>
              <p:cNvSpPr>
                <a:spLocks noChangeAspect="1" noEditPoints="1"/>
              </p:cNvSpPr>
              <p:nvPr/>
            </p:nvSpPr>
            <p:spPr bwMode="auto">
              <a:xfrm>
                <a:off x="4996105" y="4064000"/>
                <a:ext cx="424308" cy="424750"/>
              </a:xfrm>
              <a:custGeom>
                <a:avLst/>
                <a:gdLst>
                  <a:gd name="T0" fmla="*/ 2990 w 5753"/>
                  <a:gd name="T1" fmla="*/ 4048 h 5760"/>
                  <a:gd name="T2" fmla="*/ 691 w 5753"/>
                  <a:gd name="T3" fmla="*/ 4121 h 5760"/>
                  <a:gd name="T4" fmla="*/ 669 w 5753"/>
                  <a:gd name="T5" fmla="*/ 3985 h 5760"/>
                  <a:gd name="T6" fmla="*/ 1459 w 5753"/>
                  <a:gd name="T7" fmla="*/ 3236 h 5760"/>
                  <a:gd name="T8" fmla="*/ 710 w 5753"/>
                  <a:gd name="T9" fmla="*/ 3339 h 5760"/>
                  <a:gd name="T10" fmla="*/ 648 w 5753"/>
                  <a:gd name="T11" fmla="*/ 3215 h 5760"/>
                  <a:gd name="T12" fmla="*/ 4182 w 5753"/>
                  <a:gd name="T13" fmla="*/ 2950 h 5760"/>
                  <a:gd name="T14" fmla="*/ 3426 w 5753"/>
                  <a:gd name="T15" fmla="*/ 3297 h 5760"/>
                  <a:gd name="T16" fmla="*/ 3259 w 5753"/>
                  <a:gd name="T17" fmla="*/ 3664 h 5760"/>
                  <a:gd name="T18" fmla="*/ 3350 w 5753"/>
                  <a:gd name="T19" fmla="*/ 4182 h 5760"/>
                  <a:gd name="T20" fmla="*/ 3655 w 5753"/>
                  <a:gd name="T21" fmla="*/ 4847 h 5760"/>
                  <a:gd name="T22" fmla="*/ 4297 w 5753"/>
                  <a:gd name="T23" fmla="*/ 5507 h 5760"/>
                  <a:gd name="T24" fmla="*/ 5048 w 5753"/>
                  <a:gd name="T25" fmla="*/ 5041 h 5760"/>
                  <a:gd name="T26" fmla="*/ 5439 w 5753"/>
                  <a:gd name="T27" fmla="*/ 4362 h 5760"/>
                  <a:gd name="T28" fmla="*/ 5582 w 5753"/>
                  <a:gd name="T29" fmla="*/ 3788 h 5760"/>
                  <a:gd name="T30" fmla="*/ 5598 w 5753"/>
                  <a:gd name="T31" fmla="*/ 3468 h 5760"/>
                  <a:gd name="T32" fmla="*/ 4903 w 5753"/>
                  <a:gd name="T33" fmla="*/ 3006 h 5760"/>
                  <a:gd name="T34" fmla="*/ 4318 w 5753"/>
                  <a:gd name="T35" fmla="*/ 2365 h 5760"/>
                  <a:gd name="T36" fmla="*/ 4379 w 5753"/>
                  <a:gd name="T37" fmla="*/ 2487 h 5760"/>
                  <a:gd name="T38" fmla="*/ 2978 w 5753"/>
                  <a:gd name="T39" fmla="*/ 2487 h 5760"/>
                  <a:gd name="T40" fmla="*/ 3041 w 5753"/>
                  <a:gd name="T41" fmla="*/ 2365 h 5760"/>
                  <a:gd name="T42" fmla="*/ 2506 w 5753"/>
                  <a:gd name="T43" fmla="*/ 2442 h 5760"/>
                  <a:gd name="T44" fmla="*/ 703 w 5753"/>
                  <a:gd name="T45" fmla="*/ 2515 h 5760"/>
                  <a:gd name="T46" fmla="*/ 682 w 5753"/>
                  <a:gd name="T47" fmla="*/ 2379 h 5760"/>
                  <a:gd name="T48" fmla="*/ 4381 w 5753"/>
                  <a:gd name="T49" fmla="*/ 1594 h 5760"/>
                  <a:gd name="T50" fmla="*/ 4318 w 5753"/>
                  <a:gd name="T51" fmla="*/ 1716 h 5760"/>
                  <a:gd name="T52" fmla="*/ 2039 w 5753"/>
                  <a:gd name="T53" fmla="*/ 1615 h 5760"/>
                  <a:gd name="T54" fmla="*/ 1602 w 5753"/>
                  <a:gd name="T55" fmla="*/ 1566 h 5760"/>
                  <a:gd name="T56" fmla="*/ 1623 w 5753"/>
                  <a:gd name="T57" fmla="*/ 1702 h 5760"/>
                  <a:gd name="T58" fmla="*/ 656 w 5753"/>
                  <a:gd name="T59" fmla="*/ 1663 h 5760"/>
                  <a:gd name="T60" fmla="*/ 155 w 5753"/>
                  <a:gd name="T61" fmla="*/ 1129 h 5760"/>
                  <a:gd name="T62" fmla="*/ 304 w 5753"/>
                  <a:gd name="T63" fmla="*/ 4777 h 5760"/>
                  <a:gd name="T64" fmla="*/ 3522 w 5753"/>
                  <a:gd name="T65" fmla="*/ 4926 h 5760"/>
                  <a:gd name="T66" fmla="*/ 3180 w 5753"/>
                  <a:gd name="T67" fmla="*/ 4145 h 5760"/>
                  <a:gd name="T68" fmla="*/ 3100 w 5753"/>
                  <a:gd name="T69" fmla="*/ 3580 h 5760"/>
                  <a:gd name="T70" fmla="*/ 3119 w 5753"/>
                  <a:gd name="T71" fmla="*/ 3390 h 5760"/>
                  <a:gd name="T72" fmla="*/ 1950 w 5753"/>
                  <a:gd name="T73" fmla="*/ 3254 h 5760"/>
                  <a:gd name="T74" fmla="*/ 3355 w 5753"/>
                  <a:gd name="T75" fmla="*/ 3151 h 5760"/>
                  <a:gd name="T76" fmla="*/ 3919 w 5753"/>
                  <a:gd name="T77" fmla="*/ 2854 h 5760"/>
                  <a:gd name="T78" fmla="*/ 4683 w 5753"/>
                  <a:gd name="T79" fmla="*/ 2794 h 5760"/>
                  <a:gd name="T80" fmla="*/ 531 w 5753"/>
                  <a:gd name="T81" fmla="*/ 173 h 5760"/>
                  <a:gd name="T82" fmla="*/ 195 w 5753"/>
                  <a:gd name="T83" fmla="*/ 466 h 5760"/>
                  <a:gd name="T84" fmla="*/ 4922 w 5753"/>
                  <a:gd name="T85" fmla="*/ 597 h 5760"/>
                  <a:gd name="T86" fmla="*/ 4673 w 5753"/>
                  <a:gd name="T87" fmla="*/ 225 h 5760"/>
                  <a:gd name="T88" fmla="*/ 4416 w 5753"/>
                  <a:gd name="T89" fmla="*/ 0 h 5760"/>
                  <a:gd name="T90" fmla="*/ 4913 w 5753"/>
                  <a:gd name="T91" fmla="*/ 223 h 5760"/>
                  <a:gd name="T92" fmla="*/ 5081 w 5753"/>
                  <a:gd name="T93" fmla="*/ 2908 h 5760"/>
                  <a:gd name="T94" fmla="*/ 5732 w 5753"/>
                  <a:gd name="T95" fmla="*/ 3386 h 5760"/>
                  <a:gd name="T96" fmla="*/ 5753 w 5753"/>
                  <a:gd name="T97" fmla="*/ 3547 h 5760"/>
                  <a:gd name="T98" fmla="*/ 5701 w 5753"/>
                  <a:gd name="T99" fmla="*/ 4004 h 5760"/>
                  <a:gd name="T100" fmla="*/ 5474 w 5753"/>
                  <a:gd name="T101" fmla="*/ 4666 h 5760"/>
                  <a:gd name="T102" fmla="*/ 4947 w 5753"/>
                  <a:gd name="T103" fmla="*/ 5378 h 5760"/>
                  <a:gd name="T104" fmla="*/ 4423 w 5753"/>
                  <a:gd name="T105" fmla="*/ 5760 h 5760"/>
                  <a:gd name="T106" fmla="*/ 3864 w 5753"/>
                  <a:gd name="T107" fmla="*/ 5345 h 5760"/>
                  <a:gd name="T108" fmla="*/ 426 w 5753"/>
                  <a:gd name="T109" fmla="*/ 5036 h 5760"/>
                  <a:gd name="T110" fmla="*/ 45 w 5753"/>
                  <a:gd name="T111" fmla="*/ 4655 h 5760"/>
                  <a:gd name="T112" fmla="*/ 45 w 5753"/>
                  <a:gd name="T113" fmla="*/ 426 h 5760"/>
                  <a:gd name="T114" fmla="*/ 426 w 5753"/>
                  <a:gd name="T115" fmla="*/ 45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53" h="5760">
                    <a:moveTo>
                      <a:pt x="716" y="3969"/>
                    </a:moveTo>
                    <a:lnTo>
                      <a:pt x="2913" y="3969"/>
                    </a:lnTo>
                    <a:lnTo>
                      <a:pt x="2938" y="3974"/>
                    </a:lnTo>
                    <a:lnTo>
                      <a:pt x="2959" y="3985"/>
                    </a:lnTo>
                    <a:lnTo>
                      <a:pt x="2976" y="4002"/>
                    </a:lnTo>
                    <a:lnTo>
                      <a:pt x="2986" y="4023"/>
                    </a:lnTo>
                    <a:lnTo>
                      <a:pt x="2990" y="4048"/>
                    </a:lnTo>
                    <a:lnTo>
                      <a:pt x="2986" y="4072"/>
                    </a:lnTo>
                    <a:lnTo>
                      <a:pt x="2976" y="4093"/>
                    </a:lnTo>
                    <a:lnTo>
                      <a:pt x="2959" y="4111"/>
                    </a:lnTo>
                    <a:lnTo>
                      <a:pt x="2938" y="4121"/>
                    </a:lnTo>
                    <a:lnTo>
                      <a:pt x="2913" y="4125"/>
                    </a:lnTo>
                    <a:lnTo>
                      <a:pt x="716" y="4125"/>
                    </a:lnTo>
                    <a:lnTo>
                      <a:pt x="691" y="4121"/>
                    </a:lnTo>
                    <a:lnTo>
                      <a:pt x="669" y="4111"/>
                    </a:lnTo>
                    <a:lnTo>
                      <a:pt x="653" y="4093"/>
                    </a:lnTo>
                    <a:lnTo>
                      <a:pt x="642" y="4072"/>
                    </a:lnTo>
                    <a:lnTo>
                      <a:pt x="637" y="4048"/>
                    </a:lnTo>
                    <a:lnTo>
                      <a:pt x="642" y="4023"/>
                    </a:lnTo>
                    <a:lnTo>
                      <a:pt x="653" y="4002"/>
                    </a:lnTo>
                    <a:lnTo>
                      <a:pt x="669" y="3985"/>
                    </a:lnTo>
                    <a:lnTo>
                      <a:pt x="691" y="3974"/>
                    </a:lnTo>
                    <a:lnTo>
                      <a:pt x="716" y="3969"/>
                    </a:lnTo>
                    <a:close/>
                    <a:moveTo>
                      <a:pt x="1386" y="3184"/>
                    </a:moveTo>
                    <a:lnTo>
                      <a:pt x="1410" y="3187"/>
                    </a:lnTo>
                    <a:lnTo>
                      <a:pt x="1431" y="3198"/>
                    </a:lnTo>
                    <a:lnTo>
                      <a:pt x="1449" y="3215"/>
                    </a:lnTo>
                    <a:lnTo>
                      <a:pt x="1459" y="3236"/>
                    </a:lnTo>
                    <a:lnTo>
                      <a:pt x="1463" y="3261"/>
                    </a:lnTo>
                    <a:lnTo>
                      <a:pt x="1459" y="3285"/>
                    </a:lnTo>
                    <a:lnTo>
                      <a:pt x="1449" y="3306"/>
                    </a:lnTo>
                    <a:lnTo>
                      <a:pt x="1431" y="3323"/>
                    </a:lnTo>
                    <a:lnTo>
                      <a:pt x="1410" y="3334"/>
                    </a:lnTo>
                    <a:lnTo>
                      <a:pt x="1386" y="3339"/>
                    </a:lnTo>
                    <a:lnTo>
                      <a:pt x="710" y="3339"/>
                    </a:lnTo>
                    <a:lnTo>
                      <a:pt x="686" y="3334"/>
                    </a:lnTo>
                    <a:lnTo>
                      <a:pt x="665" y="3323"/>
                    </a:lnTo>
                    <a:lnTo>
                      <a:pt x="648" y="3306"/>
                    </a:lnTo>
                    <a:lnTo>
                      <a:pt x="637" y="3285"/>
                    </a:lnTo>
                    <a:lnTo>
                      <a:pt x="634" y="3261"/>
                    </a:lnTo>
                    <a:lnTo>
                      <a:pt x="637" y="3236"/>
                    </a:lnTo>
                    <a:lnTo>
                      <a:pt x="648" y="3215"/>
                    </a:lnTo>
                    <a:lnTo>
                      <a:pt x="665" y="3199"/>
                    </a:lnTo>
                    <a:lnTo>
                      <a:pt x="686" y="3187"/>
                    </a:lnTo>
                    <a:lnTo>
                      <a:pt x="710" y="3184"/>
                    </a:lnTo>
                    <a:lnTo>
                      <a:pt x="1386" y="3184"/>
                    </a:lnTo>
                    <a:close/>
                    <a:moveTo>
                      <a:pt x="4426" y="2931"/>
                    </a:moveTo>
                    <a:lnTo>
                      <a:pt x="4304" y="2936"/>
                    </a:lnTo>
                    <a:lnTo>
                      <a:pt x="4182" y="2950"/>
                    </a:lnTo>
                    <a:lnTo>
                      <a:pt x="4063" y="2974"/>
                    </a:lnTo>
                    <a:lnTo>
                      <a:pt x="3948" y="3006"/>
                    </a:lnTo>
                    <a:lnTo>
                      <a:pt x="3835" y="3048"/>
                    </a:lnTo>
                    <a:lnTo>
                      <a:pt x="3727" y="3098"/>
                    </a:lnTo>
                    <a:lnTo>
                      <a:pt x="3622" y="3156"/>
                    </a:lnTo>
                    <a:lnTo>
                      <a:pt x="3522" y="3222"/>
                    </a:lnTo>
                    <a:lnTo>
                      <a:pt x="3426" y="3297"/>
                    </a:lnTo>
                    <a:lnTo>
                      <a:pt x="3337" y="3379"/>
                    </a:lnTo>
                    <a:lnTo>
                      <a:pt x="3255" y="3468"/>
                    </a:lnTo>
                    <a:lnTo>
                      <a:pt x="3254" y="3493"/>
                    </a:lnTo>
                    <a:lnTo>
                      <a:pt x="3254" y="3526"/>
                    </a:lnTo>
                    <a:lnTo>
                      <a:pt x="3254" y="3564"/>
                    </a:lnTo>
                    <a:lnTo>
                      <a:pt x="3255" y="3611"/>
                    </a:lnTo>
                    <a:lnTo>
                      <a:pt x="3259" y="3664"/>
                    </a:lnTo>
                    <a:lnTo>
                      <a:pt x="3262" y="3723"/>
                    </a:lnTo>
                    <a:lnTo>
                      <a:pt x="3269" y="3788"/>
                    </a:lnTo>
                    <a:lnTo>
                      <a:pt x="3280" y="3859"/>
                    </a:lnTo>
                    <a:lnTo>
                      <a:pt x="3292" y="3933"/>
                    </a:lnTo>
                    <a:lnTo>
                      <a:pt x="3308" y="4013"/>
                    </a:lnTo>
                    <a:lnTo>
                      <a:pt x="3327" y="4095"/>
                    </a:lnTo>
                    <a:lnTo>
                      <a:pt x="3350" y="4182"/>
                    </a:lnTo>
                    <a:lnTo>
                      <a:pt x="3377" y="4271"/>
                    </a:lnTo>
                    <a:lnTo>
                      <a:pt x="3411" y="4364"/>
                    </a:lnTo>
                    <a:lnTo>
                      <a:pt x="3447" y="4458"/>
                    </a:lnTo>
                    <a:lnTo>
                      <a:pt x="3491" y="4554"/>
                    </a:lnTo>
                    <a:lnTo>
                      <a:pt x="3538" y="4652"/>
                    </a:lnTo>
                    <a:lnTo>
                      <a:pt x="3594" y="4749"/>
                    </a:lnTo>
                    <a:lnTo>
                      <a:pt x="3655" y="4847"/>
                    </a:lnTo>
                    <a:lnTo>
                      <a:pt x="3723" y="4945"/>
                    </a:lnTo>
                    <a:lnTo>
                      <a:pt x="3798" y="5043"/>
                    </a:lnTo>
                    <a:lnTo>
                      <a:pt x="3882" y="5139"/>
                    </a:lnTo>
                    <a:lnTo>
                      <a:pt x="3973" y="5235"/>
                    </a:lnTo>
                    <a:lnTo>
                      <a:pt x="4072" y="5327"/>
                    </a:lnTo>
                    <a:lnTo>
                      <a:pt x="4180" y="5418"/>
                    </a:lnTo>
                    <a:lnTo>
                      <a:pt x="4297" y="5507"/>
                    </a:lnTo>
                    <a:lnTo>
                      <a:pt x="4423" y="5591"/>
                    </a:lnTo>
                    <a:lnTo>
                      <a:pt x="4550" y="5505"/>
                    </a:lnTo>
                    <a:lnTo>
                      <a:pt x="4667" y="5418"/>
                    </a:lnTo>
                    <a:lnTo>
                      <a:pt x="4776" y="5325"/>
                    </a:lnTo>
                    <a:lnTo>
                      <a:pt x="4873" y="5233"/>
                    </a:lnTo>
                    <a:lnTo>
                      <a:pt x="4966" y="5137"/>
                    </a:lnTo>
                    <a:lnTo>
                      <a:pt x="5048" y="5041"/>
                    </a:lnTo>
                    <a:lnTo>
                      <a:pt x="5125" y="4943"/>
                    </a:lnTo>
                    <a:lnTo>
                      <a:pt x="5193" y="4844"/>
                    </a:lnTo>
                    <a:lnTo>
                      <a:pt x="5254" y="4746"/>
                    </a:lnTo>
                    <a:lnTo>
                      <a:pt x="5310" y="4648"/>
                    </a:lnTo>
                    <a:lnTo>
                      <a:pt x="5359" y="4550"/>
                    </a:lnTo>
                    <a:lnTo>
                      <a:pt x="5400" y="4456"/>
                    </a:lnTo>
                    <a:lnTo>
                      <a:pt x="5439" y="4362"/>
                    </a:lnTo>
                    <a:lnTo>
                      <a:pt x="5472" y="4269"/>
                    </a:lnTo>
                    <a:lnTo>
                      <a:pt x="5500" y="4180"/>
                    </a:lnTo>
                    <a:lnTo>
                      <a:pt x="5523" y="4093"/>
                    </a:lnTo>
                    <a:lnTo>
                      <a:pt x="5542" y="4011"/>
                    </a:lnTo>
                    <a:lnTo>
                      <a:pt x="5559" y="3931"/>
                    </a:lnTo>
                    <a:lnTo>
                      <a:pt x="5571" y="3857"/>
                    </a:lnTo>
                    <a:lnTo>
                      <a:pt x="5582" y="3788"/>
                    </a:lnTo>
                    <a:lnTo>
                      <a:pt x="5589" y="3721"/>
                    </a:lnTo>
                    <a:lnTo>
                      <a:pt x="5594" y="3664"/>
                    </a:lnTo>
                    <a:lnTo>
                      <a:pt x="5596" y="3610"/>
                    </a:lnTo>
                    <a:lnTo>
                      <a:pt x="5598" y="3564"/>
                    </a:lnTo>
                    <a:lnTo>
                      <a:pt x="5599" y="3524"/>
                    </a:lnTo>
                    <a:lnTo>
                      <a:pt x="5598" y="3493"/>
                    </a:lnTo>
                    <a:lnTo>
                      <a:pt x="5598" y="3468"/>
                    </a:lnTo>
                    <a:lnTo>
                      <a:pt x="5514" y="3377"/>
                    </a:lnTo>
                    <a:lnTo>
                      <a:pt x="5423" y="3295"/>
                    </a:lnTo>
                    <a:lnTo>
                      <a:pt x="5327" y="3222"/>
                    </a:lnTo>
                    <a:lnTo>
                      <a:pt x="5228" y="3154"/>
                    </a:lnTo>
                    <a:lnTo>
                      <a:pt x="5123" y="3096"/>
                    </a:lnTo>
                    <a:lnTo>
                      <a:pt x="5015" y="3046"/>
                    </a:lnTo>
                    <a:lnTo>
                      <a:pt x="4903" y="3006"/>
                    </a:lnTo>
                    <a:lnTo>
                      <a:pt x="4788" y="2973"/>
                    </a:lnTo>
                    <a:lnTo>
                      <a:pt x="4671" y="2950"/>
                    </a:lnTo>
                    <a:lnTo>
                      <a:pt x="4552" y="2934"/>
                    </a:lnTo>
                    <a:lnTo>
                      <a:pt x="4430" y="2931"/>
                    </a:lnTo>
                    <a:lnTo>
                      <a:pt x="4426" y="2931"/>
                    </a:lnTo>
                    <a:close/>
                    <a:moveTo>
                      <a:pt x="3041" y="2365"/>
                    </a:moveTo>
                    <a:lnTo>
                      <a:pt x="4318" y="2365"/>
                    </a:lnTo>
                    <a:lnTo>
                      <a:pt x="4343" y="2369"/>
                    </a:lnTo>
                    <a:lnTo>
                      <a:pt x="4364" y="2379"/>
                    </a:lnTo>
                    <a:lnTo>
                      <a:pt x="4379" y="2397"/>
                    </a:lnTo>
                    <a:lnTo>
                      <a:pt x="4392" y="2417"/>
                    </a:lnTo>
                    <a:lnTo>
                      <a:pt x="4395" y="2442"/>
                    </a:lnTo>
                    <a:lnTo>
                      <a:pt x="4392" y="2466"/>
                    </a:lnTo>
                    <a:lnTo>
                      <a:pt x="4379" y="2487"/>
                    </a:lnTo>
                    <a:lnTo>
                      <a:pt x="4364" y="2505"/>
                    </a:lnTo>
                    <a:lnTo>
                      <a:pt x="4343" y="2515"/>
                    </a:lnTo>
                    <a:lnTo>
                      <a:pt x="4318" y="2519"/>
                    </a:lnTo>
                    <a:lnTo>
                      <a:pt x="3041" y="2519"/>
                    </a:lnTo>
                    <a:lnTo>
                      <a:pt x="3016" y="2515"/>
                    </a:lnTo>
                    <a:lnTo>
                      <a:pt x="2995" y="2505"/>
                    </a:lnTo>
                    <a:lnTo>
                      <a:pt x="2978" y="2487"/>
                    </a:lnTo>
                    <a:lnTo>
                      <a:pt x="2967" y="2466"/>
                    </a:lnTo>
                    <a:lnTo>
                      <a:pt x="2964" y="2442"/>
                    </a:lnTo>
                    <a:lnTo>
                      <a:pt x="2967" y="2417"/>
                    </a:lnTo>
                    <a:lnTo>
                      <a:pt x="2978" y="2397"/>
                    </a:lnTo>
                    <a:lnTo>
                      <a:pt x="2995" y="2379"/>
                    </a:lnTo>
                    <a:lnTo>
                      <a:pt x="3016" y="2369"/>
                    </a:lnTo>
                    <a:lnTo>
                      <a:pt x="3041" y="2365"/>
                    </a:lnTo>
                    <a:close/>
                    <a:moveTo>
                      <a:pt x="728" y="2365"/>
                    </a:moveTo>
                    <a:lnTo>
                      <a:pt x="2430" y="2365"/>
                    </a:lnTo>
                    <a:lnTo>
                      <a:pt x="2454" y="2369"/>
                    </a:lnTo>
                    <a:lnTo>
                      <a:pt x="2475" y="2379"/>
                    </a:lnTo>
                    <a:lnTo>
                      <a:pt x="2493" y="2397"/>
                    </a:lnTo>
                    <a:lnTo>
                      <a:pt x="2503" y="2417"/>
                    </a:lnTo>
                    <a:lnTo>
                      <a:pt x="2506" y="2442"/>
                    </a:lnTo>
                    <a:lnTo>
                      <a:pt x="2503" y="2466"/>
                    </a:lnTo>
                    <a:lnTo>
                      <a:pt x="2493" y="2487"/>
                    </a:lnTo>
                    <a:lnTo>
                      <a:pt x="2475" y="2505"/>
                    </a:lnTo>
                    <a:lnTo>
                      <a:pt x="2454" y="2515"/>
                    </a:lnTo>
                    <a:lnTo>
                      <a:pt x="2430" y="2519"/>
                    </a:lnTo>
                    <a:lnTo>
                      <a:pt x="728" y="2519"/>
                    </a:lnTo>
                    <a:lnTo>
                      <a:pt x="703" y="2515"/>
                    </a:lnTo>
                    <a:lnTo>
                      <a:pt x="682" y="2505"/>
                    </a:lnTo>
                    <a:lnTo>
                      <a:pt x="665" y="2487"/>
                    </a:lnTo>
                    <a:lnTo>
                      <a:pt x="655" y="2466"/>
                    </a:lnTo>
                    <a:lnTo>
                      <a:pt x="651" y="2442"/>
                    </a:lnTo>
                    <a:lnTo>
                      <a:pt x="655" y="2417"/>
                    </a:lnTo>
                    <a:lnTo>
                      <a:pt x="665" y="2397"/>
                    </a:lnTo>
                    <a:lnTo>
                      <a:pt x="682" y="2379"/>
                    </a:lnTo>
                    <a:lnTo>
                      <a:pt x="703" y="2369"/>
                    </a:lnTo>
                    <a:lnTo>
                      <a:pt x="728" y="2365"/>
                    </a:lnTo>
                    <a:close/>
                    <a:moveTo>
                      <a:pt x="2112" y="1562"/>
                    </a:moveTo>
                    <a:lnTo>
                      <a:pt x="4318" y="1562"/>
                    </a:lnTo>
                    <a:lnTo>
                      <a:pt x="4343" y="1566"/>
                    </a:lnTo>
                    <a:lnTo>
                      <a:pt x="4365" y="1576"/>
                    </a:lnTo>
                    <a:lnTo>
                      <a:pt x="4381" y="1594"/>
                    </a:lnTo>
                    <a:lnTo>
                      <a:pt x="4392" y="1615"/>
                    </a:lnTo>
                    <a:lnTo>
                      <a:pt x="4397" y="1639"/>
                    </a:lnTo>
                    <a:lnTo>
                      <a:pt x="4392" y="1663"/>
                    </a:lnTo>
                    <a:lnTo>
                      <a:pt x="4381" y="1684"/>
                    </a:lnTo>
                    <a:lnTo>
                      <a:pt x="4365" y="1702"/>
                    </a:lnTo>
                    <a:lnTo>
                      <a:pt x="4343" y="1712"/>
                    </a:lnTo>
                    <a:lnTo>
                      <a:pt x="4318" y="1716"/>
                    </a:lnTo>
                    <a:lnTo>
                      <a:pt x="2112" y="1716"/>
                    </a:lnTo>
                    <a:lnTo>
                      <a:pt x="2088" y="1712"/>
                    </a:lnTo>
                    <a:lnTo>
                      <a:pt x="2067" y="1702"/>
                    </a:lnTo>
                    <a:lnTo>
                      <a:pt x="2049" y="1684"/>
                    </a:lnTo>
                    <a:lnTo>
                      <a:pt x="2039" y="1663"/>
                    </a:lnTo>
                    <a:lnTo>
                      <a:pt x="2035" y="1639"/>
                    </a:lnTo>
                    <a:lnTo>
                      <a:pt x="2039" y="1615"/>
                    </a:lnTo>
                    <a:lnTo>
                      <a:pt x="2049" y="1594"/>
                    </a:lnTo>
                    <a:lnTo>
                      <a:pt x="2067" y="1576"/>
                    </a:lnTo>
                    <a:lnTo>
                      <a:pt x="2088" y="1566"/>
                    </a:lnTo>
                    <a:lnTo>
                      <a:pt x="2112" y="1562"/>
                    </a:lnTo>
                    <a:close/>
                    <a:moveTo>
                      <a:pt x="730" y="1562"/>
                    </a:moveTo>
                    <a:lnTo>
                      <a:pt x="1578" y="1562"/>
                    </a:lnTo>
                    <a:lnTo>
                      <a:pt x="1602" y="1566"/>
                    </a:lnTo>
                    <a:lnTo>
                      <a:pt x="1623" y="1576"/>
                    </a:lnTo>
                    <a:lnTo>
                      <a:pt x="1641" y="1594"/>
                    </a:lnTo>
                    <a:lnTo>
                      <a:pt x="1651" y="1615"/>
                    </a:lnTo>
                    <a:lnTo>
                      <a:pt x="1655" y="1639"/>
                    </a:lnTo>
                    <a:lnTo>
                      <a:pt x="1651" y="1663"/>
                    </a:lnTo>
                    <a:lnTo>
                      <a:pt x="1641" y="1684"/>
                    </a:lnTo>
                    <a:lnTo>
                      <a:pt x="1623" y="1702"/>
                    </a:lnTo>
                    <a:lnTo>
                      <a:pt x="1602" y="1712"/>
                    </a:lnTo>
                    <a:lnTo>
                      <a:pt x="1578" y="1716"/>
                    </a:lnTo>
                    <a:lnTo>
                      <a:pt x="730" y="1716"/>
                    </a:lnTo>
                    <a:lnTo>
                      <a:pt x="705" y="1712"/>
                    </a:lnTo>
                    <a:lnTo>
                      <a:pt x="684" y="1702"/>
                    </a:lnTo>
                    <a:lnTo>
                      <a:pt x="667" y="1684"/>
                    </a:lnTo>
                    <a:lnTo>
                      <a:pt x="656" y="1663"/>
                    </a:lnTo>
                    <a:lnTo>
                      <a:pt x="653" y="1639"/>
                    </a:lnTo>
                    <a:lnTo>
                      <a:pt x="656" y="1615"/>
                    </a:lnTo>
                    <a:lnTo>
                      <a:pt x="667" y="1594"/>
                    </a:lnTo>
                    <a:lnTo>
                      <a:pt x="684" y="1576"/>
                    </a:lnTo>
                    <a:lnTo>
                      <a:pt x="705" y="1566"/>
                    </a:lnTo>
                    <a:lnTo>
                      <a:pt x="730" y="1562"/>
                    </a:lnTo>
                    <a:close/>
                    <a:moveTo>
                      <a:pt x="155" y="1129"/>
                    </a:moveTo>
                    <a:lnTo>
                      <a:pt x="155" y="4416"/>
                    </a:lnTo>
                    <a:lnTo>
                      <a:pt x="159" y="4484"/>
                    </a:lnTo>
                    <a:lnTo>
                      <a:pt x="173" y="4550"/>
                    </a:lnTo>
                    <a:lnTo>
                      <a:pt x="195" y="4613"/>
                    </a:lnTo>
                    <a:lnTo>
                      <a:pt x="225" y="4673"/>
                    </a:lnTo>
                    <a:lnTo>
                      <a:pt x="262" y="4727"/>
                    </a:lnTo>
                    <a:lnTo>
                      <a:pt x="304" y="4777"/>
                    </a:lnTo>
                    <a:lnTo>
                      <a:pt x="354" y="4819"/>
                    </a:lnTo>
                    <a:lnTo>
                      <a:pt x="408" y="4856"/>
                    </a:lnTo>
                    <a:lnTo>
                      <a:pt x="466" y="4886"/>
                    </a:lnTo>
                    <a:lnTo>
                      <a:pt x="531" y="4908"/>
                    </a:lnTo>
                    <a:lnTo>
                      <a:pt x="597" y="4922"/>
                    </a:lnTo>
                    <a:lnTo>
                      <a:pt x="665" y="4926"/>
                    </a:lnTo>
                    <a:lnTo>
                      <a:pt x="3522" y="4926"/>
                    </a:lnTo>
                    <a:lnTo>
                      <a:pt x="3451" y="4810"/>
                    </a:lnTo>
                    <a:lnTo>
                      <a:pt x="3388" y="4694"/>
                    </a:lnTo>
                    <a:lnTo>
                      <a:pt x="3332" y="4578"/>
                    </a:lnTo>
                    <a:lnTo>
                      <a:pt x="3285" y="4467"/>
                    </a:lnTo>
                    <a:lnTo>
                      <a:pt x="3243" y="4355"/>
                    </a:lnTo>
                    <a:lnTo>
                      <a:pt x="3208" y="4248"/>
                    </a:lnTo>
                    <a:lnTo>
                      <a:pt x="3180" y="4145"/>
                    </a:lnTo>
                    <a:lnTo>
                      <a:pt x="3158" y="4046"/>
                    </a:lnTo>
                    <a:lnTo>
                      <a:pt x="3138" y="3952"/>
                    </a:lnTo>
                    <a:lnTo>
                      <a:pt x="3124" y="3863"/>
                    </a:lnTo>
                    <a:lnTo>
                      <a:pt x="3114" y="3781"/>
                    </a:lnTo>
                    <a:lnTo>
                      <a:pt x="3107" y="3706"/>
                    </a:lnTo>
                    <a:lnTo>
                      <a:pt x="3102" y="3638"/>
                    </a:lnTo>
                    <a:lnTo>
                      <a:pt x="3100" y="3580"/>
                    </a:lnTo>
                    <a:lnTo>
                      <a:pt x="3098" y="3529"/>
                    </a:lnTo>
                    <a:lnTo>
                      <a:pt x="3100" y="3489"/>
                    </a:lnTo>
                    <a:lnTo>
                      <a:pt x="3100" y="3458"/>
                    </a:lnTo>
                    <a:lnTo>
                      <a:pt x="3102" y="3439"/>
                    </a:lnTo>
                    <a:lnTo>
                      <a:pt x="3102" y="3432"/>
                    </a:lnTo>
                    <a:lnTo>
                      <a:pt x="3107" y="3409"/>
                    </a:lnTo>
                    <a:lnTo>
                      <a:pt x="3119" y="3390"/>
                    </a:lnTo>
                    <a:lnTo>
                      <a:pt x="3156" y="3346"/>
                    </a:lnTo>
                    <a:lnTo>
                      <a:pt x="3194" y="3306"/>
                    </a:lnTo>
                    <a:lnTo>
                      <a:pt x="2023" y="3306"/>
                    </a:lnTo>
                    <a:lnTo>
                      <a:pt x="1999" y="3302"/>
                    </a:lnTo>
                    <a:lnTo>
                      <a:pt x="1978" y="3290"/>
                    </a:lnTo>
                    <a:lnTo>
                      <a:pt x="1962" y="3274"/>
                    </a:lnTo>
                    <a:lnTo>
                      <a:pt x="1950" y="3254"/>
                    </a:lnTo>
                    <a:lnTo>
                      <a:pt x="1946" y="3229"/>
                    </a:lnTo>
                    <a:lnTo>
                      <a:pt x="1950" y="3203"/>
                    </a:lnTo>
                    <a:lnTo>
                      <a:pt x="1962" y="3182"/>
                    </a:lnTo>
                    <a:lnTo>
                      <a:pt x="1978" y="3166"/>
                    </a:lnTo>
                    <a:lnTo>
                      <a:pt x="1999" y="3154"/>
                    </a:lnTo>
                    <a:lnTo>
                      <a:pt x="2023" y="3151"/>
                    </a:lnTo>
                    <a:lnTo>
                      <a:pt x="3355" y="3151"/>
                    </a:lnTo>
                    <a:lnTo>
                      <a:pt x="3358" y="3151"/>
                    </a:lnTo>
                    <a:lnTo>
                      <a:pt x="3360" y="3152"/>
                    </a:lnTo>
                    <a:lnTo>
                      <a:pt x="3463" y="3075"/>
                    </a:lnTo>
                    <a:lnTo>
                      <a:pt x="3571" y="3007"/>
                    </a:lnTo>
                    <a:lnTo>
                      <a:pt x="3683" y="2948"/>
                    </a:lnTo>
                    <a:lnTo>
                      <a:pt x="3798" y="2896"/>
                    </a:lnTo>
                    <a:lnTo>
                      <a:pt x="3919" y="2854"/>
                    </a:lnTo>
                    <a:lnTo>
                      <a:pt x="4042" y="2821"/>
                    </a:lnTo>
                    <a:lnTo>
                      <a:pt x="4168" y="2796"/>
                    </a:lnTo>
                    <a:lnTo>
                      <a:pt x="4297" y="2781"/>
                    </a:lnTo>
                    <a:lnTo>
                      <a:pt x="4426" y="2775"/>
                    </a:lnTo>
                    <a:lnTo>
                      <a:pt x="4430" y="2775"/>
                    </a:lnTo>
                    <a:lnTo>
                      <a:pt x="4557" y="2781"/>
                    </a:lnTo>
                    <a:lnTo>
                      <a:pt x="4683" y="2794"/>
                    </a:lnTo>
                    <a:lnTo>
                      <a:pt x="4805" y="2819"/>
                    </a:lnTo>
                    <a:lnTo>
                      <a:pt x="4926" y="2850"/>
                    </a:lnTo>
                    <a:lnTo>
                      <a:pt x="4926" y="1129"/>
                    </a:lnTo>
                    <a:lnTo>
                      <a:pt x="155" y="1129"/>
                    </a:lnTo>
                    <a:close/>
                    <a:moveTo>
                      <a:pt x="665" y="155"/>
                    </a:moveTo>
                    <a:lnTo>
                      <a:pt x="597" y="159"/>
                    </a:lnTo>
                    <a:lnTo>
                      <a:pt x="531" y="173"/>
                    </a:lnTo>
                    <a:lnTo>
                      <a:pt x="466" y="195"/>
                    </a:lnTo>
                    <a:lnTo>
                      <a:pt x="408" y="225"/>
                    </a:lnTo>
                    <a:lnTo>
                      <a:pt x="354" y="262"/>
                    </a:lnTo>
                    <a:lnTo>
                      <a:pt x="304" y="304"/>
                    </a:lnTo>
                    <a:lnTo>
                      <a:pt x="262" y="354"/>
                    </a:lnTo>
                    <a:lnTo>
                      <a:pt x="225" y="408"/>
                    </a:lnTo>
                    <a:lnTo>
                      <a:pt x="195" y="466"/>
                    </a:lnTo>
                    <a:lnTo>
                      <a:pt x="173" y="531"/>
                    </a:lnTo>
                    <a:lnTo>
                      <a:pt x="159" y="597"/>
                    </a:lnTo>
                    <a:lnTo>
                      <a:pt x="155" y="665"/>
                    </a:lnTo>
                    <a:lnTo>
                      <a:pt x="155" y="976"/>
                    </a:lnTo>
                    <a:lnTo>
                      <a:pt x="4926" y="976"/>
                    </a:lnTo>
                    <a:lnTo>
                      <a:pt x="4926" y="665"/>
                    </a:lnTo>
                    <a:lnTo>
                      <a:pt x="4922" y="597"/>
                    </a:lnTo>
                    <a:lnTo>
                      <a:pt x="4908" y="531"/>
                    </a:lnTo>
                    <a:lnTo>
                      <a:pt x="4886" y="466"/>
                    </a:lnTo>
                    <a:lnTo>
                      <a:pt x="4856" y="408"/>
                    </a:lnTo>
                    <a:lnTo>
                      <a:pt x="4819" y="354"/>
                    </a:lnTo>
                    <a:lnTo>
                      <a:pt x="4777" y="304"/>
                    </a:lnTo>
                    <a:lnTo>
                      <a:pt x="4727" y="262"/>
                    </a:lnTo>
                    <a:lnTo>
                      <a:pt x="4673" y="225"/>
                    </a:lnTo>
                    <a:lnTo>
                      <a:pt x="4613" y="195"/>
                    </a:lnTo>
                    <a:lnTo>
                      <a:pt x="4550" y="173"/>
                    </a:lnTo>
                    <a:lnTo>
                      <a:pt x="4484" y="159"/>
                    </a:lnTo>
                    <a:lnTo>
                      <a:pt x="4416" y="155"/>
                    </a:lnTo>
                    <a:lnTo>
                      <a:pt x="665" y="155"/>
                    </a:lnTo>
                    <a:close/>
                    <a:moveTo>
                      <a:pt x="665" y="0"/>
                    </a:moveTo>
                    <a:lnTo>
                      <a:pt x="4416" y="0"/>
                    </a:lnTo>
                    <a:lnTo>
                      <a:pt x="4498" y="5"/>
                    </a:lnTo>
                    <a:lnTo>
                      <a:pt x="4578" y="21"/>
                    </a:lnTo>
                    <a:lnTo>
                      <a:pt x="4655" y="45"/>
                    </a:lnTo>
                    <a:lnTo>
                      <a:pt x="4728" y="79"/>
                    </a:lnTo>
                    <a:lnTo>
                      <a:pt x="4795" y="119"/>
                    </a:lnTo>
                    <a:lnTo>
                      <a:pt x="4858" y="168"/>
                    </a:lnTo>
                    <a:lnTo>
                      <a:pt x="4913" y="223"/>
                    </a:lnTo>
                    <a:lnTo>
                      <a:pt x="4962" y="286"/>
                    </a:lnTo>
                    <a:lnTo>
                      <a:pt x="5002" y="353"/>
                    </a:lnTo>
                    <a:lnTo>
                      <a:pt x="5036" y="426"/>
                    </a:lnTo>
                    <a:lnTo>
                      <a:pt x="5060" y="503"/>
                    </a:lnTo>
                    <a:lnTo>
                      <a:pt x="5076" y="583"/>
                    </a:lnTo>
                    <a:lnTo>
                      <a:pt x="5081" y="665"/>
                    </a:lnTo>
                    <a:lnTo>
                      <a:pt x="5081" y="2908"/>
                    </a:lnTo>
                    <a:lnTo>
                      <a:pt x="5186" y="2955"/>
                    </a:lnTo>
                    <a:lnTo>
                      <a:pt x="5287" y="3011"/>
                    </a:lnTo>
                    <a:lnTo>
                      <a:pt x="5385" y="3072"/>
                    </a:lnTo>
                    <a:lnTo>
                      <a:pt x="5479" y="3142"/>
                    </a:lnTo>
                    <a:lnTo>
                      <a:pt x="5568" y="3217"/>
                    </a:lnTo>
                    <a:lnTo>
                      <a:pt x="5654" y="3299"/>
                    </a:lnTo>
                    <a:lnTo>
                      <a:pt x="5732" y="3386"/>
                    </a:lnTo>
                    <a:lnTo>
                      <a:pt x="5744" y="3407"/>
                    </a:lnTo>
                    <a:lnTo>
                      <a:pt x="5751" y="3430"/>
                    </a:lnTo>
                    <a:lnTo>
                      <a:pt x="5751" y="3437"/>
                    </a:lnTo>
                    <a:lnTo>
                      <a:pt x="5751" y="3451"/>
                    </a:lnTo>
                    <a:lnTo>
                      <a:pt x="5753" y="3475"/>
                    </a:lnTo>
                    <a:lnTo>
                      <a:pt x="5753" y="3507"/>
                    </a:lnTo>
                    <a:lnTo>
                      <a:pt x="5753" y="3547"/>
                    </a:lnTo>
                    <a:lnTo>
                      <a:pt x="5751" y="3594"/>
                    </a:lnTo>
                    <a:lnTo>
                      <a:pt x="5748" y="3648"/>
                    </a:lnTo>
                    <a:lnTo>
                      <a:pt x="5744" y="3709"/>
                    </a:lnTo>
                    <a:lnTo>
                      <a:pt x="5737" y="3774"/>
                    </a:lnTo>
                    <a:lnTo>
                      <a:pt x="5729" y="3847"/>
                    </a:lnTo>
                    <a:lnTo>
                      <a:pt x="5716" y="3924"/>
                    </a:lnTo>
                    <a:lnTo>
                      <a:pt x="5701" y="4004"/>
                    </a:lnTo>
                    <a:lnTo>
                      <a:pt x="5681" y="4090"/>
                    </a:lnTo>
                    <a:lnTo>
                      <a:pt x="5659" y="4179"/>
                    </a:lnTo>
                    <a:lnTo>
                      <a:pt x="5633" y="4271"/>
                    </a:lnTo>
                    <a:lnTo>
                      <a:pt x="5599" y="4367"/>
                    </a:lnTo>
                    <a:lnTo>
                      <a:pt x="5563" y="4465"/>
                    </a:lnTo>
                    <a:lnTo>
                      <a:pt x="5521" y="4564"/>
                    </a:lnTo>
                    <a:lnTo>
                      <a:pt x="5474" y="4666"/>
                    </a:lnTo>
                    <a:lnTo>
                      <a:pt x="5420" y="4767"/>
                    </a:lnTo>
                    <a:lnTo>
                      <a:pt x="5359" y="4870"/>
                    </a:lnTo>
                    <a:lnTo>
                      <a:pt x="5290" y="4973"/>
                    </a:lnTo>
                    <a:lnTo>
                      <a:pt x="5217" y="5076"/>
                    </a:lnTo>
                    <a:lnTo>
                      <a:pt x="5135" y="5177"/>
                    </a:lnTo>
                    <a:lnTo>
                      <a:pt x="5044" y="5278"/>
                    </a:lnTo>
                    <a:lnTo>
                      <a:pt x="4947" y="5378"/>
                    </a:lnTo>
                    <a:lnTo>
                      <a:pt x="4840" y="5474"/>
                    </a:lnTo>
                    <a:lnTo>
                      <a:pt x="4725" y="5570"/>
                    </a:lnTo>
                    <a:lnTo>
                      <a:pt x="4599" y="5661"/>
                    </a:lnTo>
                    <a:lnTo>
                      <a:pt x="4465" y="5748"/>
                    </a:lnTo>
                    <a:lnTo>
                      <a:pt x="4446" y="5757"/>
                    </a:lnTo>
                    <a:lnTo>
                      <a:pt x="4425" y="5760"/>
                    </a:lnTo>
                    <a:lnTo>
                      <a:pt x="4423" y="5760"/>
                    </a:lnTo>
                    <a:lnTo>
                      <a:pt x="4402" y="5757"/>
                    </a:lnTo>
                    <a:lnTo>
                      <a:pt x="4383" y="5750"/>
                    </a:lnTo>
                    <a:lnTo>
                      <a:pt x="4264" y="5673"/>
                    </a:lnTo>
                    <a:lnTo>
                      <a:pt x="4154" y="5594"/>
                    </a:lnTo>
                    <a:lnTo>
                      <a:pt x="4051" y="5512"/>
                    </a:lnTo>
                    <a:lnTo>
                      <a:pt x="3953" y="5428"/>
                    </a:lnTo>
                    <a:lnTo>
                      <a:pt x="3864" y="5345"/>
                    </a:lnTo>
                    <a:lnTo>
                      <a:pt x="3781" y="5257"/>
                    </a:lnTo>
                    <a:lnTo>
                      <a:pt x="3704" y="5170"/>
                    </a:lnTo>
                    <a:lnTo>
                      <a:pt x="3632" y="5081"/>
                    </a:lnTo>
                    <a:lnTo>
                      <a:pt x="665" y="5081"/>
                    </a:lnTo>
                    <a:lnTo>
                      <a:pt x="583" y="5076"/>
                    </a:lnTo>
                    <a:lnTo>
                      <a:pt x="503" y="5060"/>
                    </a:lnTo>
                    <a:lnTo>
                      <a:pt x="426" y="5036"/>
                    </a:lnTo>
                    <a:lnTo>
                      <a:pt x="353" y="5002"/>
                    </a:lnTo>
                    <a:lnTo>
                      <a:pt x="286" y="4962"/>
                    </a:lnTo>
                    <a:lnTo>
                      <a:pt x="223" y="4913"/>
                    </a:lnTo>
                    <a:lnTo>
                      <a:pt x="168" y="4858"/>
                    </a:lnTo>
                    <a:lnTo>
                      <a:pt x="119" y="4795"/>
                    </a:lnTo>
                    <a:lnTo>
                      <a:pt x="79" y="4728"/>
                    </a:lnTo>
                    <a:lnTo>
                      <a:pt x="45" y="4655"/>
                    </a:lnTo>
                    <a:lnTo>
                      <a:pt x="21" y="4578"/>
                    </a:lnTo>
                    <a:lnTo>
                      <a:pt x="5" y="4498"/>
                    </a:lnTo>
                    <a:lnTo>
                      <a:pt x="0" y="4416"/>
                    </a:lnTo>
                    <a:lnTo>
                      <a:pt x="0" y="665"/>
                    </a:lnTo>
                    <a:lnTo>
                      <a:pt x="5" y="583"/>
                    </a:lnTo>
                    <a:lnTo>
                      <a:pt x="21" y="503"/>
                    </a:lnTo>
                    <a:lnTo>
                      <a:pt x="45" y="426"/>
                    </a:lnTo>
                    <a:lnTo>
                      <a:pt x="79" y="353"/>
                    </a:lnTo>
                    <a:lnTo>
                      <a:pt x="119" y="286"/>
                    </a:lnTo>
                    <a:lnTo>
                      <a:pt x="168" y="223"/>
                    </a:lnTo>
                    <a:lnTo>
                      <a:pt x="223" y="168"/>
                    </a:lnTo>
                    <a:lnTo>
                      <a:pt x="286" y="119"/>
                    </a:lnTo>
                    <a:lnTo>
                      <a:pt x="353" y="79"/>
                    </a:lnTo>
                    <a:lnTo>
                      <a:pt x="426" y="45"/>
                    </a:lnTo>
                    <a:lnTo>
                      <a:pt x="503" y="21"/>
                    </a:lnTo>
                    <a:lnTo>
                      <a:pt x="583" y="5"/>
                    </a:lnTo>
                    <a:lnTo>
                      <a:pt x="665" y="0"/>
                    </a:lnTo>
                    <a:close/>
                  </a:path>
                </a:pathLst>
              </a:custGeom>
              <a:solidFill>
                <a:srgbClr val="6D69FF"/>
              </a:solidFill>
              <a:ln w="0">
                <a:solidFill>
                  <a:srgbClr val="6D69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7A76FF"/>
                  </a:solidFill>
                  <a:effectLst/>
                  <a:uLnTx/>
                  <a:uFillTx/>
                  <a:latin typeface="Calibri" panose="020F0502020204030204"/>
                  <a:ea typeface="+mn-ea"/>
                  <a:cs typeface="+mn-cs"/>
                </a:endParaRPr>
              </a:p>
            </p:txBody>
          </p:sp>
          <p:sp>
            <p:nvSpPr>
              <p:cNvPr id="49" name="Oval 147">
                <a:extLst>
                  <a:ext uri="{FF2B5EF4-FFF2-40B4-BE49-F238E27FC236}">
                    <a16:creationId xmlns:a16="http://schemas.microsoft.com/office/drawing/2014/main" id="{38180AB2-822A-EF90-BFB3-61D3E41D3923}"/>
                  </a:ext>
                </a:extLst>
              </p:cNvPr>
              <p:cNvSpPr/>
              <p:nvPr/>
            </p:nvSpPr>
            <p:spPr>
              <a:xfrm>
                <a:off x="4869158" y="3910181"/>
                <a:ext cx="678202" cy="678202"/>
              </a:xfrm>
              <a:prstGeom prst="ellipse">
                <a:avLst/>
              </a:prstGeom>
              <a:noFill/>
              <a:ln w="19050">
                <a:solidFill>
                  <a:srgbClr val="6D6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7A76FF"/>
                  </a:solidFill>
                  <a:effectLst/>
                  <a:uLnTx/>
                  <a:uFillTx/>
                  <a:latin typeface="Calibri" panose="020F0502020204030204"/>
                  <a:ea typeface="+mn-ea"/>
                  <a:cs typeface="+mn-cs"/>
                </a:endParaRPr>
              </a:p>
            </p:txBody>
          </p:sp>
        </p:grpSp>
        <p:sp>
          <p:nvSpPr>
            <p:cNvPr id="47" name="TextBox 143">
              <a:extLst>
                <a:ext uri="{FF2B5EF4-FFF2-40B4-BE49-F238E27FC236}">
                  <a16:creationId xmlns:a16="http://schemas.microsoft.com/office/drawing/2014/main" id="{B1142355-166D-4E98-376F-C0849C1F5E89}"/>
                </a:ext>
              </a:extLst>
            </p:cNvPr>
            <p:cNvSpPr txBox="1"/>
            <p:nvPr/>
          </p:nvSpPr>
          <p:spPr>
            <a:xfrm>
              <a:off x="1914581" y="4276535"/>
              <a:ext cx="1442245" cy="415498"/>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7A76FF"/>
                  </a:solidFill>
                  <a:effectLst/>
                  <a:uLnTx/>
                  <a:uFillTx/>
                  <a:latin typeface="Calibri Light" panose="020F0302020204030204"/>
                  <a:ea typeface="+mn-ea"/>
                  <a:cs typeface="+mn-cs"/>
                </a:rPr>
                <a:t>Gouverner et bâtir la confiance</a:t>
              </a:r>
            </a:p>
          </p:txBody>
        </p:sp>
      </p:grpSp>
      <p:grpSp>
        <p:nvGrpSpPr>
          <p:cNvPr id="50" name="Group 15">
            <a:extLst>
              <a:ext uri="{FF2B5EF4-FFF2-40B4-BE49-F238E27FC236}">
                <a16:creationId xmlns:a16="http://schemas.microsoft.com/office/drawing/2014/main" id="{5C18FE24-9C8A-5E20-CD26-973F6FC85E48}"/>
              </a:ext>
            </a:extLst>
          </p:cNvPr>
          <p:cNvGrpSpPr/>
          <p:nvPr>
            <p:custDataLst>
              <p:tags r:id="rId10"/>
            </p:custDataLst>
          </p:nvPr>
        </p:nvGrpSpPr>
        <p:grpSpPr>
          <a:xfrm>
            <a:off x="3564933" y="4317790"/>
            <a:ext cx="1861472" cy="430009"/>
            <a:chOff x="3564932" y="4317788"/>
            <a:chExt cx="1861472" cy="430009"/>
          </a:xfrm>
        </p:grpSpPr>
        <p:sp>
          <p:nvSpPr>
            <p:cNvPr id="51" name="TextBox 188">
              <a:extLst>
                <a:ext uri="{FF2B5EF4-FFF2-40B4-BE49-F238E27FC236}">
                  <a16:creationId xmlns:a16="http://schemas.microsoft.com/office/drawing/2014/main" id="{6F802DF2-952E-0771-09C8-28ED5A375659}"/>
                </a:ext>
              </a:extLst>
            </p:cNvPr>
            <p:cNvSpPr txBox="1"/>
            <p:nvPr/>
          </p:nvSpPr>
          <p:spPr>
            <a:xfrm>
              <a:off x="3894030" y="4332299"/>
              <a:ext cx="1532374" cy="415498"/>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5ADFD8"/>
                  </a:solidFill>
                  <a:effectLst/>
                  <a:uLnTx/>
                  <a:uFillTx/>
                  <a:latin typeface="Calibri Light" panose="020F0302020204030204"/>
                  <a:ea typeface="+mn-ea"/>
                  <a:cs typeface="+mn-cs"/>
                </a:rPr>
                <a:t>Expliquer les insights &amp; résultats</a:t>
              </a:r>
            </a:p>
          </p:txBody>
        </p:sp>
        <p:grpSp>
          <p:nvGrpSpPr>
            <p:cNvPr id="52" name="Group 210">
              <a:extLst>
                <a:ext uri="{FF2B5EF4-FFF2-40B4-BE49-F238E27FC236}">
                  <a16:creationId xmlns:a16="http://schemas.microsoft.com/office/drawing/2014/main" id="{8C175597-5DB2-D47C-0327-096973C350E6}"/>
                </a:ext>
              </a:extLst>
            </p:cNvPr>
            <p:cNvGrpSpPr/>
            <p:nvPr/>
          </p:nvGrpSpPr>
          <p:grpSpPr>
            <a:xfrm>
              <a:off x="3564932" y="4317788"/>
              <a:ext cx="287624" cy="287624"/>
              <a:chOff x="4867490" y="4137142"/>
              <a:chExt cx="382827" cy="382827"/>
            </a:xfrm>
          </p:grpSpPr>
          <p:sp>
            <p:nvSpPr>
              <p:cNvPr id="53" name="Oval 183">
                <a:extLst>
                  <a:ext uri="{FF2B5EF4-FFF2-40B4-BE49-F238E27FC236}">
                    <a16:creationId xmlns:a16="http://schemas.microsoft.com/office/drawing/2014/main" id="{25126AE1-4C60-0AF6-BA4D-82E8375D10AC}"/>
                  </a:ext>
                </a:extLst>
              </p:cNvPr>
              <p:cNvSpPr/>
              <p:nvPr/>
            </p:nvSpPr>
            <p:spPr>
              <a:xfrm>
                <a:off x="4867490" y="4137142"/>
                <a:ext cx="382827" cy="382827"/>
              </a:xfrm>
              <a:prstGeom prst="ellipse">
                <a:avLst/>
              </a:prstGeom>
              <a:noFill/>
              <a:ln w="19050">
                <a:solidFill>
                  <a:srgbClr val="5ADF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ADFD8"/>
                  </a:solidFill>
                  <a:effectLst/>
                  <a:uLnTx/>
                  <a:uFillTx/>
                  <a:latin typeface="Calibri" panose="020F0502020204030204"/>
                  <a:ea typeface="+mn-ea"/>
                  <a:cs typeface="+mn-cs"/>
                </a:endParaRPr>
              </a:p>
            </p:txBody>
          </p:sp>
          <p:sp>
            <p:nvSpPr>
              <p:cNvPr id="54" name="Freeform 11">
                <a:extLst>
                  <a:ext uri="{FF2B5EF4-FFF2-40B4-BE49-F238E27FC236}">
                    <a16:creationId xmlns:a16="http://schemas.microsoft.com/office/drawing/2014/main" id="{36608F80-A0D0-BEAE-012E-C5E1503C65A8}"/>
                  </a:ext>
                </a:extLst>
              </p:cNvPr>
              <p:cNvSpPr>
                <a:spLocks noChangeAspect="1" noEditPoints="1"/>
              </p:cNvSpPr>
              <p:nvPr/>
            </p:nvSpPr>
            <p:spPr bwMode="auto">
              <a:xfrm>
                <a:off x="4936885" y="4203941"/>
                <a:ext cx="244037" cy="249229"/>
              </a:xfrm>
              <a:custGeom>
                <a:avLst/>
                <a:gdLst>
                  <a:gd name="T0" fmla="*/ 3246 w 5640"/>
                  <a:gd name="T1" fmla="*/ 4899 h 5760"/>
                  <a:gd name="T2" fmla="*/ 3680 w 5640"/>
                  <a:gd name="T3" fmla="*/ 5547 h 5760"/>
                  <a:gd name="T4" fmla="*/ 5133 w 5640"/>
                  <a:gd name="T5" fmla="*/ 5528 h 5760"/>
                  <a:gd name="T6" fmla="*/ 5485 w 5640"/>
                  <a:gd name="T7" fmla="*/ 4814 h 5760"/>
                  <a:gd name="T8" fmla="*/ 5001 w 5640"/>
                  <a:gd name="T9" fmla="*/ 4227 h 5760"/>
                  <a:gd name="T10" fmla="*/ 3949 w 5640"/>
                  <a:gd name="T11" fmla="*/ 4371 h 5760"/>
                  <a:gd name="T12" fmla="*/ 3951 w 5640"/>
                  <a:gd name="T13" fmla="*/ 4203 h 5760"/>
                  <a:gd name="T14" fmla="*/ 4985 w 5640"/>
                  <a:gd name="T15" fmla="*/ 4035 h 5760"/>
                  <a:gd name="T16" fmla="*/ 5518 w 5640"/>
                  <a:gd name="T17" fmla="*/ 4325 h 5760"/>
                  <a:gd name="T18" fmla="*/ 5638 w 5640"/>
                  <a:gd name="T19" fmla="*/ 5446 h 5760"/>
                  <a:gd name="T20" fmla="*/ 5219 w 5640"/>
                  <a:gd name="T21" fmla="*/ 5659 h 5760"/>
                  <a:gd name="T22" fmla="*/ 3767 w 5640"/>
                  <a:gd name="T23" fmla="*/ 5715 h 5760"/>
                  <a:gd name="T24" fmla="*/ 3131 w 5640"/>
                  <a:gd name="T25" fmla="*/ 5507 h 5760"/>
                  <a:gd name="T26" fmla="*/ 3145 w 5640"/>
                  <a:gd name="T27" fmla="*/ 4536 h 5760"/>
                  <a:gd name="T28" fmla="*/ 521 w 5640"/>
                  <a:gd name="T29" fmla="*/ 3473 h 5760"/>
                  <a:gd name="T30" fmla="*/ 149 w 5640"/>
                  <a:gd name="T31" fmla="*/ 4358 h 5760"/>
                  <a:gd name="T32" fmla="*/ 676 w 5640"/>
                  <a:gd name="T33" fmla="*/ 4936 h 5760"/>
                  <a:gd name="T34" fmla="*/ 2114 w 5640"/>
                  <a:gd name="T35" fmla="*/ 4879 h 5760"/>
                  <a:gd name="T36" fmla="*/ 2382 w 5640"/>
                  <a:gd name="T37" fmla="*/ 4102 h 5760"/>
                  <a:gd name="T38" fmla="*/ 1838 w 5640"/>
                  <a:gd name="T39" fmla="*/ 3651 h 5760"/>
                  <a:gd name="T40" fmla="*/ 779 w 5640"/>
                  <a:gd name="T41" fmla="*/ 3700 h 5760"/>
                  <a:gd name="T42" fmla="*/ 2387 w 5640"/>
                  <a:gd name="T43" fmla="*/ 3631 h 5760"/>
                  <a:gd name="T44" fmla="*/ 2544 w 5640"/>
                  <a:gd name="T45" fmla="*/ 4641 h 5760"/>
                  <a:gd name="T46" fmla="*/ 2196 w 5640"/>
                  <a:gd name="T47" fmla="*/ 5008 h 5760"/>
                  <a:gd name="T48" fmla="*/ 774 w 5640"/>
                  <a:gd name="T49" fmla="*/ 5100 h 5760"/>
                  <a:gd name="T50" fmla="*/ 42 w 5640"/>
                  <a:gd name="T51" fmla="*/ 4882 h 5760"/>
                  <a:gd name="T52" fmla="*/ 33 w 5640"/>
                  <a:gd name="T53" fmla="*/ 3981 h 5760"/>
                  <a:gd name="T54" fmla="*/ 549 w 5640"/>
                  <a:gd name="T55" fmla="*/ 3304 h 5760"/>
                  <a:gd name="T56" fmla="*/ 1361 w 5640"/>
                  <a:gd name="T57" fmla="*/ 3685 h 5760"/>
                  <a:gd name="T58" fmla="*/ 4260 w 5640"/>
                  <a:gd name="T59" fmla="*/ 2267 h 5760"/>
                  <a:gd name="T60" fmla="*/ 3563 w 5640"/>
                  <a:gd name="T61" fmla="*/ 3049 h 5760"/>
                  <a:gd name="T62" fmla="*/ 4260 w 5640"/>
                  <a:gd name="T63" fmla="*/ 3833 h 5760"/>
                  <a:gd name="T64" fmla="*/ 5119 w 5640"/>
                  <a:gd name="T65" fmla="*/ 3231 h 5760"/>
                  <a:gd name="T66" fmla="*/ 4618 w 5640"/>
                  <a:gd name="T67" fmla="*/ 2307 h 5760"/>
                  <a:gd name="T68" fmla="*/ 5107 w 5640"/>
                  <a:gd name="T69" fmla="*/ 2498 h 5760"/>
                  <a:gd name="T70" fmla="*/ 5046 w 5640"/>
                  <a:gd name="T71" fmla="*/ 3676 h 5760"/>
                  <a:gd name="T72" fmla="*/ 3881 w 5640"/>
                  <a:gd name="T73" fmla="*/ 3857 h 5760"/>
                  <a:gd name="T74" fmla="*/ 3463 w 5640"/>
                  <a:gd name="T75" fmla="*/ 2754 h 5760"/>
                  <a:gd name="T76" fmla="*/ 1256 w 5640"/>
                  <a:gd name="T77" fmla="*/ 1632 h 5760"/>
                  <a:gd name="T78" fmla="*/ 474 w 5640"/>
                  <a:gd name="T79" fmla="*/ 2328 h 5760"/>
                  <a:gd name="T80" fmla="*/ 1076 w 5640"/>
                  <a:gd name="T81" fmla="*/ 3187 h 5760"/>
                  <a:gd name="T82" fmla="*/ 1999 w 5640"/>
                  <a:gd name="T83" fmla="*/ 2686 h 5760"/>
                  <a:gd name="T84" fmla="*/ 1604 w 5640"/>
                  <a:gd name="T85" fmla="*/ 1712 h 5760"/>
                  <a:gd name="T86" fmla="*/ 1952 w 5640"/>
                  <a:gd name="T87" fmla="*/ 1794 h 5760"/>
                  <a:gd name="T88" fmla="*/ 2011 w 5640"/>
                  <a:gd name="T89" fmla="*/ 2973 h 5760"/>
                  <a:gd name="T90" fmla="*/ 870 w 5640"/>
                  <a:gd name="T91" fmla="*/ 3273 h 5760"/>
                  <a:gd name="T92" fmla="*/ 343 w 5640"/>
                  <a:gd name="T93" fmla="*/ 2220 h 5760"/>
                  <a:gd name="T94" fmla="*/ 1256 w 5640"/>
                  <a:gd name="T95" fmla="*/ 1485 h 5760"/>
                  <a:gd name="T96" fmla="*/ 3241 w 5640"/>
                  <a:gd name="T97" fmla="*/ 1766 h 5760"/>
                  <a:gd name="T98" fmla="*/ 3905 w 5640"/>
                  <a:gd name="T99" fmla="*/ 1763 h 5760"/>
                  <a:gd name="T100" fmla="*/ 3874 w 5640"/>
                  <a:gd name="T101" fmla="*/ 635 h 5760"/>
                  <a:gd name="T102" fmla="*/ 4050 w 5640"/>
                  <a:gd name="T103" fmla="*/ 1841 h 5760"/>
                  <a:gd name="T104" fmla="*/ 3645 w 5640"/>
                  <a:gd name="T105" fmla="*/ 2334 h 5760"/>
                  <a:gd name="T106" fmla="*/ 2478 w 5640"/>
                  <a:gd name="T107" fmla="*/ 883 h 5760"/>
                  <a:gd name="T108" fmla="*/ 3039 w 5640"/>
                  <a:gd name="T109" fmla="*/ 42 h 5760"/>
                  <a:gd name="T110" fmla="*/ 3032 w 5640"/>
                  <a:gd name="T111" fmla="*/ 607 h 5760"/>
                  <a:gd name="T112" fmla="*/ 1671 w 5640"/>
                  <a:gd name="T113" fmla="*/ 189 h 5760"/>
                  <a:gd name="T114" fmla="*/ 2027 w 5640"/>
                  <a:gd name="T115" fmla="*/ 1169 h 5760"/>
                  <a:gd name="T116" fmla="*/ 2451 w 5640"/>
                  <a:gd name="T117" fmla="*/ 1239 h 5760"/>
                  <a:gd name="T118" fmla="*/ 1753 w 5640"/>
                  <a:gd name="T119" fmla="*/ 1279 h 5760"/>
                  <a:gd name="T120" fmla="*/ 1578 w 5640"/>
                  <a:gd name="T121" fmla="*/ 73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640" h="5760">
                    <a:moveTo>
                      <a:pt x="3615" y="4102"/>
                    </a:moveTo>
                    <a:lnTo>
                      <a:pt x="3549" y="4147"/>
                    </a:lnTo>
                    <a:lnTo>
                      <a:pt x="3489" y="4196"/>
                    </a:lnTo>
                    <a:lnTo>
                      <a:pt x="3440" y="4250"/>
                    </a:lnTo>
                    <a:lnTo>
                      <a:pt x="3397" y="4308"/>
                    </a:lnTo>
                    <a:lnTo>
                      <a:pt x="3360" y="4369"/>
                    </a:lnTo>
                    <a:lnTo>
                      <a:pt x="3330" y="4435"/>
                    </a:lnTo>
                    <a:lnTo>
                      <a:pt x="3304" y="4503"/>
                    </a:lnTo>
                    <a:lnTo>
                      <a:pt x="3285" y="4577"/>
                    </a:lnTo>
                    <a:lnTo>
                      <a:pt x="3271" y="4652"/>
                    </a:lnTo>
                    <a:lnTo>
                      <a:pt x="3259" y="4732"/>
                    </a:lnTo>
                    <a:lnTo>
                      <a:pt x="3252" y="4814"/>
                    </a:lnTo>
                    <a:lnTo>
                      <a:pt x="3246" y="4899"/>
                    </a:lnTo>
                    <a:lnTo>
                      <a:pt x="3245" y="4989"/>
                    </a:lnTo>
                    <a:lnTo>
                      <a:pt x="3243" y="5079"/>
                    </a:lnTo>
                    <a:lnTo>
                      <a:pt x="3243" y="5174"/>
                    </a:lnTo>
                    <a:lnTo>
                      <a:pt x="3245" y="5270"/>
                    </a:lnTo>
                    <a:lnTo>
                      <a:pt x="3245" y="5404"/>
                    </a:lnTo>
                    <a:lnTo>
                      <a:pt x="3271" y="5416"/>
                    </a:lnTo>
                    <a:lnTo>
                      <a:pt x="3306" y="5432"/>
                    </a:lnTo>
                    <a:lnTo>
                      <a:pt x="3348" y="5449"/>
                    </a:lnTo>
                    <a:lnTo>
                      <a:pt x="3398" y="5469"/>
                    </a:lnTo>
                    <a:lnTo>
                      <a:pt x="3456" y="5488"/>
                    </a:lnTo>
                    <a:lnTo>
                      <a:pt x="3522" y="5509"/>
                    </a:lnTo>
                    <a:lnTo>
                      <a:pt x="3598" y="5528"/>
                    </a:lnTo>
                    <a:lnTo>
                      <a:pt x="3680" y="5547"/>
                    </a:lnTo>
                    <a:lnTo>
                      <a:pt x="3772" y="5565"/>
                    </a:lnTo>
                    <a:lnTo>
                      <a:pt x="3872" y="5580"/>
                    </a:lnTo>
                    <a:lnTo>
                      <a:pt x="3982" y="5594"/>
                    </a:lnTo>
                    <a:lnTo>
                      <a:pt x="4099" y="5605"/>
                    </a:lnTo>
                    <a:lnTo>
                      <a:pt x="4227" y="5610"/>
                    </a:lnTo>
                    <a:lnTo>
                      <a:pt x="4361" y="5613"/>
                    </a:lnTo>
                    <a:lnTo>
                      <a:pt x="4499" y="5610"/>
                    </a:lnTo>
                    <a:lnTo>
                      <a:pt x="4627" y="5605"/>
                    </a:lnTo>
                    <a:lnTo>
                      <a:pt x="4745" y="5594"/>
                    </a:lnTo>
                    <a:lnTo>
                      <a:pt x="4856" y="5580"/>
                    </a:lnTo>
                    <a:lnTo>
                      <a:pt x="4957" y="5565"/>
                    </a:lnTo>
                    <a:lnTo>
                      <a:pt x="5049" y="5547"/>
                    </a:lnTo>
                    <a:lnTo>
                      <a:pt x="5133" y="5528"/>
                    </a:lnTo>
                    <a:lnTo>
                      <a:pt x="5208" y="5509"/>
                    </a:lnTo>
                    <a:lnTo>
                      <a:pt x="5277" y="5488"/>
                    </a:lnTo>
                    <a:lnTo>
                      <a:pt x="5336" y="5469"/>
                    </a:lnTo>
                    <a:lnTo>
                      <a:pt x="5387" y="5449"/>
                    </a:lnTo>
                    <a:lnTo>
                      <a:pt x="5429" y="5432"/>
                    </a:lnTo>
                    <a:lnTo>
                      <a:pt x="5464" y="5416"/>
                    </a:lnTo>
                    <a:lnTo>
                      <a:pt x="5492" y="5402"/>
                    </a:lnTo>
                    <a:lnTo>
                      <a:pt x="5492" y="5270"/>
                    </a:lnTo>
                    <a:lnTo>
                      <a:pt x="5493" y="5174"/>
                    </a:lnTo>
                    <a:lnTo>
                      <a:pt x="5493" y="5079"/>
                    </a:lnTo>
                    <a:lnTo>
                      <a:pt x="5492" y="4989"/>
                    </a:lnTo>
                    <a:lnTo>
                      <a:pt x="5490" y="4899"/>
                    </a:lnTo>
                    <a:lnTo>
                      <a:pt x="5485" y="4814"/>
                    </a:lnTo>
                    <a:lnTo>
                      <a:pt x="5476" y="4732"/>
                    </a:lnTo>
                    <a:lnTo>
                      <a:pt x="5465" y="4652"/>
                    </a:lnTo>
                    <a:lnTo>
                      <a:pt x="5450" y="4577"/>
                    </a:lnTo>
                    <a:lnTo>
                      <a:pt x="5430" y="4503"/>
                    </a:lnTo>
                    <a:lnTo>
                      <a:pt x="5406" y="4435"/>
                    </a:lnTo>
                    <a:lnTo>
                      <a:pt x="5376" y="4369"/>
                    </a:lnTo>
                    <a:lnTo>
                      <a:pt x="5340" y="4308"/>
                    </a:lnTo>
                    <a:lnTo>
                      <a:pt x="5296" y="4250"/>
                    </a:lnTo>
                    <a:lnTo>
                      <a:pt x="5245" y="4196"/>
                    </a:lnTo>
                    <a:lnTo>
                      <a:pt x="5188" y="4147"/>
                    </a:lnTo>
                    <a:lnTo>
                      <a:pt x="5121" y="4102"/>
                    </a:lnTo>
                    <a:lnTo>
                      <a:pt x="5063" y="4168"/>
                    </a:lnTo>
                    <a:lnTo>
                      <a:pt x="5001" y="4227"/>
                    </a:lnTo>
                    <a:lnTo>
                      <a:pt x="4932" y="4282"/>
                    </a:lnTo>
                    <a:lnTo>
                      <a:pt x="4861" y="4329"/>
                    </a:lnTo>
                    <a:lnTo>
                      <a:pt x="4786" y="4371"/>
                    </a:lnTo>
                    <a:lnTo>
                      <a:pt x="4707" y="4404"/>
                    </a:lnTo>
                    <a:lnTo>
                      <a:pt x="4625" y="4430"/>
                    </a:lnTo>
                    <a:lnTo>
                      <a:pt x="4541" y="4451"/>
                    </a:lnTo>
                    <a:lnTo>
                      <a:pt x="4455" y="4461"/>
                    </a:lnTo>
                    <a:lnTo>
                      <a:pt x="4368" y="4467"/>
                    </a:lnTo>
                    <a:lnTo>
                      <a:pt x="4281" y="4461"/>
                    </a:lnTo>
                    <a:lnTo>
                      <a:pt x="4193" y="4451"/>
                    </a:lnTo>
                    <a:lnTo>
                      <a:pt x="4110" y="4430"/>
                    </a:lnTo>
                    <a:lnTo>
                      <a:pt x="4027" y="4404"/>
                    </a:lnTo>
                    <a:lnTo>
                      <a:pt x="3949" y="4371"/>
                    </a:lnTo>
                    <a:lnTo>
                      <a:pt x="3874" y="4329"/>
                    </a:lnTo>
                    <a:lnTo>
                      <a:pt x="3802" y="4282"/>
                    </a:lnTo>
                    <a:lnTo>
                      <a:pt x="3736" y="4227"/>
                    </a:lnTo>
                    <a:lnTo>
                      <a:pt x="3673" y="4168"/>
                    </a:lnTo>
                    <a:lnTo>
                      <a:pt x="3615" y="4102"/>
                    </a:lnTo>
                    <a:close/>
                    <a:moveTo>
                      <a:pt x="3636" y="3933"/>
                    </a:moveTo>
                    <a:lnTo>
                      <a:pt x="3659" y="3938"/>
                    </a:lnTo>
                    <a:lnTo>
                      <a:pt x="3680" y="3948"/>
                    </a:lnTo>
                    <a:lnTo>
                      <a:pt x="3697" y="3966"/>
                    </a:lnTo>
                    <a:lnTo>
                      <a:pt x="3751" y="4035"/>
                    </a:lnTo>
                    <a:lnTo>
                      <a:pt x="3813" y="4098"/>
                    </a:lnTo>
                    <a:lnTo>
                      <a:pt x="3879" y="4156"/>
                    </a:lnTo>
                    <a:lnTo>
                      <a:pt x="3951" y="4203"/>
                    </a:lnTo>
                    <a:lnTo>
                      <a:pt x="4027" y="4245"/>
                    </a:lnTo>
                    <a:lnTo>
                      <a:pt x="4108" y="4276"/>
                    </a:lnTo>
                    <a:lnTo>
                      <a:pt x="4193" y="4299"/>
                    </a:lnTo>
                    <a:lnTo>
                      <a:pt x="4279" y="4315"/>
                    </a:lnTo>
                    <a:lnTo>
                      <a:pt x="4368" y="4318"/>
                    </a:lnTo>
                    <a:lnTo>
                      <a:pt x="4457" y="4315"/>
                    </a:lnTo>
                    <a:lnTo>
                      <a:pt x="4543" y="4299"/>
                    </a:lnTo>
                    <a:lnTo>
                      <a:pt x="4627" y="4276"/>
                    </a:lnTo>
                    <a:lnTo>
                      <a:pt x="4707" y="4245"/>
                    </a:lnTo>
                    <a:lnTo>
                      <a:pt x="4784" y="4203"/>
                    </a:lnTo>
                    <a:lnTo>
                      <a:pt x="4857" y="4156"/>
                    </a:lnTo>
                    <a:lnTo>
                      <a:pt x="4924" y="4098"/>
                    </a:lnTo>
                    <a:lnTo>
                      <a:pt x="4985" y="4035"/>
                    </a:lnTo>
                    <a:lnTo>
                      <a:pt x="5039" y="3966"/>
                    </a:lnTo>
                    <a:lnTo>
                      <a:pt x="5055" y="3950"/>
                    </a:lnTo>
                    <a:lnTo>
                      <a:pt x="5072" y="3938"/>
                    </a:lnTo>
                    <a:lnTo>
                      <a:pt x="5093" y="3934"/>
                    </a:lnTo>
                    <a:lnTo>
                      <a:pt x="5114" y="3934"/>
                    </a:lnTo>
                    <a:lnTo>
                      <a:pt x="5135" y="3943"/>
                    </a:lnTo>
                    <a:lnTo>
                      <a:pt x="5212" y="3987"/>
                    </a:lnTo>
                    <a:lnTo>
                      <a:pt x="5280" y="4034"/>
                    </a:lnTo>
                    <a:lnTo>
                      <a:pt x="5341" y="4084"/>
                    </a:lnTo>
                    <a:lnTo>
                      <a:pt x="5395" y="4140"/>
                    </a:lnTo>
                    <a:lnTo>
                      <a:pt x="5443" y="4198"/>
                    </a:lnTo>
                    <a:lnTo>
                      <a:pt x="5483" y="4261"/>
                    </a:lnTo>
                    <a:lnTo>
                      <a:pt x="5518" y="4325"/>
                    </a:lnTo>
                    <a:lnTo>
                      <a:pt x="5547" y="4393"/>
                    </a:lnTo>
                    <a:lnTo>
                      <a:pt x="5572" y="4463"/>
                    </a:lnTo>
                    <a:lnTo>
                      <a:pt x="5591" y="4536"/>
                    </a:lnTo>
                    <a:lnTo>
                      <a:pt x="5607" y="4611"/>
                    </a:lnTo>
                    <a:lnTo>
                      <a:pt x="5619" y="4688"/>
                    </a:lnTo>
                    <a:lnTo>
                      <a:pt x="5628" y="4769"/>
                    </a:lnTo>
                    <a:lnTo>
                      <a:pt x="5633" y="4849"/>
                    </a:lnTo>
                    <a:lnTo>
                      <a:pt x="5637" y="4931"/>
                    </a:lnTo>
                    <a:lnTo>
                      <a:pt x="5640" y="5015"/>
                    </a:lnTo>
                    <a:lnTo>
                      <a:pt x="5640" y="5098"/>
                    </a:lnTo>
                    <a:lnTo>
                      <a:pt x="5640" y="5186"/>
                    </a:lnTo>
                    <a:lnTo>
                      <a:pt x="5638" y="5271"/>
                    </a:lnTo>
                    <a:lnTo>
                      <a:pt x="5638" y="5446"/>
                    </a:lnTo>
                    <a:lnTo>
                      <a:pt x="5633" y="5470"/>
                    </a:lnTo>
                    <a:lnTo>
                      <a:pt x="5623" y="5491"/>
                    </a:lnTo>
                    <a:lnTo>
                      <a:pt x="5603" y="5509"/>
                    </a:lnTo>
                    <a:lnTo>
                      <a:pt x="5598" y="5512"/>
                    </a:lnTo>
                    <a:lnTo>
                      <a:pt x="5584" y="5519"/>
                    </a:lnTo>
                    <a:lnTo>
                      <a:pt x="5565" y="5531"/>
                    </a:lnTo>
                    <a:lnTo>
                      <a:pt x="5537" y="5544"/>
                    </a:lnTo>
                    <a:lnTo>
                      <a:pt x="5502" y="5561"/>
                    </a:lnTo>
                    <a:lnTo>
                      <a:pt x="5460" y="5578"/>
                    </a:lnTo>
                    <a:lnTo>
                      <a:pt x="5411" y="5598"/>
                    </a:lnTo>
                    <a:lnTo>
                      <a:pt x="5355" y="5617"/>
                    </a:lnTo>
                    <a:lnTo>
                      <a:pt x="5291" y="5638"/>
                    </a:lnTo>
                    <a:lnTo>
                      <a:pt x="5219" y="5659"/>
                    </a:lnTo>
                    <a:lnTo>
                      <a:pt x="5140" y="5678"/>
                    </a:lnTo>
                    <a:lnTo>
                      <a:pt x="5053" y="5697"/>
                    </a:lnTo>
                    <a:lnTo>
                      <a:pt x="4957" y="5715"/>
                    </a:lnTo>
                    <a:lnTo>
                      <a:pt x="4854" y="5729"/>
                    </a:lnTo>
                    <a:lnTo>
                      <a:pt x="4744" y="5743"/>
                    </a:lnTo>
                    <a:lnTo>
                      <a:pt x="4625" y="5751"/>
                    </a:lnTo>
                    <a:lnTo>
                      <a:pt x="4497" y="5758"/>
                    </a:lnTo>
                    <a:lnTo>
                      <a:pt x="4361" y="5760"/>
                    </a:lnTo>
                    <a:lnTo>
                      <a:pt x="4227" y="5758"/>
                    </a:lnTo>
                    <a:lnTo>
                      <a:pt x="4099" y="5751"/>
                    </a:lnTo>
                    <a:lnTo>
                      <a:pt x="3980" y="5743"/>
                    </a:lnTo>
                    <a:lnTo>
                      <a:pt x="3870" y="5729"/>
                    </a:lnTo>
                    <a:lnTo>
                      <a:pt x="3767" y="5715"/>
                    </a:lnTo>
                    <a:lnTo>
                      <a:pt x="3673" y="5697"/>
                    </a:lnTo>
                    <a:lnTo>
                      <a:pt x="3587" y="5678"/>
                    </a:lnTo>
                    <a:lnTo>
                      <a:pt x="3509" y="5659"/>
                    </a:lnTo>
                    <a:lnTo>
                      <a:pt x="3437" y="5638"/>
                    </a:lnTo>
                    <a:lnTo>
                      <a:pt x="3374" y="5617"/>
                    </a:lnTo>
                    <a:lnTo>
                      <a:pt x="3318" y="5598"/>
                    </a:lnTo>
                    <a:lnTo>
                      <a:pt x="3271" y="5578"/>
                    </a:lnTo>
                    <a:lnTo>
                      <a:pt x="3229" y="5559"/>
                    </a:lnTo>
                    <a:lnTo>
                      <a:pt x="3196" y="5544"/>
                    </a:lnTo>
                    <a:lnTo>
                      <a:pt x="3170" y="5530"/>
                    </a:lnTo>
                    <a:lnTo>
                      <a:pt x="3149" y="5519"/>
                    </a:lnTo>
                    <a:lnTo>
                      <a:pt x="3136" y="5512"/>
                    </a:lnTo>
                    <a:lnTo>
                      <a:pt x="3131" y="5507"/>
                    </a:lnTo>
                    <a:lnTo>
                      <a:pt x="3114" y="5491"/>
                    </a:lnTo>
                    <a:lnTo>
                      <a:pt x="3101" y="5470"/>
                    </a:lnTo>
                    <a:lnTo>
                      <a:pt x="3098" y="5446"/>
                    </a:lnTo>
                    <a:lnTo>
                      <a:pt x="3096" y="5271"/>
                    </a:lnTo>
                    <a:lnTo>
                      <a:pt x="3096" y="5186"/>
                    </a:lnTo>
                    <a:lnTo>
                      <a:pt x="3096" y="5098"/>
                    </a:lnTo>
                    <a:lnTo>
                      <a:pt x="3096" y="5015"/>
                    </a:lnTo>
                    <a:lnTo>
                      <a:pt x="3098" y="4931"/>
                    </a:lnTo>
                    <a:lnTo>
                      <a:pt x="3101" y="4849"/>
                    </a:lnTo>
                    <a:lnTo>
                      <a:pt x="3108" y="4767"/>
                    </a:lnTo>
                    <a:lnTo>
                      <a:pt x="3117" y="4688"/>
                    </a:lnTo>
                    <a:lnTo>
                      <a:pt x="3129" y="4611"/>
                    </a:lnTo>
                    <a:lnTo>
                      <a:pt x="3145" y="4536"/>
                    </a:lnTo>
                    <a:lnTo>
                      <a:pt x="3164" y="4463"/>
                    </a:lnTo>
                    <a:lnTo>
                      <a:pt x="3189" y="4392"/>
                    </a:lnTo>
                    <a:lnTo>
                      <a:pt x="3218" y="4323"/>
                    </a:lnTo>
                    <a:lnTo>
                      <a:pt x="3253" y="4259"/>
                    </a:lnTo>
                    <a:lnTo>
                      <a:pt x="3294" y="4198"/>
                    </a:lnTo>
                    <a:lnTo>
                      <a:pt x="3341" y="4138"/>
                    </a:lnTo>
                    <a:lnTo>
                      <a:pt x="3395" y="4084"/>
                    </a:lnTo>
                    <a:lnTo>
                      <a:pt x="3456" y="4032"/>
                    </a:lnTo>
                    <a:lnTo>
                      <a:pt x="3526" y="3985"/>
                    </a:lnTo>
                    <a:lnTo>
                      <a:pt x="3603" y="3941"/>
                    </a:lnTo>
                    <a:lnTo>
                      <a:pt x="3613" y="3938"/>
                    </a:lnTo>
                    <a:lnTo>
                      <a:pt x="3636" y="3933"/>
                    </a:lnTo>
                    <a:close/>
                    <a:moveTo>
                      <a:pt x="521" y="3473"/>
                    </a:moveTo>
                    <a:lnTo>
                      <a:pt x="453" y="3517"/>
                    </a:lnTo>
                    <a:lnTo>
                      <a:pt x="395" y="3568"/>
                    </a:lnTo>
                    <a:lnTo>
                      <a:pt x="344" y="3620"/>
                    </a:lnTo>
                    <a:lnTo>
                      <a:pt x="301" y="3678"/>
                    </a:lnTo>
                    <a:lnTo>
                      <a:pt x="264" y="3741"/>
                    </a:lnTo>
                    <a:lnTo>
                      <a:pt x="234" y="3805"/>
                    </a:lnTo>
                    <a:lnTo>
                      <a:pt x="210" y="3875"/>
                    </a:lnTo>
                    <a:lnTo>
                      <a:pt x="191" y="3946"/>
                    </a:lnTo>
                    <a:lnTo>
                      <a:pt x="175" y="4023"/>
                    </a:lnTo>
                    <a:lnTo>
                      <a:pt x="164" y="4102"/>
                    </a:lnTo>
                    <a:lnTo>
                      <a:pt x="156" y="4184"/>
                    </a:lnTo>
                    <a:lnTo>
                      <a:pt x="151" y="4269"/>
                    </a:lnTo>
                    <a:lnTo>
                      <a:pt x="149" y="4358"/>
                    </a:lnTo>
                    <a:lnTo>
                      <a:pt x="147" y="4449"/>
                    </a:lnTo>
                    <a:lnTo>
                      <a:pt x="149" y="4543"/>
                    </a:lnTo>
                    <a:lnTo>
                      <a:pt x="149" y="4641"/>
                    </a:lnTo>
                    <a:lnTo>
                      <a:pt x="151" y="4774"/>
                    </a:lnTo>
                    <a:lnTo>
                      <a:pt x="177" y="4786"/>
                    </a:lnTo>
                    <a:lnTo>
                      <a:pt x="210" y="4802"/>
                    </a:lnTo>
                    <a:lnTo>
                      <a:pt x="252" y="4819"/>
                    </a:lnTo>
                    <a:lnTo>
                      <a:pt x="303" y="4838"/>
                    </a:lnTo>
                    <a:lnTo>
                      <a:pt x="360" y="4859"/>
                    </a:lnTo>
                    <a:lnTo>
                      <a:pt x="427" y="4879"/>
                    </a:lnTo>
                    <a:lnTo>
                      <a:pt x="502" y="4899"/>
                    </a:lnTo>
                    <a:lnTo>
                      <a:pt x="586" y="4917"/>
                    </a:lnTo>
                    <a:lnTo>
                      <a:pt x="676" y="4936"/>
                    </a:lnTo>
                    <a:lnTo>
                      <a:pt x="778" y="4952"/>
                    </a:lnTo>
                    <a:lnTo>
                      <a:pt x="886" y="4964"/>
                    </a:lnTo>
                    <a:lnTo>
                      <a:pt x="1005" y="4975"/>
                    </a:lnTo>
                    <a:lnTo>
                      <a:pt x="1131" y="4982"/>
                    </a:lnTo>
                    <a:lnTo>
                      <a:pt x="1267" y="4983"/>
                    </a:lnTo>
                    <a:lnTo>
                      <a:pt x="1403" y="4982"/>
                    </a:lnTo>
                    <a:lnTo>
                      <a:pt x="1531" y="4975"/>
                    </a:lnTo>
                    <a:lnTo>
                      <a:pt x="1650" y="4964"/>
                    </a:lnTo>
                    <a:lnTo>
                      <a:pt x="1760" y="4952"/>
                    </a:lnTo>
                    <a:lnTo>
                      <a:pt x="1861" y="4936"/>
                    </a:lnTo>
                    <a:lnTo>
                      <a:pt x="1954" y="4917"/>
                    </a:lnTo>
                    <a:lnTo>
                      <a:pt x="2037" y="4899"/>
                    </a:lnTo>
                    <a:lnTo>
                      <a:pt x="2114" y="4879"/>
                    </a:lnTo>
                    <a:lnTo>
                      <a:pt x="2181" y="4859"/>
                    </a:lnTo>
                    <a:lnTo>
                      <a:pt x="2240" y="4838"/>
                    </a:lnTo>
                    <a:lnTo>
                      <a:pt x="2291" y="4819"/>
                    </a:lnTo>
                    <a:lnTo>
                      <a:pt x="2334" y="4802"/>
                    </a:lnTo>
                    <a:lnTo>
                      <a:pt x="2369" y="4786"/>
                    </a:lnTo>
                    <a:lnTo>
                      <a:pt x="2396" y="4774"/>
                    </a:lnTo>
                    <a:lnTo>
                      <a:pt x="2397" y="4639"/>
                    </a:lnTo>
                    <a:lnTo>
                      <a:pt x="2397" y="4543"/>
                    </a:lnTo>
                    <a:lnTo>
                      <a:pt x="2397" y="4449"/>
                    </a:lnTo>
                    <a:lnTo>
                      <a:pt x="2397" y="4358"/>
                    </a:lnTo>
                    <a:lnTo>
                      <a:pt x="2394" y="4269"/>
                    </a:lnTo>
                    <a:lnTo>
                      <a:pt x="2389" y="4184"/>
                    </a:lnTo>
                    <a:lnTo>
                      <a:pt x="2382" y="4102"/>
                    </a:lnTo>
                    <a:lnTo>
                      <a:pt x="2369" y="4023"/>
                    </a:lnTo>
                    <a:lnTo>
                      <a:pt x="2355" y="3946"/>
                    </a:lnTo>
                    <a:lnTo>
                      <a:pt x="2336" y="3873"/>
                    </a:lnTo>
                    <a:lnTo>
                      <a:pt x="2310" y="3805"/>
                    </a:lnTo>
                    <a:lnTo>
                      <a:pt x="2280" y="3741"/>
                    </a:lnTo>
                    <a:lnTo>
                      <a:pt x="2244" y="3678"/>
                    </a:lnTo>
                    <a:lnTo>
                      <a:pt x="2202" y="3620"/>
                    </a:lnTo>
                    <a:lnTo>
                      <a:pt x="2151" y="3568"/>
                    </a:lnTo>
                    <a:lnTo>
                      <a:pt x="2092" y="3517"/>
                    </a:lnTo>
                    <a:lnTo>
                      <a:pt x="2025" y="3473"/>
                    </a:lnTo>
                    <a:lnTo>
                      <a:pt x="1968" y="3538"/>
                    </a:lnTo>
                    <a:lnTo>
                      <a:pt x="1905" y="3599"/>
                    </a:lnTo>
                    <a:lnTo>
                      <a:pt x="1838" y="3651"/>
                    </a:lnTo>
                    <a:lnTo>
                      <a:pt x="1767" y="3700"/>
                    </a:lnTo>
                    <a:lnTo>
                      <a:pt x="1691" y="3741"/>
                    </a:lnTo>
                    <a:lnTo>
                      <a:pt x="1613" y="3774"/>
                    </a:lnTo>
                    <a:lnTo>
                      <a:pt x="1531" y="3802"/>
                    </a:lnTo>
                    <a:lnTo>
                      <a:pt x="1447" y="3821"/>
                    </a:lnTo>
                    <a:lnTo>
                      <a:pt x="1360" y="3833"/>
                    </a:lnTo>
                    <a:lnTo>
                      <a:pt x="1272" y="3837"/>
                    </a:lnTo>
                    <a:lnTo>
                      <a:pt x="1185" y="3833"/>
                    </a:lnTo>
                    <a:lnTo>
                      <a:pt x="1099" y="3821"/>
                    </a:lnTo>
                    <a:lnTo>
                      <a:pt x="1015" y="3802"/>
                    </a:lnTo>
                    <a:lnTo>
                      <a:pt x="933" y="3774"/>
                    </a:lnTo>
                    <a:lnTo>
                      <a:pt x="855" y="3741"/>
                    </a:lnTo>
                    <a:lnTo>
                      <a:pt x="779" y="3700"/>
                    </a:lnTo>
                    <a:lnTo>
                      <a:pt x="708" y="3651"/>
                    </a:lnTo>
                    <a:lnTo>
                      <a:pt x="640" y="3599"/>
                    </a:lnTo>
                    <a:lnTo>
                      <a:pt x="577" y="3538"/>
                    </a:lnTo>
                    <a:lnTo>
                      <a:pt x="521" y="3473"/>
                    </a:lnTo>
                    <a:close/>
                    <a:moveTo>
                      <a:pt x="1997" y="3304"/>
                    </a:moveTo>
                    <a:lnTo>
                      <a:pt x="2020" y="3306"/>
                    </a:lnTo>
                    <a:lnTo>
                      <a:pt x="2039" y="3313"/>
                    </a:lnTo>
                    <a:lnTo>
                      <a:pt x="2116" y="3357"/>
                    </a:lnTo>
                    <a:lnTo>
                      <a:pt x="2186" y="3404"/>
                    </a:lnTo>
                    <a:lnTo>
                      <a:pt x="2247" y="3456"/>
                    </a:lnTo>
                    <a:lnTo>
                      <a:pt x="2299" y="3510"/>
                    </a:lnTo>
                    <a:lnTo>
                      <a:pt x="2347" y="3569"/>
                    </a:lnTo>
                    <a:lnTo>
                      <a:pt x="2387" y="3631"/>
                    </a:lnTo>
                    <a:lnTo>
                      <a:pt x="2422" y="3695"/>
                    </a:lnTo>
                    <a:lnTo>
                      <a:pt x="2451" y="3763"/>
                    </a:lnTo>
                    <a:lnTo>
                      <a:pt x="2476" y="3833"/>
                    </a:lnTo>
                    <a:lnTo>
                      <a:pt x="2495" y="3906"/>
                    </a:lnTo>
                    <a:lnTo>
                      <a:pt x="2511" y="3981"/>
                    </a:lnTo>
                    <a:lnTo>
                      <a:pt x="2523" y="4060"/>
                    </a:lnTo>
                    <a:lnTo>
                      <a:pt x="2532" y="4138"/>
                    </a:lnTo>
                    <a:lnTo>
                      <a:pt x="2539" y="4219"/>
                    </a:lnTo>
                    <a:lnTo>
                      <a:pt x="2542" y="4301"/>
                    </a:lnTo>
                    <a:lnTo>
                      <a:pt x="2544" y="4385"/>
                    </a:lnTo>
                    <a:lnTo>
                      <a:pt x="2544" y="4470"/>
                    </a:lnTo>
                    <a:lnTo>
                      <a:pt x="2544" y="4556"/>
                    </a:lnTo>
                    <a:lnTo>
                      <a:pt x="2544" y="4641"/>
                    </a:lnTo>
                    <a:lnTo>
                      <a:pt x="2542" y="4817"/>
                    </a:lnTo>
                    <a:lnTo>
                      <a:pt x="2539" y="4840"/>
                    </a:lnTo>
                    <a:lnTo>
                      <a:pt x="2527" y="4863"/>
                    </a:lnTo>
                    <a:lnTo>
                      <a:pt x="2509" y="4879"/>
                    </a:lnTo>
                    <a:lnTo>
                      <a:pt x="2502" y="4882"/>
                    </a:lnTo>
                    <a:lnTo>
                      <a:pt x="2490" y="4891"/>
                    </a:lnTo>
                    <a:lnTo>
                      <a:pt x="2469" y="4901"/>
                    </a:lnTo>
                    <a:lnTo>
                      <a:pt x="2443" y="4915"/>
                    </a:lnTo>
                    <a:lnTo>
                      <a:pt x="2408" y="4931"/>
                    </a:lnTo>
                    <a:lnTo>
                      <a:pt x="2366" y="4948"/>
                    </a:lnTo>
                    <a:lnTo>
                      <a:pt x="2317" y="4968"/>
                    </a:lnTo>
                    <a:lnTo>
                      <a:pt x="2259" y="4989"/>
                    </a:lnTo>
                    <a:lnTo>
                      <a:pt x="2196" y="5008"/>
                    </a:lnTo>
                    <a:lnTo>
                      <a:pt x="2125" y="5029"/>
                    </a:lnTo>
                    <a:lnTo>
                      <a:pt x="2044" y="5048"/>
                    </a:lnTo>
                    <a:lnTo>
                      <a:pt x="1957" y="5067"/>
                    </a:lnTo>
                    <a:lnTo>
                      <a:pt x="1863" y="5085"/>
                    </a:lnTo>
                    <a:lnTo>
                      <a:pt x="1760" y="5100"/>
                    </a:lnTo>
                    <a:lnTo>
                      <a:pt x="1648" y="5112"/>
                    </a:lnTo>
                    <a:lnTo>
                      <a:pt x="1529" y="5123"/>
                    </a:lnTo>
                    <a:lnTo>
                      <a:pt x="1401" y="5128"/>
                    </a:lnTo>
                    <a:lnTo>
                      <a:pt x="1267" y="5130"/>
                    </a:lnTo>
                    <a:lnTo>
                      <a:pt x="1131" y="5128"/>
                    </a:lnTo>
                    <a:lnTo>
                      <a:pt x="1005" y="5121"/>
                    </a:lnTo>
                    <a:lnTo>
                      <a:pt x="886" y="5112"/>
                    </a:lnTo>
                    <a:lnTo>
                      <a:pt x="774" y="5100"/>
                    </a:lnTo>
                    <a:lnTo>
                      <a:pt x="673" y="5085"/>
                    </a:lnTo>
                    <a:lnTo>
                      <a:pt x="579" y="5067"/>
                    </a:lnTo>
                    <a:lnTo>
                      <a:pt x="491" y="5048"/>
                    </a:lnTo>
                    <a:lnTo>
                      <a:pt x="413" y="5029"/>
                    </a:lnTo>
                    <a:lnTo>
                      <a:pt x="343" y="5008"/>
                    </a:lnTo>
                    <a:lnTo>
                      <a:pt x="280" y="4987"/>
                    </a:lnTo>
                    <a:lnTo>
                      <a:pt x="224" y="4968"/>
                    </a:lnTo>
                    <a:lnTo>
                      <a:pt x="175" y="4948"/>
                    </a:lnTo>
                    <a:lnTo>
                      <a:pt x="135" y="4931"/>
                    </a:lnTo>
                    <a:lnTo>
                      <a:pt x="100" y="4913"/>
                    </a:lnTo>
                    <a:lnTo>
                      <a:pt x="74" y="4899"/>
                    </a:lnTo>
                    <a:lnTo>
                      <a:pt x="54" y="4889"/>
                    </a:lnTo>
                    <a:lnTo>
                      <a:pt x="42" y="4882"/>
                    </a:lnTo>
                    <a:lnTo>
                      <a:pt x="35" y="4879"/>
                    </a:lnTo>
                    <a:lnTo>
                      <a:pt x="18" y="4861"/>
                    </a:lnTo>
                    <a:lnTo>
                      <a:pt x="7" y="4840"/>
                    </a:lnTo>
                    <a:lnTo>
                      <a:pt x="2" y="4817"/>
                    </a:lnTo>
                    <a:lnTo>
                      <a:pt x="2" y="4641"/>
                    </a:lnTo>
                    <a:lnTo>
                      <a:pt x="0" y="4556"/>
                    </a:lnTo>
                    <a:lnTo>
                      <a:pt x="0" y="4470"/>
                    </a:lnTo>
                    <a:lnTo>
                      <a:pt x="0" y="4385"/>
                    </a:lnTo>
                    <a:lnTo>
                      <a:pt x="4" y="4301"/>
                    </a:lnTo>
                    <a:lnTo>
                      <a:pt x="7" y="4219"/>
                    </a:lnTo>
                    <a:lnTo>
                      <a:pt x="12" y="4138"/>
                    </a:lnTo>
                    <a:lnTo>
                      <a:pt x="21" y="4058"/>
                    </a:lnTo>
                    <a:lnTo>
                      <a:pt x="33" y="3981"/>
                    </a:lnTo>
                    <a:lnTo>
                      <a:pt x="49" y="3906"/>
                    </a:lnTo>
                    <a:lnTo>
                      <a:pt x="70" y="3833"/>
                    </a:lnTo>
                    <a:lnTo>
                      <a:pt x="95" y="3763"/>
                    </a:lnTo>
                    <a:lnTo>
                      <a:pt x="123" y="3695"/>
                    </a:lnTo>
                    <a:lnTo>
                      <a:pt x="157" y="3631"/>
                    </a:lnTo>
                    <a:lnTo>
                      <a:pt x="198" y="3568"/>
                    </a:lnTo>
                    <a:lnTo>
                      <a:pt x="245" y="3510"/>
                    </a:lnTo>
                    <a:lnTo>
                      <a:pt x="299" y="3454"/>
                    </a:lnTo>
                    <a:lnTo>
                      <a:pt x="360" y="3404"/>
                    </a:lnTo>
                    <a:lnTo>
                      <a:pt x="430" y="3357"/>
                    </a:lnTo>
                    <a:lnTo>
                      <a:pt x="507" y="3313"/>
                    </a:lnTo>
                    <a:lnTo>
                      <a:pt x="526" y="3306"/>
                    </a:lnTo>
                    <a:lnTo>
                      <a:pt x="549" y="3304"/>
                    </a:lnTo>
                    <a:lnTo>
                      <a:pt x="568" y="3309"/>
                    </a:lnTo>
                    <a:lnTo>
                      <a:pt x="587" y="3320"/>
                    </a:lnTo>
                    <a:lnTo>
                      <a:pt x="601" y="3336"/>
                    </a:lnTo>
                    <a:lnTo>
                      <a:pt x="655" y="3405"/>
                    </a:lnTo>
                    <a:lnTo>
                      <a:pt x="717" y="3470"/>
                    </a:lnTo>
                    <a:lnTo>
                      <a:pt x="783" y="3526"/>
                    </a:lnTo>
                    <a:lnTo>
                      <a:pt x="856" y="3575"/>
                    </a:lnTo>
                    <a:lnTo>
                      <a:pt x="933" y="3615"/>
                    </a:lnTo>
                    <a:lnTo>
                      <a:pt x="1014" y="3646"/>
                    </a:lnTo>
                    <a:lnTo>
                      <a:pt x="1097" y="3671"/>
                    </a:lnTo>
                    <a:lnTo>
                      <a:pt x="1185" y="3685"/>
                    </a:lnTo>
                    <a:lnTo>
                      <a:pt x="1272" y="3690"/>
                    </a:lnTo>
                    <a:lnTo>
                      <a:pt x="1361" y="3685"/>
                    </a:lnTo>
                    <a:lnTo>
                      <a:pt x="1449" y="3671"/>
                    </a:lnTo>
                    <a:lnTo>
                      <a:pt x="1532" y="3646"/>
                    </a:lnTo>
                    <a:lnTo>
                      <a:pt x="1613" y="3615"/>
                    </a:lnTo>
                    <a:lnTo>
                      <a:pt x="1690" y="3575"/>
                    </a:lnTo>
                    <a:lnTo>
                      <a:pt x="1761" y="3526"/>
                    </a:lnTo>
                    <a:lnTo>
                      <a:pt x="1828" y="3470"/>
                    </a:lnTo>
                    <a:lnTo>
                      <a:pt x="1889" y="3405"/>
                    </a:lnTo>
                    <a:lnTo>
                      <a:pt x="1943" y="3336"/>
                    </a:lnTo>
                    <a:lnTo>
                      <a:pt x="1959" y="3320"/>
                    </a:lnTo>
                    <a:lnTo>
                      <a:pt x="1978" y="3309"/>
                    </a:lnTo>
                    <a:lnTo>
                      <a:pt x="1997" y="3304"/>
                    </a:lnTo>
                    <a:close/>
                    <a:moveTo>
                      <a:pt x="4352" y="2262"/>
                    </a:moveTo>
                    <a:lnTo>
                      <a:pt x="4260" y="2267"/>
                    </a:lnTo>
                    <a:lnTo>
                      <a:pt x="4171" y="2283"/>
                    </a:lnTo>
                    <a:lnTo>
                      <a:pt x="4087" y="2307"/>
                    </a:lnTo>
                    <a:lnTo>
                      <a:pt x="4005" y="2342"/>
                    </a:lnTo>
                    <a:lnTo>
                      <a:pt x="3930" y="2384"/>
                    </a:lnTo>
                    <a:lnTo>
                      <a:pt x="3860" y="2435"/>
                    </a:lnTo>
                    <a:lnTo>
                      <a:pt x="3795" y="2493"/>
                    </a:lnTo>
                    <a:lnTo>
                      <a:pt x="3737" y="2557"/>
                    </a:lnTo>
                    <a:lnTo>
                      <a:pt x="3687" y="2627"/>
                    </a:lnTo>
                    <a:lnTo>
                      <a:pt x="3643" y="2704"/>
                    </a:lnTo>
                    <a:lnTo>
                      <a:pt x="3610" y="2784"/>
                    </a:lnTo>
                    <a:lnTo>
                      <a:pt x="3584" y="2870"/>
                    </a:lnTo>
                    <a:lnTo>
                      <a:pt x="3568" y="2959"/>
                    </a:lnTo>
                    <a:lnTo>
                      <a:pt x="3563" y="3049"/>
                    </a:lnTo>
                    <a:lnTo>
                      <a:pt x="3568" y="3142"/>
                    </a:lnTo>
                    <a:lnTo>
                      <a:pt x="3584" y="3231"/>
                    </a:lnTo>
                    <a:lnTo>
                      <a:pt x="3610" y="3315"/>
                    </a:lnTo>
                    <a:lnTo>
                      <a:pt x="3643" y="3397"/>
                    </a:lnTo>
                    <a:lnTo>
                      <a:pt x="3687" y="3472"/>
                    </a:lnTo>
                    <a:lnTo>
                      <a:pt x="3737" y="3542"/>
                    </a:lnTo>
                    <a:lnTo>
                      <a:pt x="3795" y="3606"/>
                    </a:lnTo>
                    <a:lnTo>
                      <a:pt x="3860" y="3664"/>
                    </a:lnTo>
                    <a:lnTo>
                      <a:pt x="3930" y="3714"/>
                    </a:lnTo>
                    <a:lnTo>
                      <a:pt x="4005" y="3758"/>
                    </a:lnTo>
                    <a:lnTo>
                      <a:pt x="4087" y="3791"/>
                    </a:lnTo>
                    <a:lnTo>
                      <a:pt x="4171" y="3817"/>
                    </a:lnTo>
                    <a:lnTo>
                      <a:pt x="4260" y="3833"/>
                    </a:lnTo>
                    <a:lnTo>
                      <a:pt x="4352" y="3838"/>
                    </a:lnTo>
                    <a:lnTo>
                      <a:pt x="4443" y="3833"/>
                    </a:lnTo>
                    <a:lnTo>
                      <a:pt x="4532" y="3817"/>
                    </a:lnTo>
                    <a:lnTo>
                      <a:pt x="4618" y="3791"/>
                    </a:lnTo>
                    <a:lnTo>
                      <a:pt x="4698" y="3758"/>
                    </a:lnTo>
                    <a:lnTo>
                      <a:pt x="4775" y="3714"/>
                    </a:lnTo>
                    <a:lnTo>
                      <a:pt x="4845" y="3664"/>
                    </a:lnTo>
                    <a:lnTo>
                      <a:pt x="4910" y="3606"/>
                    </a:lnTo>
                    <a:lnTo>
                      <a:pt x="4967" y="3542"/>
                    </a:lnTo>
                    <a:lnTo>
                      <a:pt x="5018" y="3472"/>
                    </a:lnTo>
                    <a:lnTo>
                      <a:pt x="5060" y="3397"/>
                    </a:lnTo>
                    <a:lnTo>
                      <a:pt x="5095" y="3315"/>
                    </a:lnTo>
                    <a:lnTo>
                      <a:pt x="5119" y="3231"/>
                    </a:lnTo>
                    <a:lnTo>
                      <a:pt x="5135" y="3142"/>
                    </a:lnTo>
                    <a:lnTo>
                      <a:pt x="5140" y="3049"/>
                    </a:lnTo>
                    <a:lnTo>
                      <a:pt x="5135" y="2959"/>
                    </a:lnTo>
                    <a:lnTo>
                      <a:pt x="5119" y="2870"/>
                    </a:lnTo>
                    <a:lnTo>
                      <a:pt x="5095" y="2784"/>
                    </a:lnTo>
                    <a:lnTo>
                      <a:pt x="5060" y="2704"/>
                    </a:lnTo>
                    <a:lnTo>
                      <a:pt x="5018" y="2627"/>
                    </a:lnTo>
                    <a:lnTo>
                      <a:pt x="4967" y="2557"/>
                    </a:lnTo>
                    <a:lnTo>
                      <a:pt x="4910" y="2493"/>
                    </a:lnTo>
                    <a:lnTo>
                      <a:pt x="4845" y="2435"/>
                    </a:lnTo>
                    <a:lnTo>
                      <a:pt x="4775" y="2384"/>
                    </a:lnTo>
                    <a:lnTo>
                      <a:pt x="4698" y="2342"/>
                    </a:lnTo>
                    <a:lnTo>
                      <a:pt x="4618" y="2307"/>
                    </a:lnTo>
                    <a:lnTo>
                      <a:pt x="4532" y="2283"/>
                    </a:lnTo>
                    <a:lnTo>
                      <a:pt x="4443" y="2267"/>
                    </a:lnTo>
                    <a:lnTo>
                      <a:pt x="4352" y="2262"/>
                    </a:lnTo>
                    <a:close/>
                    <a:moveTo>
                      <a:pt x="4352" y="2114"/>
                    </a:moveTo>
                    <a:lnTo>
                      <a:pt x="4454" y="2121"/>
                    </a:lnTo>
                    <a:lnTo>
                      <a:pt x="4553" y="2136"/>
                    </a:lnTo>
                    <a:lnTo>
                      <a:pt x="4648" y="2163"/>
                    </a:lnTo>
                    <a:lnTo>
                      <a:pt x="4738" y="2198"/>
                    </a:lnTo>
                    <a:lnTo>
                      <a:pt x="4824" y="2243"/>
                    </a:lnTo>
                    <a:lnTo>
                      <a:pt x="4904" y="2295"/>
                    </a:lnTo>
                    <a:lnTo>
                      <a:pt x="4980" y="2356"/>
                    </a:lnTo>
                    <a:lnTo>
                      <a:pt x="5046" y="2423"/>
                    </a:lnTo>
                    <a:lnTo>
                      <a:pt x="5107" y="2498"/>
                    </a:lnTo>
                    <a:lnTo>
                      <a:pt x="5160" y="2578"/>
                    </a:lnTo>
                    <a:lnTo>
                      <a:pt x="5205" y="2664"/>
                    </a:lnTo>
                    <a:lnTo>
                      <a:pt x="5240" y="2754"/>
                    </a:lnTo>
                    <a:lnTo>
                      <a:pt x="5266" y="2849"/>
                    </a:lnTo>
                    <a:lnTo>
                      <a:pt x="5282" y="2948"/>
                    </a:lnTo>
                    <a:lnTo>
                      <a:pt x="5289" y="3049"/>
                    </a:lnTo>
                    <a:lnTo>
                      <a:pt x="5282" y="3152"/>
                    </a:lnTo>
                    <a:lnTo>
                      <a:pt x="5266" y="3250"/>
                    </a:lnTo>
                    <a:lnTo>
                      <a:pt x="5240" y="3344"/>
                    </a:lnTo>
                    <a:lnTo>
                      <a:pt x="5205" y="3435"/>
                    </a:lnTo>
                    <a:lnTo>
                      <a:pt x="5160" y="3521"/>
                    </a:lnTo>
                    <a:lnTo>
                      <a:pt x="5107" y="3601"/>
                    </a:lnTo>
                    <a:lnTo>
                      <a:pt x="5046" y="3676"/>
                    </a:lnTo>
                    <a:lnTo>
                      <a:pt x="4980" y="3744"/>
                    </a:lnTo>
                    <a:lnTo>
                      <a:pt x="4904" y="3805"/>
                    </a:lnTo>
                    <a:lnTo>
                      <a:pt x="4824" y="3857"/>
                    </a:lnTo>
                    <a:lnTo>
                      <a:pt x="4738" y="3901"/>
                    </a:lnTo>
                    <a:lnTo>
                      <a:pt x="4648" y="3938"/>
                    </a:lnTo>
                    <a:lnTo>
                      <a:pt x="4553" y="3964"/>
                    </a:lnTo>
                    <a:lnTo>
                      <a:pt x="4454" y="3980"/>
                    </a:lnTo>
                    <a:lnTo>
                      <a:pt x="4352" y="3985"/>
                    </a:lnTo>
                    <a:lnTo>
                      <a:pt x="4249" y="3980"/>
                    </a:lnTo>
                    <a:lnTo>
                      <a:pt x="4151" y="3964"/>
                    </a:lnTo>
                    <a:lnTo>
                      <a:pt x="4057" y="3938"/>
                    </a:lnTo>
                    <a:lnTo>
                      <a:pt x="3966" y="3901"/>
                    </a:lnTo>
                    <a:lnTo>
                      <a:pt x="3881" y="3857"/>
                    </a:lnTo>
                    <a:lnTo>
                      <a:pt x="3800" y="3805"/>
                    </a:lnTo>
                    <a:lnTo>
                      <a:pt x="3725" y="3744"/>
                    </a:lnTo>
                    <a:lnTo>
                      <a:pt x="3657" y="3676"/>
                    </a:lnTo>
                    <a:lnTo>
                      <a:pt x="3596" y="3601"/>
                    </a:lnTo>
                    <a:lnTo>
                      <a:pt x="3543" y="3521"/>
                    </a:lnTo>
                    <a:lnTo>
                      <a:pt x="3500" y="3435"/>
                    </a:lnTo>
                    <a:lnTo>
                      <a:pt x="3463" y="3344"/>
                    </a:lnTo>
                    <a:lnTo>
                      <a:pt x="3437" y="3250"/>
                    </a:lnTo>
                    <a:lnTo>
                      <a:pt x="3421" y="3152"/>
                    </a:lnTo>
                    <a:lnTo>
                      <a:pt x="3416" y="3049"/>
                    </a:lnTo>
                    <a:lnTo>
                      <a:pt x="3421" y="2948"/>
                    </a:lnTo>
                    <a:lnTo>
                      <a:pt x="3437" y="2849"/>
                    </a:lnTo>
                    <a:lnTo>
                      <a:pt x="3463" y="2754"/>
                    </a:lnTo>
                    <a:lnTo>
                      <a:pt x="3500" y="2664"/>
                    </a:lnTo>
                    <a:lnTo>
                      <a:pt x="3543" y="2578"/>
                    </a:lnTo>
                    <a:lnTo>
                      <a:pt x="3596" y="2498"/>
                    </a:lnTo>
                    <a:lnTo>
                      <a:pt x="3657" y="2423"/>
                    </a:lnTo>
                    <a:lnTo>
                      <a:pt x="3725" y="2356"/>
                    </a:lnTo>
                    <a:lnTo>
                      <a:pt x="3800" y="2295"/>
                    </a:lnTo>
                    <a:lnTo>
                      <a:pt x="3881" y="2243"/>
                    </a:lnTo>
                    <a:lnTo>
                      <a:pt x="3966" y="2198"/>
                    </a:lnTo>
                    <a:lnTo>
                      <a:pt x="4057" y="2163"/>
                    </a:lnTo>
                    <a:lnTo>
                      <a:pt x="4151" y="2136"/>
                    </a:lnTo>
                    <a:lnTo>
                      <a:pt x="4249" y="2121"/>
                    </a:lnTo>
                    <a:lnTo>
                      <a:pt x="4352" y="2114"/>
                    </a:lnTo>
                    <a:close/>
                    <a:moveTo>
                      <a:pt x="1256" y="1632"/>
                    </a:moveTo>
                    <a:lnTo>
                      <a:pt x="1166" y="1637"/>
                    </a:lnTo>
                    <a:lnTo>
                      <a:pt x="1076" y="1653"/>
                    </a:lnTo>
                    <a:lnTo>
                      <a:pt x="991" y="1677"/>
                    </a:lnTo>
                    <a:lnTo>
                      <a:pt x="911" y="1712"/>
                    </a:lnTo>
                    <a:lnTo>
                      <a:pt x="834" y="1754"/>
                    </a:lnTo>
                    <a:lnTo>
                      <a:pt x="764" y="1805"/>
                    </a:lnTo>
                    <a:lnTo>
                      <a:pt x="699" y="1862"/>
                    </a:lnTo>
                    <a:lnTo>
                      <a:pt x="641" y="1927"/>
                    </a:lnTo>
                    <a:lnTo>
                      <a:pt x="591" y="1999"/>
                    </a:lnTo>
                    <a:lnTo>
                      <a:pt x="549" y="2074"/>
                    </a:lnTo>
                    <a:lnTo>
                      <a:pt x="514" y="2154"/>
                    </a:lnTo>
                    <a:lnTo>
                      <a:pt x="489" y="2239"/>
                    </a:lnTo>
                    <a:lnTo>
                      <a:pt x="474" y="2328"/>
                    </a:lnTo>
                    <a:lnTo>
                      <a:pt x="468" y="2419"/>
                    </a:lnTo>
                    <a:lnTo>
                      <a:pt x="474" y="2512"/>
                    </a:lnTo>
                    <a:lnTo>
                      <a:pt x="489" y="2601"/>
                    </a:lnTo>
                    <a:lnTo>
                      <a:pt x="514" y="2686"/>
                    </a:lnTo>
                    <a:lnTo>
                      <a:pt x="549" y="2767"/>
                    </a:lnTo>
                    <a:lnTo>
                      <a:pt x="591" y="2842"/>
                    </a:lnTo>
                    <a:lnTo>
                      <a:pt x="641" y="2913"/>
                    </a:lnTo>
                    <a:lnTo>
                      <a:pt x="699" y="2978"/>
                    </a:lnTo>
                    <a:lnTo>
                      <a:pt x="764" y="3035"/>
                    </a:lnTo>
                    <a:lnTo>
                      <a:pt x="834" y="3086"/>
                    </a:lnTo>
                    <a:lnTo>
                      <a:pt x="911" y="3128"/>
                    </a:lnTo>
                    <a:lnTo>
                      <a:pt x="991" y="3163"/>
                    </a:lnTo>
                    <a:lnTo>
                      <a:pt x="1076" y="3187"/>
                    </a:lnTo>
                    <a:lnTo>
                      <a:pt x="1166" y="3203"/>
                    </a:lnTo>
                    <a:lnTo>
                      <a:pt x="1256" y="3208"/>
                    </a:lnTo>
                    <a:lnTo>
                      <a:pt x="1349" y="3203"/>
                    </a:lnTo>
                    <a:lnTo>
                      <a:pt x="1438" y="3187"/>
                    </a:lnTo>
                    <a:lnTo>
                      <a:pt x="1522" y="3163"/>
                    </a:lnTo>
                    <a:lnTo>
                      <a:pt x="1604" y="3128"/>
                    </a:lnTo>
                    <a:lnTo>
                      <a:pt x="1679" y="3086"/>
                    </a:lnTo>
                    <a:lnTo>
                      <a:pt x="1749" y="3035"/>
                    </a:lnTo>
                    <a:lnTo>
                      <a:pt x="1814" y="2978"/>
                    </a:lnTo>
                    <a:lnTo>
                      <a:pt x="1871" y="2913"/>
                    </a:lnTo>
                    <a:lnTo>
                      <a:pt x="1922" y="2842"/>
                    </a:lnTo>
                    <a:lnTo>
                      <a:pt x="1966" y="2767"/>
                    </a:lnTo>
                    <a:lnTo>
                      <a:pt x="1999" y="2686"/>
                    </a:lnTo>
                    <a:lnTo>
                      <a:pt x="2025" y="2601"/>
                    </a:lnTo>
                    <a:lnTo>
                      <a:pt x="2041" y="2512"/>
                    </a:lnTo>
                    <a:lnTo>
                      <a:pt x="2046" y="2419"/>
                    </a:lnTo>
                    <a:lnTo>
                      <a:pt x="2041" y="2328"/>
                    </a:lnTo>
                    <a:lnTo>
                      <a:pt x="2025" y="2239"/>
                    </a:lnTo>
                    <a:lnTo>
                      <a:pt x="1999" y="2154"/>
                    </a:lnTo>
                    <a:lnTo>
                      <a:pt x="1966" y="2074"/>
                    </a:lnTo>
                    <a:lnTo>
                      <a:pt x="1922" y="1999"/>
                    </a:lnTo>
                    <a:lnTo>
                      <a:pt x="1871" y="1927"/>
                    </a:lnTo>
                    <a:lnTo>
                      <a:pt x="1814" y="1862"/>
                    </a:lnTo>
                    <a:lnTo>
                      <a:pt x="1749" y="1805"/>
                    </a:lnTo>
                    <a:lnTo>
                      <a:pt x="1679" y="1754"/>
                    </a:lnTo>
                    <a:lnTo>
                      <a:pt x="1604" y="1712"/>
                    </a:lnTo>
                    <a:lnTo>
                      <a:pt x="1522" y="1677"/>
                    </a:lnTo>
                    <a:lnTo>
                      <a:pt x="1438" y="1653"/>
                    </a:lnTo>
                    <a:lnTo>
                      <a:pt x="1349" y="1637"/>
                    </a:lnTo>
                    <a:lnTo>
                      <a:pt x="1256" y="1632"/>
                    </a:lnTo>
                    <a:close/>
                    <a:moveTo>
                      <a:pt x="1256" y="1485"/>
                    </a:moveTo>
                    <a:lnTo>
                      <a:pt x="1360" y="1491"/>
                    </a:lnTo>
                    <a:lnTo>
                      <a:pt x="1457" y="1506"/>
                    </a:lnTo>
                    <a:lnTo>
                      <a:pt x="1552" y="1533"/>
                    </a:lnTo>
                    <a:lnTo>
                      <a:pt x="1643" y="1567"/>
                    </a:lnTo>
                    <a:lnTo>
                      <a:pt x="1728" y="1613"/>
                    </a:lnTo>
                    <a:lnTo>
                      <a:pt x="1809" y="1665"/>
                    </a:lnTo>
                    <a:lnTo>
                      <a:pt x="1884" y="1726"/>
                    </a:lnTo>
                    <a:lnTo>
                      <a:pt x="1952" y="1794"/>
                    </a:lnTo>
                    <a:lnTo>
                      <a:pt x="2011" y="1868"/>
                    </a:lnTo>
                    <a:lnTo>
                      <a:pt x="2065" y="1948"/>
                    </a:lnTo>
                    <a:lnTo>
                      <a:pt x="2109" y="2033"/>
                    </a:lnTo>
                    <a:lnTo>
                      <a:pt x="2146" y="2124"/>
                    </a:lnTo>
                    <a:lnTo>
                      <a:pt x="2172" y="2220"/>
                    </a:lnTo>
                    <a:lnTo>
                      <a:pt x="2188" y="2318"/>
                    </a:lnTo>
                    <a:lnTo>
                      <a:pt x="2193" y="2419"/>
                    </a:lnTo>
                    <a:lnTo>
                      <a:pt x="2188" y="2522"/>
                    </a:lnTo>
                    <a:lnTo>
                      <a:pt x="2172" y="2620"/>
                    </a:lnTo>
                    <a:lnTo>
                      <a:pt x="2146" y="2716"/>
                    </a:lnTo>
                    <a:lnTo>
                      <a:pt x="2109" y="2807"/>
                    </a:lnTo>
                    <a:lnTo>
                      <a:pt x="2065" y="2892"/>
                    </a:lnTo>
                    <a:lnTo>
                      <a:pt x="2011" y="2973"/>
                    </a:lnTo>
                    <a:lnTo>
                      <a:pt x="1952" y="3046"/>
                    </a:lnTo>
                    <a:lnTo>
                      <a:pt x="1884" y="3114"/>
                    </a:lnTo>
                    <a:lnTo>
                      <a:pt x="1809" y="3175"/>
                    </a:lnTo>
                    <a:lnTo>
                      <a:pt x="1728" y="3227"/>
                    </a:lnTo>
                    <a:lnTo>
                      <a:pt x="1643" y="3273"/>
                    </a:lnTo>
                    <a:lnTo>
                      <a:pt x="1552" y="3308"/>
                    </a:lnTo>
                    <a:lnTo>
                      <a:pt x="1457" y="3334"/>
                    </a:lnTo>
                    <a:lnTo>
                      <a:pt x="1360" y="3350"/>
                    </a:lnTo>
                    <a:lnTo>
                      <a:pt x="1256" y="3355"/>
                    </a:lnTo>
                    <a:lnTo>
                      <a:pt x="1155" y="3350"/>
                    </a:lnTo>
                    <a:lnTo>
                      <a:pt x="1056" y="3334"/>
                    </a:lnTo>
                    <a:lnTo>
                      <a:pt x="961" y="3308"/>
                    </a:lnTo>
                    <a:lnTo>
                      <a:pt x="870" y="3273"/>
                    </a:lnTo>
                    <a:lnTo>
                      <a:pt x="785" y="3227"/>
                    </a:lnTo>
                    <a:lnTo>
                      <a:pt x="704" y="3175"/>
                    </a:lnTo>
                    <a:lnTo>
                      <a:pt x="629" y="3114"/>
                    </a:lnTo>
                    <a:lnTo>
                      <a:pt x="563" y="3046"/>
                    </a:lnTo>
                    <a:lnTo>
                      <a:pt x="502" y="2973"/>
                    </a:lnTo>
                    <a:lnTo>
                      <a:pt x="449" y="2892"/>
                    </a:lnTo>
                    <a:lnTo>
                      <a:pt x="404" y="2807"/>
                    </a:lnTo>
                    <a:lnTo>
                      <a:pt x="369" y="2716"/>
                    </a:lnTo>
                    <a:lnTo>
                      <a:pt x="343" y="2620"/>
                    </a:lnTo>
                    <a:lnTo>
                      <a:pt x="327" y="2522"/>
                    </a:lnTo>
                    <a:lnTo>
                      <a:pt x="320" y="2419"/>
                    </a:lnTo>
                    <a:lnTo>
                      <a:pt x="327" y="2318"/>
                    </a:lnTo>
                    <a:lnTo>
                      <a:pt x="343" y="2220"/>
                    </a:lnTo>
                    <a:lnTo>
                      <a:pt x="369" y="2124"/>
                    </a:lnTo>
                    <a:lnTo>
                      <a:pt x="404" y="2033"/>
                    </a:lnTo>
                    <a:lnTo>
                      <a:pt x="449" y="1948"/>
                    </a:lnTo>
                    <a:lnTo>
                      <a:pt x="502" y="1868"/>
                    </a:lnTo>
                    <a:lnTo>
                      <a:pt x="563" y="1794"/>
                    </a:lnTo>
                    <a:lnTo>
                      <a:pt x="629" y="1726"/>
                    </a:lnTo>
                    <a:lnTo>
                      <a:pt x="704" y="1665"/>
                    </a:lnTo>
                    <a:lnTo>
                      <a:pt x="785" y="1613"/>
                    </a:lnTo>
                    <a:lnTo>
                      <a:pt x="870" y="1567"/>
                    </a:lnTo>
                    <a:lnTo>
                      <a:pt x="961" y="1533"/>
                    </a:lnTo>
                    <a:lnTo>
                      <a:pt x="1056" y="1506"/>
                    </a:lnTo>
                    <a:lnTo>
                      <a:pt x="1155" y="1491"/>
                    </a:lnTo>
                    <a:lnTo>
                      <a:pt x="1256" y="1485"/>
                    </a:lnTo>
                    <a:close/>
                    <a:moveTo>
                      <a:pt x="2726" y="782"/>
                    </a:moveTo>
                    <a:lnTo>
                      <a:pt x="2694" y="787"/>
                    </a:lnTo>
                    <a:lnTo>
                      <a:pt x="2666" y="801"/>
                    </a:lnTo>
                    <a:lnTo>
                      <a:pt x="2645" y="824"/>
                    </a:lnTo>
                    <a:lnTo>
                      <a:pt x="2631" y="850"/>
                    </a:lnTo>
                    <a:lnTo>
                      <a:pt x="2626" y="883"/>
                    </a:lnTo>
                    <a:lnTo>
                      <a:pt x="2626" y="1667"/>
                    </a:lnTo>
                    <a:lnTo>
                      <a:pt x="2631" y="1698"/>
                    </a:lnTo>
                    <a:lnTo>
                      <a:pt x="2645" y="1726"/>
                    </a:lnTo>
                    <a:lnTo>
                      <a:pt x="2666" y="1747"/>
                    </a:lnTo>
                    <a:lnTo>
                      <a:pt x="2694" y="1763"/>
                    </a:lnTo>
                    <a:lnTo>
                      <a:pt x="2726" y="1766"/>
                    </a:lnTo>
                    <a:lnTo>
                      <a:pt x="3241" y="1766"/>
                    </a:lnTo>
                    <a:lnTo>
                      <a:pt x="3259" y="1770"/>
                    </a:lnTo>
                    <a:lnTo>
                      <a:pt x="3278" y="1777"/>
                    </a:lnTo>
                    <a:lnTo>
                      <a:pt x="3292" y="1789"/>
                    </a:lnTo>
                    <a:lnTo>
                      <a:pt x="3589" y="2084"/>
                    </a:lnTo>
                    <a:lnTo>
                      <a:pt x="3589" y="1841"/>
                    </a:lnTo>
                    <a:lnTo>
                      <a:pt x="3592" y="1822"/>
                    </a:lnTo>
                    <a:lnTo>
                      <a:pt x="3599" y="1805"/>
                    </a:lnTo>
                    <a:lnTo>
                      <a:pt x="3612" y="1789"/>
                    </a:lnTo>
                    <a:lnTo>
                      <a:pt x="3626" y="1777"/>
                    </a:lnTo>
                    <a:lnTo>
                      <a:pt x="3643" y="1770"/>
                    </a:lnTo>
                    <a:lnTo>
                      <a:pt x="3662" y="1766"/>
                    </a:lnTo>
                    <a:lnTo>
                      <a:pt x="3874" y="1766"/>
                    </a:lnTo>
                    <a:lnTo>
                      <a:pt x="3905" y="1763"/>
                    </a:lnTo>
                    <a:lnTo>
                      <a:pt x="3933" y="1747"/>
                    </a:lnTo>
                    <a:lnTo>
                      <a:pt x="3956" y="1726"/>
                    </a:lnTo>
                    <a:lnTo>
                      <a:pt x="3970" y="1698"/>
                    </a:lnTo>
                    <a:lnTo>
                      <a:pt x="3975" y="1667"/>
                    </a:lnTo>
                    <a:lnTo>
                      <a:pt x="3975" y="883"/>
                    </a:lnTo>
                    <a:lnTo>
                      <a:pt x="3970" y="850"/>
                    </a:lnTo>
                    <a:lnTo>
                      <a:pt x="3956" y="824"/>
                    </a:lnTo>
                    <a:lnTo>
                      <a:pt x="3933" y="801"/>
                    </a:lnTo>
                    <a:lnTo>
                      <a:pt x="3905" y="787"/>
                    </a:lnTo>
                    <a:lnTo>
                      <a:pt x="3874" y="782"/>
                    </a:lnTo>
                    <a:lnTo>
                      <a:pt x="2726" y="782"/>
                    </a:lnTo>
                    <a:close/>
                    <a:moveTo>
                      <a:pt x="2726" y="635"/>
                    </a:moveTo>
                    <a:lnTo>
                      <a:pt x="3874" y="635"/>
                    </a:lnTo>
                    <a:lnTo>
                      <a:pt x="3924" y="641"/>
                    </a:lnTo>
                    <a:lnTo>
                      <a:pt x="3970" y="655"/>
                    </a:lnTo>
                    <a:lnTo>
                      <a:pt x="4013" y="677"/>
                    </a:lnTo>
                    <a:lnTo>
                      <a:pt x="4050" y="707"/>
                    </a:lnTo>
                    <a:lnTo>
                      <a:pt x="4080" y="744"/>
                    </a:lnTo>
                    <a:lnTo>
                      <a:pt x="4103" y="785"/>
                    </a:lnTo>
                    <a:lnTo>
                      <a:pt x="4117" y="833"/>
                    </a:lnTo>
                    <a:lnTo>
                      <a:pt x="4122" y="883"/>
                    </a:lnTo>
                    <a:lnTo>
                      <a:pt x="4122" y="1667"/>
                    </a:lnTo>
                    <a:lnTo>
                      <a:pt x="4117" y="1716"/>
                    </a:lnTo>
                    <a:lnTo>
                      <a:pt x="4103" y="1763"/>
                    </a:lnTo>
                    <a:lnTo>
                      <a:pt x="4080" y="1805"/>
                    </a:lnTo>
                    <a:lnTo>
                      <a:pt x="4050" y="1841"/>
                    </a:lnTo>
                    <a:lnTo>
                      <a:pt x="4013" y="1871"/>
                    </a:lnTo>
                    <a:lnTo>
                      <a:pt x="3970" y="1896"/>
                    </a:lnTo>
                    <a:lnTo>
                      <a:pt x="3924" y="1910"/>
                    </a:lnTo>
                    <a:lnTo>
                      <a:pt x="3874" y="1915"/>
                    </a:lnTo>
                    <a:lnTo>
                      <a:pt x="3737" y="1915"/>
                    </a:lnTo>
                    <a:lnTo>
                      <a:pt x="3737" y="2262"/>
                    </a:lnTo>
                    <a:lnTo>
                      <a:pt x="3734" y="2285"/>
                    </a:lnTo>
                    <a:lnTo>
                      <a:pt x="3723" y="2304"/>
                    </a:lnTo>
                    <a:lnTo>
                      <a:pt x="3709" y="2320"/>
                    </a:lnTo>
                    <a:lnTo>
                      <a:pt x="3690" y="2330"/>
                    </a:lnTo>
                    <a:lnTo>
                      <a:pt x="3676" y="2335"/>
                    </a:lnTo>
                    <a:lnTo>
                      <a:pt x="3662" y="2335"/>
                    </a:lnTo>
                    <a:lnTo>
                      <a:pt x="3645" y="2334"/>
                    </a:lnTo>
                    <a:lnTo>
                      <a:pt x="3626" y="2327"/>
                    </a:lnTo>
                    <a:lnTo>
                      <a:pt x="3612" y="2314"/>
                    </a:lnTo>
                    <a:lnTo>
                      <a:pt x="3210" y="1915"/>
                    </a:lnTo>
                    <a:lnTo>
                      <a:pt x="2726" y="1915"/>
                    </a:lnTo>
                    <a:lnTo>
                      <a:pt x="2677" y="1910"/>
                    </a:lnTo>
                    <a:lnTo>
                      <a:pt x="2630" y="1896"/>
                    </a:lnTo>
                    <a:lnTo>
                      <a:pt x="2588" y="1871"/>
                    </a:lnTo>
                    <a:lnTo>
                      <a:pt x="2551" y="1841"/>
                    </a:lnTo>
                    <a:lnTo>
                      <a:pt x="2521" y="1805"/>
                    </a:lnTo>
                    <a:lnTo>
                      <a:pt x="2497" y="1763"/>
                    </a:lnTo>
                    <a:lnTo>
                      <a:pt x="2483" y="1716"/>
                    </a:lnTo>
                    <a:lnTo>
                      <a:pt x="2478" y="1667"/>
                    </a:lnTo>
                    <a:lnTo>
                      <a:pt x="2478" y="883"/>
                    </a:lnTo>
                    <a:lnTo>
                      <a:pt x="2483" y="833"/>
                    </a:lnTo>
                    <a:lnTo>
                      <a:pt x="2497" y="785"/>
                    </a:lnTo>
                    <a:lnTo>
                      <a:pt x="2521" y="744"/>
                    </a:lnTo>
                    <a:lnTo>
                      <a:pt x="2551" y="707"/>
                    </a:lnTo>
                    <a:lnTo>
                      <a:pt x="2588" y="677"/>
                    </a:lnTo>
                    <a:lnTo>
                      <a:pt x="2630" y="655"/>
                    </a:lnTo>
                    <a:lnTo>
                      <a:pt x="2677" y="641"/>
                    </a:lnTo>
                    <a:lnTo>
                      <a:pt x="2726" y="635"/>
                    </a:lnTo>
                    <a:close/>
                    <a:moveTo>
                      <a:pt x="1753" y="0"/>
                    </a:moveTo>
                    <a:lnTo>
                      <a:pt x="2901" y="0"/>
                    </a:lnTo>
                    <a:lnTo>
                      <a:pt x="2951" y="5"/>
                    </a:lnTo>
                    <a:lnTo>
                      <a:pt x="2997" y="19"/>
                    </a:lnTo>
                    <a:lnTo>
                      <a:pt x="3039" y="42"/>
                    </a:lnTo>
                    <a:lnTo>
                      <a:pt x="3075" y="73"/>
                    </a:lnTo>
                    <a:lnTo>
                      <a:pt x="3107" y="110"/>
                    </a:lnTo>
                    <a:lnTo>
                      <a:pt x="3129" y="152"/>
                    </a:lnTo>
                    <a:lnTo>
                      <a:pt x="3143" y="197"/>
                    </a:lnTo>
                    <a:lnTo>
                      <a:pt x="3149" y="248"/>
                    </a:lnTo>
                    <a:lnTo>
                      <a:pt x="3149" y="548"/>
                    </a:lnTo>
                    <a:lnTo>
                      <a:pt x="3145" y="571"/>
                    </a:lnTo>
                    <a:lnTo>
                      <a:pt x="3135" y="592"/>
                    </a:lnTo>
                    <a:lnTo>
                      <a:pt x="3119" y="607"/>
                    </a:lnTo>
                    <a:lnTo>
                      <a:pt x="3098" y="618"/>
                    </a:lnTo>
                    <a:lnTo>
                      <a:pt x="3075" y="621"/>
                    </a:lnTo>
                    <a:lnTo>
                      <a:pt x="3053" y="618"/>
                    </a:lnTo>
                    <a:lnTo>
                      <a:pt x="3032" y="607"/>
                    </a:lnTo>
                    <a:lnTo>
                      <a:pt x="3016" y="592"/>
                    </a:lnTo>
                    <a:lnTo>
                      <a:pt x="3005" y="571"/>
                    </a:lnTo>
                    <a:lnTo>
                      <a:pt x="3002" y="548"/>
                    </a:lnTo>
                    <a:lnTo>
                      <a:pt x="3002" y="248"/>
                    </a:lnTo>
                    <a:lnTo>
                      <a:pt x="2997" y="216"/>
                    </a:lnTo>
                    <a:lnTo>
                      <a:pt x="2983" y="189"/>
                    </a:lnTo>
                    <a:lnTo>
                      <a:pt x="2960" y="166"/>
                    </a:lnTo>
                    <a:lnTo>
                      <a:pt x="2932" y="152"/>
                    </a:lnTo>
                    <a:lnTo>
                      <a:pt x="2901" y="147"/>
                    </a:lnTo>
                    <a:lnTo>
                      <a:pt x="1753" y="147"/>
                    </a:lnTo>
                    <a:lnTo>
                      <a:pt x="1721" y="152"/>
                    </a:lnTo>
                    <a:lnTo>
                      <a:pt x="1693" y="166"/>
                    </a:lnTo>
                    <a:lnTo>
                      <a:pt x="1671" y="189"/>
                    </a:lnTo>
                    <a:lnTo>
                      <a:pt x="1657" y="216"/>
                    </a:lnTo>
                    <a:lnTo>
                      <a:pt x="1651" y="248"/>
                    </a:lnTo>
                    <a:lnTo>
                      <a:pt x="1651" y="1032"/>
                    </a:lnTo>
                    <a:lnTo>
                      <a:pt x="1657" y="1063"/>
                    </a:lnTo>
                    <a:lnTo>
                      <a:pt x="1671" y="1091"/>
                    </a:lnTo>
                    <a:lnTo>
                      <a:pt x="1693" y="1114"/>
                    </a:lnTo>
                    <a:lnTo>
                      <a:pt x="1721" y="1128"/>
                    </a:lnTo>
                    <a:lnTo>
                      <a:pt x="1753" y="1133"/>
                    </a:lnTo>
                    <a:lnTo>
                      <a:pt x="1964" y="1133"/>
                    </a:lnTo>
                    <a:lnTo>
                      <a:pt x="1983" y="1135"/>
                    </a:lnTo>
                    <a:lnTo>
                      <a:pt x="2001" y="1142"/>
                    </a:lnTo>
                    <a:lnTo>
                      <a:pt x="2016" y="1154"/>
                    </a:lnTo>
                    <a:lnTo>
                      <a:pt x="2027" y="1169"/>
                    </a:lnTo>
                    <a:lnTo>
                      <a:pt x="2036" y="1187"/>
                    </a:lnTo>
                    <a:lnTo>
                      <a:pt x="2037" y="1206"/>
                    </a:lnTo>
                    <a:lnTo>
                      <a:pt x="2037" y="1450"/>
                    </a:lnTo>
                    <a:lnTo>
                      <a:pt x="2334" y="1154"/>
                    </a:lnTo>
                    <a:lnTo>
                      <a:pt x="2354" y="1140"/>
                    </a:lnTo>
                    <a:lnTo>
                      <a:pt x="2375" y="1133"/>
                    </a:lnTo>
                    <a:lnTo>
                      <a:pt x="2397" y="1133"/>
                    </a:lnTo>
                    <a:lnTo>
                      <a:pt x="2420" y="1140"/>
                    </a:lnTo>
                    <a:lnTo>
                      <a:pt x="2439" y="1154"/>
                    </a:lnTo>
                    <a:lnTo>
                      <a:pt x="2451" y="1173"/>
                    </a:lnTo>
                    <a:lnTo>
                      <a:pt x="2458" y="1194"/>
                    </a:lnTo>
                    <a:lnTo>
                      <a:pt x="2458" y="1217"/>
                    </a:lnTo>
                    <a:lnTo>
                      <a:pt x="2451" y="1239"/>
                    </a:lnTo>
                    <a:lnTo>
                      <a:pt x="2439" y="1258"/>
                    </a:lnTo>
                    <a:lnTo>
                      <a:pt x="2016" y="1679"/>
                    </a:lnTo>
                    <a:lnTo>
                      <a:pt x="2001" y="1691"/>
                    </a:lnTo>
                    <a:lnTo>
                      <a:pt x="1983" y="1698"/>
                    </a:lnTo>
                    <a:lnTo>
                      <a:pt x="1964" y="1702"/>
                    </a:lnTo>
                    <a:lnTo>
                      <a:pt x="1950" y="1700"/>
                    </a:lnTo>
                    <a:lnTo>
                      <a:pt x="1936" y="1695"/>
                    </a:lnTo>
                    <a:lnTo>
                      <a:pt x="1917" y="1684"/>
                    </a:lnTo>
                    <a:lnTo>
                      <a:pt x="1903" y="1669"/>
                    </a:lnTo>
                    <a:lnTo>
                      <a:pt x="1894" y="1649"/>
                    </a:lnTo>
                    <a:lnTo>
                      <a:pt x="1891" y="1627"/>
                    </a:lnTo>
                    <a:lnTo>
                      <a:pt x="1891" y="1279"/>
                    </a:lnTo>
                    <a:lnTo>
                      <a:pt x="1753" y="1279"/>
                    </a:lnTo>
                    <a:lnTo>
                      <a:pt x="1702" y="1274"/>
                    </a:lnTo>
                    <a:lnTo>
                      <a:pt x="1657" y="1260"/>
                    </a:lnTo>
                    <a:lnTo>
                      <a:pt x="1615" y="1238"/>
                    </a:lnTo>
                    <a:lnTo>
                      <a:pt x="1578" y="1206"/>
                    </a:lnTo>
                    <a:lnTo>
                      <a:pt x="1546" y="1169"/>
                    </a:lnTo>
                    <a:lnTo>
                      <a:pt x="1524" y="1128"/>
                    </a:lnTo>
                    <a:lnTo>
                      <a:pt x="1510" y="1082"/>
                    </a:lnTo>
                    <a:lnTo>
                      <a:pt x="1505" y="1032"/>
                    </a:lnTo>
                    <a:lnTo>
                      <a:pt x="1505" y="248"/>
                    </a:lnTo>
                    <a:lnTo>
                      <a:pt x="1510" y="197"/>
                    </a:lnTo>
                    <a:lnTo>
                      <a:pt x="1524" y="152"/>
                    </a:lnTo>
                    <a:lnTo>
                      <a:pt x="1546" y="110"/>
                    </a:lnTo>
                    <a:lnTo>
                      <a:pt x="1578" y="73"/>
                    </a:lnTo>
                    <a:lnTo>
                      <a:pt x="1615" y="42"/>
                    </a:lnTo>
                    <a:lnTo>
                      <a:pt x="1657" y="19"/>
                    </a:lnTo>
                    <a:lnTo>
                      <a:pt x="1702" y="5"/>
                    </a:lnTo>
                    <a:lnTo>
                      <a:pt x="1753" y="0"/>
                    </a:lnTo>
                    <a:close/>
                  </a:path>
                </a:pathLst>
              </a:custGeom>
              <a:solidFill>
                <a:srgbClr val="5ADFD8"/>
              </a:solidFill>
              <a:ln w="0">
                <a:solidFill>
                  <a:srgbClr val="5ADFD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ADFD8"/>
                  </a:solidFill>
                  <a:effectLst/>
                  <a:uLnTx/>
                  <a:uFillTx/>
                  <a:latin typeface="Calibri" panose="020F0502020204030204"/>
                  <a:ea typeface="+mn-ea"/>
                  <a:cs typeface="+mn-cs"/>
                </a:endParaRPr>
              </a:p>
            </p:txBody>
          </p:sp>
        </p:grpSp>
      </p:grpSp>
      <p:grpSp>
        <p:nvGrpSpPr>
          <p:cNvPr id="55" name="Group 19">
            <a:extLst>
              <a:ext uri="{FF2B5EF4-FFF2-40B4-BE49-F238E27FC236}">
                <a16:creationId xmlns:a16="http://schemas.microsoft.com/office/drawing/2014/main" id="{6B61455F-3941-89DC-5E3D-31758F28831C}"/>
              </a:ext>
            </a:extLst>
          </p:cNvPr>
          <p:cNvGrpSpPr/>
          <p:nvPr>
            <p:custDataLst>
              <p:tags r:id="rId11"/>
            </p:custDataLst>
          </p:nvPr>
        </p:nvGrpSpPr>
        <p:grpSpPr>
          <a:xfrm>
            <a:off x="5546462" y="4260846"/>
            <a:ext cx="2251719" cy="577081"/>
            <a:chOff x="5546462" y="4260847"/>
            <a:chExt cx="2251719" cy="577081"/>
          </a:xfrm>
        </p:grpSpPr>
        <p:sp>
          <p:nvSpPr>
            <p:cNvPr id="56" name="TextBox 202">
              <a:extLst>
                <a:ext uri="{FF2B5EF4-FFF2-40B4-BE49-F238E27FC236}">
                  <a16:creationId xmlns:a16="http://schemas.microsoft.com/office/drawing/2014/main" id="{9087ED76-1B58-81BA-C6AF-03BFB8F2B94D}"/>
                </a:ext>
              </a:extLst>
            </p:cNvPr>
            <p:cNvSpPr txBox="1"/>
            <p:nvPr/>
          </p:nvSpPr>
          <p:spPr>
            <a:xfrm>
              <a:off x="5886012" y="4260847"/>
              <a:ext cx="1912169" cy="577081"/>
            </a:xfrm>
            <a:prstGeom prst="rect">
              <a:avLst/>
            </a:prstGeom>
            <a:noFill/>
          </p:spPr>
          <p:txBody>
            <a:bodyPr wrap="squar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549FD5"/>
                  </a:solidFill>
                  <a:effectLst/>
                  <a:uLnTx/>
                  <a:uFillTx/>
                  <a:latin typeface="Calibri Light" panose="020F0302020204030204"/>
                  <a:ea typeface="+mn-ea"/>
                  <a:cs typeface="+mn-cs"/>
                </a:rPr>
                <a:t>Integer des règles d’affaires et actions (predictions, lookup de données, codes)</a:t>
              </a:r>
            </a:p>
          </p:txBody>
        </p:sp>
        <p:grpSp>
          <p:nvGrpSpPr>
            <p:cNvPr id="60" name="Group 214">
              <a:extLst>
                <a:ext uri="{FF2B5EF4-FFF2-40B4-BE49-F238E27FC236}">
                  <a16:creationId xmlns:a16="http://schemas.microsoft.com/office/drawing/2014/main" id="{132D8EE7-97B6-5476-9193-F0FDDB67E4FD}"/>
                </a:ext>
              </a:extLst>
            </p:cNvPr>
            <p:cNvGrpSpPr/>
            <p:nvPr/>
          </p:nvGrpSpPr>
          <p:grpSpPr>
            <a:xfrm>
              <a:off x="5546462" y="4317788"/>
              <a:ext cx="287624" cy="287624"/>
              <a:chOff x="7295316" y="4029386"/>
              <a:chExt cx="382827" cy="382828"/>
            </a:xfrm>
          </p:grpSpPr>
          <p:sp>
            <p:nvSpPr>
              <p:cNvPr id="61" name="Oval 197">
                <a:extLst>
                  <a:ext uri="{FF2B5EF4-FFF2-40B4-BE49-F238E27FC236}">
                    <a16:creationId xmlns:a16="http://schemas.microsoft.com/office/drawing/2014/main" id="{D1A13A43-F4F3-04F2-4E39-76D27E2153D1}"/>
                  </a:ext>
                </a:extLst>
              </p:cNvPr>
              <p:cNvSpPr/>
              <p:nvPr/>
            </p:nvSpPr>
            <p:spPr>
              <a:xfrm>
                <a:off x="7295316" y="4029386"/>
                <a:ext cx="382827" cy="382828"/>
              </a:xfrm>
              <a:prstGeom prst="ellipse">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49FD5"/>
                  </a:solidFill>
                  <a:effectLst/>
                  <a:uLnTx/>
                  <a:uFillTx/>
                  <a:latin typeface="Calibri" panose="020F0502020204030204"/>
                  <a:ea typeface="+mn-ea"/>
                  <a:cs typeface="+mn-cs"/>
                </a:endParaRPr>
              </a:p>
            </p:txBody>
          </p:sp>
          <p:grpSp>
            <p:nvGrpSpPr>
              <p:cNvPr id="62" name="Group 205">
                <a:extLst>
                  <a:ext uri="{FF2B5EF4-FFF2-40B4-BE49-F238E27FC236}">
                    <a16:creationId xmlns:a16="http://schemas.microsoft.com/office/drawing/2014/main" id="{5CC499DE-484C-E6C5-8E92-8BC1FE8445B8}"/>
                  </a:ext>
                </a:extLst>
              </p:cNvPr>
              <p:cNvGrpSpPr>
                <a:grpSpLocks noChangeAspect="1"/>
              </p:cNvGrpSpPr>
              <p:nvPr/>
            </p:nvGrpSpPr>
            <p:grpSpPr>
              <a:xfrm>
                <a:off x="7377076" y="4134112"/>
                <a:ext cx="219309" cy="173376"/>
                <a:chOff x="6151563" y="684213"/>
                <a:chExt cx="1311275" cy="1036637"/>
              </a:xfrm>
              <a:solidFill>
                <a:srgbClr val="0070C0"/>
              </a:solidFill>
            </p:grpSpPr>
            <p:sp>
              <p:nvSpPr>
                <p:cNvPr id="63" name="Freeform 10">
                  <a:extLst>
                    <a:ext uri="{FF2B5EF4-FFF2-40B4-BE49-F238E27FC236}">
                      <a16:creationId xmlns:a16="http://schemas.microsoft.com/office/drawing/2014/main" id="{B24BFB38-C325-80CA-4190-CCD924E0604E}"/>
                    </a:ext>
                  </a:extLst>
                </p:cNvPr>
                <p:cNvSpPr>
                  <a:spLocks noEditPoints="1"/>
                </p:cNvSpPr>
                <p:nvPr/>
              </p:nvSpPr>
              <p:spPr bwMode="auto">
                <a:xfrm>
                  <a:off x="6430963" y="684213"/>
                  <a:ext cx="1031875" cy="965200"/>
                </a:xfrm>
                <a:custGeom>
                  <a:avLst/>
                  <a:gdLst>
                    <a:gd name="T0" fmla="*/ 116 w 3736"/>
                    <a:gd name="T1" fmla="*/ 2631 h 3494"/>
                    <a:gd name="T2" fmla="*/ 116 w 3736"/>
                    <a:gd name="T3" fmla="*/ 2631 h 3494"/>
                    <a:gd name="T4" fmla="*/ 786 w 3736"/>
                    <a:gd name="T5" fmla="*/ 3334 h 3494"/>
                    <a:gd name="T6" fmla="*/ 797 w 3736"/>
                    <a:gd name="T7" fmla="*/ 2923 h 3494"/>
                    <a:gd name="T8" fmla="*/ 843 w 3736"/>
                    <a:gd name="T9" fmla="*/ 2877 h 3494"/>
                    <a:gd name="T10" fmla="*/ 844 w 3736"/>
                    <a:gd name="T11" fmla="*/ 2877 h 3494"/>
                    <a:gd name="T12" fmla="*/ 1969 w 3736"/>
                    <a:gd name="T13" fmla="*/ 2894 h 3494"/>
                    <a:gd name="T14" fmla="*/ 3128 w 3736"/>
                    <a:gd name="T15" fmla="*/ 2432 h 3494"/>
                    <a:gd name="T16" fmla="*/ 3624 w 3736"/>
                    <a:gd name="T17" fmla="*/ 1287 h 3494"/>
                    <a:gd name="T18" fmla="*/ 3641 w 3736"/>
                    <a:gd name="T19" fmla="*/ 100 h 3494"/>
                    <a:gd name="T20" fmla="*/ 3035 w 3736"/>
                    <a:gd name="T21" fmla="*/ 93 h 3494"/>
                    <a:gd name="T22" fmla="*/ 3021 w 3736"/>
                    <a:gd name="T23" fmla="*/ 1081 h 3494"/>
                    <a:gd name="T24" fmla="*/ 2637 w 3736"/>
                    <a:gd name="T25" fmla="*/ 1967 h 3494"/>
                    <a:gd name="T26" fmla="*/ 1740 w 3736"/>
                    <a:gd name="T27" fmla="*/ 2324 h 3494"/>
                    <a:gd name="T28" fmla="*/ 850 w 3736"/>
                    <a:gd name="T29" fmla="*/ 2311 h 3494"/>
                    <a:gd name="T30" fmla="*/ 816 w 3736"/>
                    <a:gd name="T31" fmla="*/ 2297 h 3494"/>
                    <a:gd name="T32" fmla="*/ 804 w 3736"/>
                    <a:gd name="T33" fmla="*/ 2263 h 3494"/>
                    <a:gd name="T34" fmla="*/ 818 w 3736"/>
                    <a:gd name="T35" fmla="*/ 1904 h 3494"/>
                    <a:gd name="T36" fmla="*/ 116 w 3736"/>
                    <a:gd name="T37" fmla="*/ 2631 h 3494"/>
                    <a:gd name="T38" fmla="*/ 830 w 3736"/>
                    <a:gd name="T39" fmla="*/ 3494 h 3494"/>
                    <a:gd name="T40" fmla="*/ 830 w 3736"/>
                    <a:gd name="T41" fmla="*/ 3494 h 3494"/>
                    <a:gd name="T42" fmla="*/ 796 w 3736"/>
                    <a:gd name="T43" fmla="*/ 3480 h 3494"/>
                    <a:gd name="T44" fmla="*/ 17 w 3736"/>
                    <a:gd name="T45" fmla="*/ 2663 h 3494"/>
                    <a:gd name="T46" fmla="*/ 17 w 3736"/>
                    <a:gd name="T47" fmla="*/ 2598 h 3494"/>
                    <a:gd name="T48" fmla="*/ 835 w 3736"/>
                    <a:gd name="T49" fmla="*/ 1751 h 3494"/>
                    <a:gd name="T50" fmla="*/ 887 w 3736"/>
                    <a:gd name="T51" fmla="*/ 1741 h 3494"/>
                    <a:gd name="T52" fmla="*/ 916 w 3736"/>
                    <a:gd name="T53" fmla="*/ 1785 h 3494"/>
                    <a:gd name="T54" fmla="*/ 899 w 3736"/>
                    <a:gd name="T55" fmla="*/ 2219 h 3494"/>
                    <a:gd name="T56" fmla="*/ 1742 w 3736"/>
                    <a:gd name="T57" fmla="*/ 2231 h 3494"/>
                    <a:gd name="T58" fmla="*/ 2572 w 3736"/>
                    <a:gd name="T59" fmla="*/ 1900 h 3494"/>
                    <a:gd name="T60" fmla="*/ 2927 w 3736"/>
                    <a:gd name="T61" fmla="*/ 1080 h 3494"/>
                    <a:gd name="T62" fmla="*/ 2942 w 3736"/>
                    <a:gd name="T63" fmla="*/ 45 h 3494"/>
                    <a:gd name="T64" fmla="*/ 2989 w 3736"/>
                    <a:gd name="T65" fmla="*/ 0 h 3494"/>
                    <a:gd name="T66" fmla="*/ 2990 w 3736"/>
                    <a:gd name="T67" fmla="*/ 0 h 3494"/>
                    <a:gd name="T68" fmla="*/ 3689 w 3736"/>
                    <a:gd name="T69" fmla="*/ 7 h 3494"/>
                    <a:gd name="T70" fmla="*/ 3722 w 3736"/>
                    <a:gd name="T71" fmla="*/ 22 h 3494"/>
                    <a:gd name="T72" fmla="*/ 3735 w 3736"/>
                    <a:gd name="T73" fmla="*/ 55 h 3494"/>
                    <a:gd name="T74" fmla="*/ 3717 w 3736"/>
                    <a:gd name="T75" fmla="*/ 1288 h 3494"/>
                    <a:gd name="T76" fmla="*/ 3193 w 3736"/>
                    <a:gd name="T77" fmla="*/ 2499 h 3494"/>
                    <a:gd name="T78" fmla="*/ 1994 w 3736"/>
                    <a:gd name="T79" fmla="*/ 2987 h 3494"/>
                    <a:gd name="T80" fmla="*/ 1968 w 3736"/>
                    <a:gd name="T81" fmla="*/ 2987 h 3494"/>
                    <a:gd name="T82" fmla="*/ 889 w 3736"/>
                    <a:gd name="T83" fmla="*/ 2971 h 3494"/>
                    <a:gd name="T84" fmla="*/ 877 w 3736"/>
                    <a:gd name="T85" fmla="*/ 3449 h 3494"/>
                    <a:gd name="T86" fmla="*/ 847 w 3736"/>
                    <a:gd name="T87" fmla="*/ 3491 h 3494"/>
                    <a:gd name="T88" fmla="*/ 830 w 3736"/>
                    <a:gd name="T89" fmla="*/ 3494 h 3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36" h="3494">
                      <a:moveTo>
                        <a:pt x="116" y="2631"/>
                      </a:moveTo>
                      <a:lnTo>
                        <a:pt x="116" y="2631"/>
                      </a:lnTo>
                      <a:lnTo>
                        <a:pt x="786" y="3334"/>
                      </a:lnTo>
                      <a:lnTo>
                        <a:pt x="797" y="2923"/>
                      </a:lnTo>
                      <a:cubicBezTo>
                        <a:pt x="797" y="2898"/>
                        <a:pt x="818" y="2877"/>
                        <a:pt x="843" y="2877"/>
                      </a:cubicBezTo>
                      <a:lnTo>
                        <a:pt x="844" y="2877"/>
                      </a:lnTo>
                      <a:lnTo>
                        <a:pt x="1969" y="2894"/>
                      </a:lnTo>
                      <a:cubicBezTo>
                        <a:pt x="2403" y="2900"/>
                        <a:pt x="2815" y="2736"/>
                        <a:pt x="3128" y="2432"/>
                      </a:cubicBezTo>
                      <a:cubicBezTo>
                        <a:pt x="3442" y="2127"/>
                        <a:pt x="3618" y="1721"/>
                        <a:pt x="3624" y="1287"/>
                      </a:cubicBezTo>
                      <a:lnTo>
                        <a:pt x="3641" y="100"/>
                      </a:lnTo>
                      <a:lnTo>
                        <a:pt x="3035" y="93"/>
                      </a:lnTo>
                      <a:lnTo>
                        <a:pt x="3021" y="1081"/>
                      </a:lnTo>
                      <a:cubicBezTo>
                        <a:pt x="3016" y="1417"/>
                        <a:pt x="2879" y="1731"/>
                        <a:pt x="2637" y="1967"/>
                      </a:cubicBezTo>
                      <a:cubicBezTo>
                        <a:pt x="2395" y="2202"/>
                        <a:pt x="2076" y="2329"/>
                        <a:pt x="1740" y="2324"/>
                      </a:cubicBezTo>
                      <a:lnTo>
                        <a:pt x="850" y="2311"/>
                      </a:lnTo>
                      <a:cubicBezTo>
                        <a:pt x="837" y="2311"/>
                        <a:pt x="825" y="2306"/>
                        <a:pt x="816" y="2297"/>
                      </a:cubicBezTo>
                      <a:cubicBezTo>
                        <a:pt x="808" y="2288"/>
                        <a:pt x="803" y="2275"/>
                        <a:pt x="804" y="2263"/>
                      </a:cubicBezTo>
                      <a:lnTo>
                        <a:pt x="818" y="1904"/>
                      </a:lnTo>
                      <a:lnTo>
                        <a:pt x="116" y="2631"/>
                      </a:lnTo>
                      <a:close/>
                      <a:moveTo>
                        <a:pt x="830" y="3494"/>
                      </a:moveTo>
                      <a:lnTo>
                        <a:pt x="830" y="3494"/>
                      </a:lnTo>
                      <a:cubicBezTo>
                        <a:pt x="818" y="3494"/>
                        <a:pt x="805" y="3489"/>
                        <a:pt x="796" y="3480"/>
                      </a:cubicBezTo>
                      <a:lnTo>
                        <a:pt x="17" y="2663"/>
                      </a:lnTo>
                      <a:cubicBezTo>
                        <a:pt x="0" y="2644"/>
                        <a:pt x="0" y="2616"/>
                        <a:pt x="17" y="2598"/>
                      </a:cubicBezTo>
                      <a:lnTo>
                        <a:pt x="835" y="1751"/>
                      </a:lnTo>
                      <a:cubicBezTo>
                        <a:pt x="849" y="1737"/>
                        <a:pt x="869" y="1733"/>
                        <a:pt x="887" y="1741"/>
                      </a:cubicBezTo>
                      <a:cubicBezTo>
                        <a:pt x="905" y="1748"/>
                        <a:pt x="916" y="1766"/>
                        <a:pt x="916" y="1785"/>
                      </a:cubicBezTo>
                      <a:lnTo>
                        <a:pt x="899" y="2219"/>
                      </a:lnTo>
                      <a:lnTo>
                        <a:pt x="1742" y="2231"/>
                      </a:lnTo>
                      <a:cubicBezTo>
                        <a:pt x="2052" y="2236"/>
                        <a:pt x="2347" y="2118"/>
                        <a:pt x="2572" y="1900"/>
                      </a:cubicBezTo>
                      <a:cubicBezTo>
                        <a:pt x="2797" y="1682"/>
                        <a:pt x="2923" y="1390"/>
                        <a:pt x="2927" y="1080"/>
                      </a:cubicBezTo>
                      <a:lnTo>
                        <a:pt x="2942" y="45"/>
                      </a:lnTo>
                      <a:cubicBezTo>
                        <a:pt x="2943" y="19"/>
                        <a:pt x="2964" y="0"/>
                        <a:pt x="2989" y="0"/>
                      </a:cubicBezTo>
                      <a:cubicBezTo>
                        <a:pt x="2989" y="0"/>
                        <a:pt x="2989" y="0"/>
                        <a:pt x="2990" y="0"/>
                      </a:cubicBezTo>
                      <a:lnTo>
                        <a:pt x="3689" y="7"/>
                      </a:lnTo>
                      <a:cubicBezTo>
                        <a:pt x="3702" y="8"/>
                        <a:pt x="3714" y="13"/>
                        <a:pt x="3722" y="22"/>
                      </a:cubicBezTo>
                      <a:cubicBezTo>
                        <a:pt x="3731" y="30"/>
                        <a:pt x="3736" y="42"/>
                        <a:pt x="3735" y="55"/>
                      </a:cubicBezTo>
                      <a:lnTo>
                        <a:pt x="3717" y="1288"/>
                      </a:lnTo>
                      <a:cubicBezTo>
                        <a:pt x="3711" y="1747"/>
                        <a:pt x="3525" y="2177"/>
                        <a:pt x="3193" y="2499"/>
                      </a:cubicBezTo>
                      <a:cubicBezTo>
                        <a:pt x="2868" y="2814"/>
                        <a:pt x="2443" y="2987"/>
                        <a:pt x="1994" y="2987"/>
                      </a:cubicBezTo>
                      <a:cubicBezTo>
                        <a:pt x="1985" y="2987"/>
                        <a:pt x="1977" y="2987"/>
                        <a:pt x="1968" y="2987"/>
                      </a:cubicBezTo>
                      <a:lnTo>
                        <a:pt x="889" y="2971"/>
                      </a:lnTo>
                      <a:lnTo>
                        <a:pt x="877" y="3449"/>
                      </a:lnTo>
                      <a:cubicBezTo>
                        <a:pt x="876" y="3467"/>
                        <a:pt x="865" y="3484"/>
                        <a:pt x="847" y="3491"/>
                      </a:cubicBezTo>
                      <a:cubicBezTo>
                        <a:pt x="842" y="3493"/>
                        <a:pt x="836" y="3494"/>
                        <a:pt x="830" y="3494"/>
                      </a:cubicBezTo>
                      <a:close/>
                    </a:path>
                  </a:pathLst>
                </a:custGeom>
                <a:grp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49FD5"/>
                    </a:solidFill>
                    <a:effectLst/>
                    <a:uLnTx/>
                    <a:uFillTx/>
                    <a:latin typeface="Calibri" panose="020F0502020204030204"/>
                    <a:ea typeface="+mn-ea"/>
                    <a:cs typeface="+mn-cs"/>
                  </a:endParaRPr>
                </a:p>
              </p:txBody>
            </p:sp>
            <p:sp>
              <p:nvSpPr>
                <p:cNvPr id="66" name="Freeform 11">
                  <a:extLst>
                    <a:ext uri="{FF2B5EF4-FFF2-40B4-BE49-F238E27FC236}">
                      <a16:creationId xmlns:a16="http://schemas.microsoft.com/office/drawing/2014/main" id="{60667A7C-3F74-0262-CF7A-75B7280B5706}"/>
                    </a:ext>
                  </a:extLst>
                </p:cNvPr>
                <p:cNvSpPr>
                  <a:spLocks noEditPoints="1"/>
                </p:cNvSpPr>
                <p:nvPr/>
              </p:nvSpPr>
              <p:spPr bwMode="auto">
                <a:xfrm>
                  <a:off x="6151563" y="752475"/>
                  <a:ext cx="1033463" cy="968375"/>
                </a:xfrm>
                <a:custGeom>
                  <a:avLst/>
                  <a:gdLst>
                    <a:gd name="T0" fmla="*/ 94 w 3735"/>
                    <a:gd name="T1" fmla="*/ 3398 h 3499"/>
                    <a:gd name="T2" fmla="*/ 94 w 3735"/>
                    <a:gd name="T3" fmla="*/ 3398 h 3499"/>
                    <a:gd name="T4" fmla="*/ 700 w 3735"/>
                    <a:gd name="T5" fmla="*/ 3406 h 3499"/>
                    <a:gd name="T6" fmla="*/ 714 w 3735"/>
                    <a:gd name="T7" fmla="*/ 2417 h 3499"/>
                    <a:gd name="T8" fmla="*/ 1098 w 3735"/>
                    <a:gd name="T9" fmla="*/ 1531 h 3499"/>
                    <a:gd name="T10" fmla="*/ 1994 w 3735"/>
                    <a:gd name="T11" fmla="*/ 1174 h 3499"/>
                    <a:gd name="T12" fmla="*/ 2885 w 3735"/>
                    <a:gd name="T13" fmla="*/ 1187 h 3499"/>
                    <a:gd name="T14" fmla="*/ 2919 w 3735"/>
                    <a:gd name="T15" fmla="*/ 1201 h 3499"/>
                    <a:gd name="T16" fmla="*/ 2931 w 3735"/>
                    <a:gd name="T17" fmla="*/ 1235 h 3499"/>
                    <a:gd name="T18" fmla="*/ 2917 w 3735"/>
                    <a:gd name="T19" fmla="*/ 1594 h 3499"/>
                    <a:gd name="T20" fmla="*/ 3619 w 3735"/>
                    <a:gd name="T21" fmla="*/ 867 h 3499"/>
                    <a:gd name="T22" fmla="*/ 2948 w 3735"/>
                    <a:gd name="T23" fmla="*/ 164 h 3499"/>
                    <a:gd name="T24" fmla="*/ 2938 w 3735"/>
                    <a:gd name="T25" fmla="*/ 575 h 3499"/>
                    <a:gd name="T26" fmla="*/ 2891 w 3735"/>
                    <a:gd name="T27" fmla="*/ 621 h 3499"/>
                    <a:gd name="T28" fmla="*/ 1765 w 3735"/>
                    <a:gd name="T29" fmla="*/ 604 h 3499"/>
                    <a:gd name="T30" fmla="*/ 607 w 3735"/>
                    <a:gd name="T31" fmla="*/ 1067 h 3499"/>
                    <a:gd name="T32" fmla="*/ 111 w 3735"/>
                    <a:gd name="T33" fmla="*/ 2211 h 3499"/>
                    <a:gd name="T34" fmla="*/ 94 w 3735"/>
                    <a:gd name="T35" fmla="*/ 3398 h 3499"/>
                    <a:gd name="T36" fmla="*/ 746 w 3735"/>
                    <a:gd name="T37" fmla="*/ 3499 h 3499"/>
                    <a:gd name="T38" fmla="*/ 746 w 3735"/>
                    <a:gd name="T39" fmla="*/ 3499 h 3499"/>
                    <a:gd name="T40" fmla="*/ 745 w 3735"/>
                    <a:gd name="T41" fmla="*/ 3499 h 3499"/>
                    <a:gd name="T42" fmla="*/ 46 w 3735"/>
                    <a:gd name="T43" fmla="*/ 3491 h 3499"/>
                    <a:gd name="T44" fmla="*/ 13 w 3735"/>
                    <a:gd name="T45" fmla="*/ 3476 h 3499"/>
                    <a:gd name="T46" fmla="*/ 0 w 3735"/>
                    <a:gd name="T47" fmla="*/ 3443 h 3499"/>
                    <a:gd name="T48" fmla="*/ 17 w 3735"/>
                    <a:gd name="T49" fmla="*/ 2210 h 3499"/>
                    <a:gd name="T50" fmla="*/ 542 w 3735"/>
                    <a:gd name="T51" fmla="*/ 1000 h 3499"/>
                    <a:gd name="T52" fmla="*/ 1767 w 3735"/>
                    <a:gd name="T53" fmla="*/ 511 h 3499"/>
                    <a:gd name="T54" fmla="*/ 2846 w 3735"/>
                    <a:gd name="T55" fmla="*/ 527 h 3499"/>
                    <a:gd name="T56" fmla="*/ 2858 w 3735"/>
                    <a:gd name="T57" fmla="*/ 49 h 3499"/>
                    <a:gd name="T58" fmla="*/ 2888 w 3735"/>
                    <a:gd name="T59" fmla="*/ 7 h 3499"/>
                    <a:gd name="T60" fmla="*/ 2938 w 3735"/>
                    <a:gd name="T61" fmla="*/ 18 h 3499"/>
                    <a:gd name="T62" fmla="*/ 3718 w 3735"/>
                    <a:gd name="T63" fmla="*/ 835 h 3499"/>
                    <a:gd name="T64" fmla="*/ 3718 w 3735"/>
                    <a:gd name="T65" fmla="*/ 900 h 3499"/>
                    <a:gd name="T66" fmla="*/ 2900 w 3735"/>
                    <a:gd name="T67" fmla="*/ 1747 h 3499"/>
                    <a:gd name="T68" fmla="*/ 2848 w 3735"/>
                    <a:gd name="T69" fmla="*/ 1757 h 3499"/>
                    <a:gd name="T70" fmla="*/ 2819 w 3735"/>
                    <a:gd name="T71" fmla="*/ 1713 h 3499"/>
                    <a:gd name="T72" fmla="*/ 2836 w 3735"/>
                    <a:gd name="T73" fmla="*/ 1279 h 3499"/>
                    <a:gd name="T74" fmla="*/ 1993 w 3735"/>
                    <a:gd name="T75" fmla="*/ 1267 h 3499"/>
                    <a:gd name="T76" fmla="*/ 1163 w 3735"/>
                    <a:gd name="T77" fmla="*/ 1598 h 3499"/>
                    <a:gd name="T78" fmla="*/ 808 w 3735"/>
                    <a:gd name="T79" fmla="*/ 2419 h 3499"/>
                    <a:gd name="T80" fmla="*/ 792 w 3735"/>
                    <a:gd name="T81" fmla="*/ 3454 h 3499"/>
                    <a:gd name="T82" fmla="*/ 746 w 3735"/>
                    <a:gd name="T83" fmla="*/ 3499 h 3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35" h="3499">
                      <a:moveTo>
                        <a:pt x="94" y="3398"/>
                      </a:moveTo>
                      <a:lnTo>
                        <a:pt x="94" y="3398"/>
                      </a:lnTo>
                      <a:lnTo>
                        <a:pt x="700" y="3406"/>
                      </a:lnTo>
                      <a:lnTo>
                        <a:pt x="714" y="2417"/>
                      </a:lnTo>
                      <a:cubicBezTo>
                        <a:pt x="719" y="2081"/>
                        <a:pt x="855" y="1767"/>
                        <a:pt x="1098" y="1531"/>
                      </a:cubicBezTo>
                      <a:cubicBezTo>
                        <a:pt x="1340" y="1296"/>
                        <a:pt x="1659" y="1169"/>
                        <a:pt x="1994" y="1174"/>
                      </a:cubicBezTo>
                      <a:lnTo>
                        <a:pt x="2885" y="1187"/>
                      </a:lnTo>
                      <a:cubicBezTo>
                        <a:pt x="2898" y="1187"/>
                        <a:pt x="2910" y="1192"/>
                        <a:pt x="2919" y="1201"/>
                      </a:cubicBezTo>
                      <a:cubicBezTo>
                        <a:pt x="2927" y="1210"/>
                        <a:pt x="2932" y="1223"/>
                        <a:pt x="2931" y="1235"/>
                      </a:cubicBezTo>
                      <a:lnTo>
                        <a:pt x="2917" y="1594"/>
                      </a:lnTo>
                      <a:lnTo>
                        <a:pt x="3619" y="867"/>
                      </a:lnTo>
                      <a:lnTo>
                        <a:pt x="2948" y="164"/>
                      </a:lnTo>
                      <a:lnTo>
                        <a:pt x="2938" y="575"/>
                      </a:lnTo>
                      <a:cubicBezTo>
                        <a:pt x="2937" y="601"/>
                        <a:pt x="2916" y="622"/>
                        <a:pt x="2891" y="621"/>
                      </a:cubicBezTo>
                      <a:lnTo>
                        <a:pt x="1765" y="604"/>
                      </a:lnTo>
                      <a:cubicBezTo>
                        <a:pt x="1332" y="598"/>
                        <a:pt x="920" y="762"/>
                        <a:pt x="607" y="1067"/>
                      </a:cubicBezTo>
                      <a:cubicBezTo>
                        <a:pt x="293" y="1371"/>
                        <a:pt x="117" y="1778"/>
                        <a:pt x="111" y="2211"/>
                      </a:cubicBezTo>
                      <a:lnTo>
                        <a:pt x="94" y="3398"/>
                      </a:lnTo>
                      <a:close/>
                      <a:moveTo>
                        <a:pt x="746" y="3499"/>
                      </a:moveTo>
                      <a:lnTo>
                        <a:pt x="746" y="3499"/>
                      </a:lnTo>
                      <a:lnTo>
                        <a:pt x="745" y="3499"/>
                      </a:lnTo>
                      <a:lnTo>
                        <a:pt x="46" y="3491"/>
                      </a:lnTo>
                      <a:cubicBezTo>
                        <a:pt x="33" y="3490"/>
                        <a:pt x="21" y="3485"/>
                        <a:pt x="13" y="3476"/>
                      </a:cubicBezTo>
                      <a:cubicBezTo>
                        <a:pt x="4" y="3468"/>
                        <a:pt x="0" y="3456"/>
                        <a:pt x="0" y="3443"/>
                      </a:cubicBezTo>
                      <a:lnTo>
                        <a:pt x="17" y="2210"/>
                      </a:lnTo>
                      <a:cubicBezTo>
                        <a:pt x="24" y="1751"/>
                        <a:pt x="210" y="1321"/>
                        <a:pt x="542" y="1000"/>
                      </a:cubicBezTo>
                      <a:cubicBezTo>
                        <a:pt x="873" y="678"/>
                        <a:pt x="1308" y="504"/>
                        <a:pt x="1767" y="511"/>
                      </a:cubicBezTo>
                      <a:lnTo>
                        <a:pt x="2846" y="527"/>
                      </a:lnTo>
                      <a:lnTo>
                        <a:pt x="2858" y="49"/>
                      </a:lnTo>
                      <a:cubicBezTo>
                        <a:pt x="2858" y="31"/>
                        <a:pt x="2870" y="14"/>
                        <a:pt x="2888" y="7"/>
                      </a:cubicBezTo>
                      <a:cubicBezTo>
                        <a:pt x="2905" y="0"/>
                        <a:pt x="2925" y="5"/>
                        <a:pt x="2938" y="18"/>
                      </a:cubicBezTo>
                      <a:lnTo>
                        <a:pt x="3718" y="835"/>
                      </a:lnTo>
                      <a:cubicBezTo>
                        <a:pt x="3735" y="854"/>
                        <a:pt x="3735" y="882"/>
                        <a:pt x="3718" y="900"/>
                      </a:cubicBezTo>
                      <a:lnTo>
                        <a:pt x="2900" y="1747"/>
                      </a:lnTo>
                      <a:cubicBezTo>
                        <a:pt x="2886" y="1761"/>
                        <a:pt x="2865" y="1765"/>
                        <a:pt x="2848" y="1757"/>
                      </a:cubicBezTo>
                      <a:cubicBezTo>
                        <a:pt x="2830" y="1750"/>
                        <a:pt x="2819" y="1732"/>
                        <a:pt x="2819" y="1713"/>
                      </a:cubicBezTo>
                      <a:lnTo>
                        <a:pt x="2836" y="1279"/>
                      </a:lnTo>
                      <a:lnTo>
                        <a:pt x="1993" y="1267"/>
                      </a:lnTo>
                      <a:cubicBezTo>
                        <a:pt x="1682" y="1263"/>
                        <a:pt x="1387" y="1380"/>
                        <a:pt x="1163" y="1598"/>
                      </a:cubicBezTo>
                      <a:cubicBezTo>
                        <a:pt x="938" y="1816"/>
                        <a:pt x="812" y="2108"/>
                        <a:pt x="808" y="2419"/>
                      </a:cubicBezTo>
                      <a:lnTo>
                        <a:pt x="792" y="3454"/>
                      </a:lnTo>
                      <a:cubicBezTo>
                        <a:pt x="792" y="3479"/>
                        <a:pt x="771" y="3499"/>
                        <a:pt x="746" y="3499"/>
                      </a:cubicBezTo>
                      <a:close/>
                    </a:path>
                  </a:pathLst>
                </a:custGeom>
                <a:grp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49FD5"/>
                    </a:solidFill>
                    <a:effectLst/>
                    <a:uLnTx/>
                    <a:uFillTx/>
                    <a:latin typeface="Calibri" panose="020F0502020204030204"/>
                    <a:ea typeface="+mn-ea"/>
                    <a:cs typeface="+mn-cs"/>
                  </a:endParaRPr>
                </a:p>
              </p:txBody>
            </p:sp>
          </p:grpSp>
        </p:grpSp>
      </p:grpSp>
      <p:grpSp>
        <p:nvGrpSpPr>
          <p:cNvPr id="67" name="Group 10">
            <a:extLst>
              <a:ext uri="{FF2B5EF4-FFF2-40B4-BE49-F238E27FC236}">
                <a16:creationId xmlns:a16="http://schemas.microsoft.com/office/drawing/2014/main" id="{9BDA2449-202F-B9D0-ADA7-05BCEC3CBA2D}"/>
              </a:ext>
            </a:extLst>
          </p:cNvPr>
          <p:cNvGrpSpPr/>
          <p:nvPr>
            <p:custDataLst>
              <p:tags r:id="rId12"/>
            </p:custDataLst>
          </p:nvPr>
        </p:nvGrpSpPr>
        <p:grpSpPr>
          <a:xfrm>
            <a:off x="1699657" y="3945749"/>
            <a:ext cx="1757231" cy="287624"/>
            <a:chOff x="1591849" y="3935359"/>
            <a:chExt cx="1757231" cy="287624"/>
          </a:xfrm>
        </p:grpSpPr>
        <p:sp>
          <p:nvSpPr>
            <p:cNvPr id="78" name="TextBox 142">
              <a:extLst>
                <a:ext uri="{FF2B5EF4-FFF2-40B4-BE49-F238E27FC236}">
                  <a16:creationId xmlns:a16="http://schemas.microsoft.com/office/drawing/2014/main" id="{523290D9-0FEC-184D-E498-EC4997D4BEE5}"/>
                </a:ext>
              </a:extLst>
            </p:cNvPr>
            <p:cNvSpPr txBox="1"/>
            <p:nvPr/>
          </p:nvSpPr>
          <p:spPr>
            <a:xfrm>
              <a:off x="1906835" y="3957535"/>
              <a:ext cx="1442245" cy="253916"/>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7A76FF"/>
                  </a:solidFill>
                  <a:effectLst/>
                  <a:uLnTx/>
                  <a:uFillTx/>
                  <a:latin typeface="Calibri Light" panose="020F0302020204030204"/>
                  <a:ea typeface="+mn-ea"/>
                  <a:cs typeface="+mn-cs"/>
                </a:rPr>
                <a:t>Visualiser les relations</a:t>
              </a:r>
            </a:p>
          </p:txBody>
        </p:sp>
        <p:grpSp>
          <p:nvGrpSpPr>
            <p:cNvPr id="79" name="Group 152">
              <a:extLst>
                <a:ext uri="{FF2B5EF4-FFF2-40B4-BE49-F238E27FC236}">
                  <a16:creationId xmlns:a16="http://schemas.microsoft.com/office/drawing/2014/main" id="{D3DEF725-35DB-D804-FB80-E22C0C0DABE7}"/>
                </a:ext>
              </a:extLst>
            </p:cNvPr>
            <p:cNvGrpSpPr/>
            <p:nvPr/>
          </p:nvGrpSpPr>
          <p:grpSpPr>
            <a:xfrm>
              <a:off x="1591849" y="3935359"/>
              <a:ext cx="287624" cy="287624"/>
              <a:chOff x="2934433" y="3605395"/>
              <a:chExt cx="382827" cy="382828"/>
            </a:xfrm>
          </p:grpSpPr>
          <p:sp>
            <p:nvSpPr>
              <p:cNvPr id="80" name="Oval 139">
                <a:extLst>
                  <a:ext uri="{FF2B5EF4-FFF2-40B4-BE49-F238E27FC236}">
                    <a16:creationId xmlns:a16="http://schemas.microsoft.com/office/drawing/2014/main" id="{C9FBC257-A07A-B697-2B89-0F463E85E7A6}"/>
                  </a:ext>
                </a:extLst>
              </p:cNvPr>
              <p:cNvSpPr/>
              <p:nvPr/>
            </p:nvSpPr>
            <p:spPr>
              <a:xfrm>
                <a:off x="2934433" y="3605395"/>
                <a:ext cx="382827" cy="382828"/>
              </a:xfrm>
              <a:prstGeom prst="ellipse">
                <a:avLst/>
              </a:prstGeom>
              <a:noFill/>
              <a:ln w="19050">
                <a:solidFill>
                  <a:srgbClr val="6D6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7A76FF"/>
                  </a:solidFill>
                  <a:effectLst/>
                  <a:uLnTx/>
                  <a:uFillTx/>
                  <a:latin typeface="Calibri" panose="020F0502020204030204"/>
                  <a:ea typeface="+mn-ea"/>
                  <a:cs typeface="+mn-cs"/>
                </a:endParaRPr>
              </a:p>
            </p:txBody>
          </p:sp>
          <p:sp>
            <p:nvSpPr>
              <p:cNvPr id="83" name="Freeform 39">
                <a:extLst>
                  <a:ext uri="{FF2B5EF4-FFF2-40B4-BE49-F238E27FC236}">
                    <a16:creationId xmlns:a16="http://schemas.microsoft.com/office/drawing/2014/main" id="{2F5BEBE0-1468-8A85-8AD7-F0BCF856E612}"/>
                  </a:ext>
                </a:extLst>
              </p:cNvPr>
              <p:cNvSpPr>
                <a:spLocks noChangeAspect="1" noEditPoints="1"/>
              </p:cNvSpPr>
              <p:nvPr/>
            </p:nvSpPr>
            <p:spPr bwMode="auto">
              <a:xfrm>
                <a:off x="2954923" y="3707792"/>
                <a:ext cx="341847" cy="178033"/>
              </a:xfrm>
              <a:custGeom>
                <a:avLst/>
                <a:gdLst>
                  <a:gd name="T0" fmla="*/ 2907 w 4799"/>
                  <a:gd name="T1" fmla="*/ 1028 h 2490"/>
                  <a:gd name="T2" fmla="*/ 2907 w 4799"/>
                  <a:gd name="T3" fmla="*/ 1028 h 2490"/>
                  <a:gd name="T4" fmla="*/ 2957 w 4799"/>
                  <a:gd name="T5" fmla="*/ 1257 h 2490"/>
                  <a:gd name="T6" fmla="*/ 2407 w 4799"/>
                  <a:gd name="T7" fmla="*/ 1807 h 2490"/>
                  <a:gd name="T8" fmla="*/ 1857 w 4799"/>
                  <a:gd name="T9" fmla="*/ 1257 h 2490"/>
                  <a:gd name="T10" fmla="*/ 2407 w 4799"/>
                  <a:gd name="T11" fmla="*/ 707 h 2490"/>
                  <a:gd name="T12" fmla="*/ 2511 w 4799"/>
                  <a:gd name="T13" fmla="*/ 717 h 2490"/>
                  <a:gd name="T14" fmla="*/ 2460 w 4799"/>
                  <a:gd name="T15" fmla="*/ 868 h 2490"/>
                  <a:gd name="T16" fmla="*/ 2713 w 4799"/>
                  <a:gd name="T17" fmla="*/ 1121 h 2490"/>
                  <a:gd name="T18" fmla="*/ 2907 w 4799"/>
                  <a:gd name="T19" fmla="*/ 1028 h 2490"/>
                  <a:gd name="T20" fmla="*/ 2907 w 4799"/>
                  <a:gd name="T21" fmla="*/ 1028 h 2490"/>
                  <a:gd name="T22" fmla="*/ 2977 w 4799"/>
                  <a:gd name="T23" fmla="*/ 2306 h 2490"/>
                  <a:gd name="T24" fmla="*/ 2977 w 4799"/>
                  <a:gd name="T25" fmla="*/ 2306 h 2490"/>
                  <a:gd name="T26" fmla="*/ 3601 w 4799"/>
                  <a:gd name="T27" fmla="*/ 1257 h 2490"/>
                  <a:gd name="T28" fmla="*/ 2898 w 4799"/>
                  <a:gd name="T29" fmla="*/ 169 h 2490"/>
                  <a:gd name="T30" fmla="*/ 4669 w 4799"/>
                  <a:gd name="T31" fmla="*/ 1242 h 2490"/>
                  <a:gd name="T32" fmla="*/ 2977 w 4799"/>
                  <a:gd name="T33" fmla="*/ 2306 h 2490"/>
                  <a:gd name="T34" fmla="*/ 2977 w 4799"/>
                  <a:gd name="T35" fmla="*/ 2306 h 2490"/>
                  <a:gd name="T36" fmla="*/ 1343 w 4799"/>
                  <a:gd name="T37" fmla="*/ 1257 h 2490"/>
                  <a:gd name="T38" fmla="*/ 1343 w 4799"/>
                  <a:gd name="T39" fmla="*/ 1257 h 2490"/>
                  <a:gd name="T40" fmla="*/ 2407 w 4799"/>
                  <a:gd name="T41" fmla="*/ 193 h 2490"/>
                  <a:gd name="T42" fmla="*/ 3471 w 4799"/>
                  <a:gd name="T43" fmla="*/ 1257 h 2490"/>
                  <a:gd name="T44" fmla="*/ 2407 w 4799"/>
                  <a:gd name="T45" fmla="*/ 2321 h 2490"/>
                  <a:gd name="T46" fmla="*/ 1343 w 4799"/>
                  <a:gd name="T47" fmla="*/ 1257 h 2490"/>
                  <a:gd name="T48" fmla="*/ 1343 w 4799"/>
                  <a:gd name="T49" fmla="*/ 1257 h 2490"/>
                  <a:gd name="T50" fmla="*/ 130 w 4799"/>
                  <a:gd name="T51" fmla="*/ 1250 h 2490"/>
                  <a:gd name="T52" fmla="*/ 130 w 4799"/>
                  <a:gd name="T53" fmla="*/ 1250 h 2490"/>
                  <a:gd name="T54" fmla="*/ 1921 w 4799"/>
                  <a:gd name="T55" fmla="*/ 167 h 2490"/>
                  <a:gd name="T56" fmla="*/ 1213 w 4799"/>
                  <a:gd name="T57" fmla="*/ 1257 h 2490"/>
                  <a:gd name="T58" fmla="*/ 1838 w 4799"/>
                  <a:gd name="T59" fmla="*/ 2307 h 2490"/>
                  <a:gd name="T60" fmla="*/ 130 w 4799"/>
                  <a:gd name="T61" fmla="*/ 1250 h 2490"/>
                  <a:gd name="T62" fmla="*/ 130 w 4799"/>
                  <a:gd name="T63" fmla="*/ 1250 h 2490"/>
                  <a:gd name="T64" fmla="*/ 2405 w 4799"/>
                  <a:gd name="T65" fmla="*/ 0 h 2490"/>
                  <a:gd name="T66" fmla="*/ 2405 w 4799"/>
                  <a:gd name="T67" fmla="*/ 0 h 2490"/>
                  <a:gd name="T68" fmla="*/ 0 w 4799"/>
                  <a:gd name="T69" fmla="*/ 1249 h 2490"/>
                  <a:gd name="T70" fmla="*/ 2405 w 4799"/>
                  <a:gd name="T71" fmla="*/ 2490 h 2490"/>
                  <a:gd name="T72" fmla="*/ 4799 w 4799"/>
                  <a:gd name="T73" fmla="*/ 1244 h 2490"/>
                  <a:gd name="T74" fmla="*/ 2405 w 4799"/>
                  <a:gd name="T75" fmla="*/ 0 h 2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99" h="2490">
                    <a:moveTo>
                      <a:pt x="2907" y="1028"/>
                    </a:moveTo>
                    <a:lnTo>
                      <a:pt x="2907" y="1028"/>
                    </a:lnTo>
                    <a:cubicBezTo>
                      <a:pt x="2939" y="1098"/>
                      <a:pt x="2957" y="1175"/>
                      <a:pt x="2957" y="1257"/>
                    </a:cubicBezTo>
                    <a:cubicBezTo>
                      <a:pt x="2957" y="1561"/>
                      <a:pt x="2711" y="1807"/>
                      <a:pt x="2407" y="1807"/>
                    </a:cubicBezTo>
                    <a:cubicBezTo>
                      <a:pt x="2103" y="1807"/>
                      <a:pt x="1857" y="1561"/>
                      <a:pt x="1857" y="1257"/>
                    </a:cubicBezTo>
                    <a:cubicBezTo>
                      <a:pt x="1857" y="953"/>
                      <a:pt x="2103" y="707"/>
                      <a:pt x="2407" y="707"/>
                    </a:cubicBezTo>
                    <a:cubicBezTo>
                      <a:pt x="2443" y="707"/>
                      <a:pt x="2477" y="710"/>
                      <a:pt x="2511" y="717"/>
                    </a:cubicBezTo>
                    <a:cubicBezTo>
                      <a:pt x="2479" y="759"/>
                      <a:pt x="2460" y="811"/>
                      <a:pt x="2460" y="868"/>
                    </a:cubicBezTo>
                    <a:cubicBezTo>
                      <a:pt x="2460" y="1007"/>
                      <a:pt x="2573" y="1121"/>
                      <a:pt x="2713" y="1121"/>
                    </a:cubicBezTo>
                    <a:cubicBezTo>
                      <a:pt x="2792" y="1121"/>
                      <a:pt x="2861" y="1084"/>
                      <a:pt x="2907" y="1028"/>
                    </a:cubicBezTo>
                    <a:lnTo>
                      <a:pt x="2907" y="1028"/>
                    </a:lnTo>
                    <a:close/>
                    <a:moveTo>
                      <a:pt x="2977" y="2306"/>
                    </a:moveTo>
                    <a:lnTo>
                      <a:pt x="2977" y="2306"/>
                    </a:lnTo>
                    <a:cubicBezTo>
                      <a:pt x="3349" y="2104"/>
                      <a:pt x="3601" y="1709"/>
                      <a:pt x="3601" y="1257"/>
                    </a:cubicBezTo>
                    <a:cubicBezTo>
                      <a:pt x="3601" y="773"/>
                      <a:pt x="3312" y="357"/>
                      <a:pt x="2898" y="169"/>
                    </a:cubicBezTo>
                    <a:cubicBezTo>
                      <a:pt x="4027" y="354"/>
                      <a:pt x="4649" y="1128"/>
                      <a:pt x="4669" y="1242"/>
                    </a:cubicBezTo>
                    <a:cubicBezTo>
                      <a:pt x="4654" y="1358"/>
                      <a:pt x="4073" y="2101"/>
                      <a:pt x="2977" y="2306"/>
                    </a:cubicBezTo>
                    <a:lnTo>
                      <a:pt x="2977" y="2306"/>
                    </a:lnTo>
                    <a:close/>
                    <a:moveTo>
                      <a:pt x="1343" y="1257"/>
                    </a:moveTo>
                    <a:lnTo>
                      <a:pt x="1343" y="1257"/>
                    </a:lnTo>
                    <a:cubicBezTo>
                      <a:pt x="1343" y="670"/>
                      <a:pt x="1820" y="193"/>
                      <a:pt x="2407" y="193"/>
                    </a:cubicBezTo>
                    <a:cubicBezTo>
                      <a:pt x="2994" y="193"/>
                      <a:pt x="3471" y="670"/>
                      <a:pt x="3471" y="1257"/>
                    </a:cubicBezTo>
                    <a:cubicBezTo>
                      <a:pt x="3471" y="1843"/>
                      <a:pt x="2994" y="2321"/>
                      <a:pt x="2407" y="2321"/>
                    </a:cubicBezTo>
                    <a:cubicBezTo>
                      <a:pt x="1820" y="2321"/>
                      <a:pt x="1343" y="1843"/>
                      <a:pt x="1343" y="1257"/>
                    </a:cubicBezTo>
                    <a:lnTo>
                      <a:pt x="1343" y="1257"/>
                    </a:lnTo>
                    <a:close/>
                    <a:moveTo>
                      <a:pt x="130" y="1250"/>
                    </a:moveTo>
                    <a:lnTo>
                      <a:pt x="130" y="1250"/>
                    </a:lnTo>
                    <a:cubicBezTo>
                      <a:pt x="154" y="1124"/>
                      <a:pt x="775" y="348"/>
                      <a:pt x="1921" y="167"/>
                    </a:cubicBezTo>
                    <a:cubicBezTo>
                      <a:pt x="1504" y="354"/>
                      <a:pt x="1213" y="772"/>
                      <a:pt x="1213" y="1257"/>
                    </a:cubicBezTo>
                    <a:cubicBezTo>
                      <a:pt x="1213" y="1709"/>
                      <a:pt x="1466" y="2104"/>
                      <a:pt x="1838" y="2307"/>
                    </a:cubicBezTo>
                    <a:cubicBezTo>
                      <a:pt x="750" y="2103"/>
                      <a:pt x="150" y="1367"/>
                      <a:pt x="130" y="1250"/>
                    </a:cubicBezTo>
                    <a:lnTo>
                      <a:pt x="130" y="1250"/>
                    </a:lnTo>
                    <a:close/>
                    <a:moveTo>
                      <a:pt x="2405" y="0"/>
                    </a:moveTo>
                    <a:lnTo>
                      <a:pt x="2405" y="0"/>
                    </a:lnTo>
                    <a:cubicBezTo>
                      <a:pt x="866" y="0"/>
                      <a:pt x="0" y="1053"/>
                      <a:pt x="0" y="1249"/>
                    </a:cubicBezTo>
                    <a:cubicBezTo>
                      <a:pt x="0" y="1444"/>
                      <a:pt x="866" y="2490"/>
                      <a:pt x="2405" y="2490"/>
                    </a:cubicBezTo>
                    <a:cubicBezTo>
                      <a:pt x="3936" y="2490"/>
                      <a:pt x="4799" y="1439"/>
                      <a:pt x="4799" y="1244"/>
                    </a:cubicBezTo>
                    <a:cubicBezTo>
                      <a:pt x="4799" y="1049"/>
                      <a:pt x="3936" y="0"/>
                      <a:pt x="2405" y="0"/>
                    </a:cubicBezTo>
                    <a:close/>
                  </a:path>
                </a:pathLst>
              </a:custGeom>
              <a:solidFill>
                <a:srgbClr val="6D69FF"/>
              </a:solidFill>
              <a:ln w="0">
                <a:solidFill>
                  <a:srgbClr val="6D69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7A76FF"/>
                  </a:solidFill>
                  <a:effectLst/>
                  <a:uLnTx/>
                  <a:uFillTx/>
                  <a:latin typeface="Calibri" panose="020F0502020204030204"/>
                  <a:ea typeface="+mn-ea"/>
                  <a:cs typeface="+mn-cs"/>
                </a:endParaRPr>
              </a:p>
            </p:txBody>
          </p:sp>
        </p:grpSp>
      </p:grpSp>
      <p:grpSp>
        <p:nvGrpSpPr>
          <p:cNvPr id="84" name="Group 14">
            <a:extLst>
              <a:ext uri="{FF2B5EF4-FFF2-40B4-BE49-F238E27FC236}">
                <a16:creationId xmlns:a16="http://schemas.microsoft.com/office/drawing/2014/main" id="{09B110DF-BCB4-56A3-A9C8-54AECE3FDAF5}"/>
              </a:ext>
            </a:extLst>
          </p:cNvPr>
          <p:cNvGrpSpPr/>
          <p:nvPr>
            <p:custDataLst>
              <p:tags r:id="rId13"/>
            </p:custDataLst>
          </p:nvPr>
        </p:nvGrpSpPr>
        <p:grpSpPr>
          <a:xfrm>
            <a:off x="3564933" y="3933687"/>
            <a:ext cx="2040100" cy="415498"/>
            <a:chOff x="3564932" y="3933685"/>
            <a:chExt cx="2040100" cy="415498"/>
          </a:xfrm>
        </p:grpSpPr>
        <p:sp>
          <p:nvSpPr>
            <p:cNvPr id="85" name="TextBox 187">
              <a:extLst>
                <a:ext uri="{FF2B5EF4-FFF2-40B4-BE49-F238E27FC236}">
                  <a16:creationId xmlns:a16="http://schemas.microsoft.com/office/drawing/2014/main" id="{4B12E069-1FF4-B38D-C6C6-1D1609E783B8}"/>
                </a:ext>
              </a:extLst>
            </p:cNvPr>
            <p:cNvSpPr txBox="1"/>
            <p:nvPr/>
          </p:nvSpPr>
          <p:spPr>
            <a:xfrm>
              <a:off x="3894030" y="3933685"/>
              <a:ext cx="1711002" cy="415498"/>
            </a:xfrm>
            <a:prstGeom prst="rect">
              <a:avLst/>
            </a:prstGeom>
            <a:noFill/>
          </p:spPr>
          <p:txBody>
            <a:bodyPr wrap="squar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5ADFD8"/>
                  </a:solidFill>
                  <a:effectLst/>
                  <a:uLnTx/>
                  <a:uFillTx/>
                  <a:latin typeface="Calibri Light" panose="020F0302020204030204"/>
                  <a:ea typeface="+mn-ea"/>
                  <a:cs typeface="+mn-cs"/>
                </a:rPr>
                <a:t>Optimiser les ressources et les actions</a:t>
              </a:r>
            </a:p>
          </p:txBody>
        </p:sp>
        <p:grpSp>
          <p:nvGrpSpPr>
            <p:cNvPr id="86" name="Group 211">
              <a:extLst>
                <a:ext uri="{FF2B5EF4-FFF2-40B4-BE49-F238E27FC236}">
                  <a16:creationId xmlns:a16="http://schemas.microsoft.com/office/drawing/2014/main" id="{1B8023EF-A847-25DA-C136-1B6C42F9CB26}"/>
                </a:ext>
              </a:extLst>
            </p:cNvPr>
            <p:cNvGrpSpPr/>
            <p:nvPr/>
          </p:nvGrpSpPr>
          <p:grpSpPr>
            <a:xfrm>
              <a:off x="3564932" y="3935359"/>
              <a:ext cx="287624" cy="287624"/>
              <a:chOff x="4867490" y="3668779"/>
              <a:chExt cx="382827" cy="382827"/>
            </a:xfrm>
          </p:grpSpPr>
          <p:sp>
            <p:nvSpPr>
              <p:cNvPr id="87" name="Oval 184">
                <a:extLst>
                  <a:ext uri="{FF2B5EF4-FFF2-40B4-BE49-F238E27FC236}">
                    <a16:creationId xmlns:a16="http://schemas.microsoft.com/office/drawing/2014/main" id="{B9EB4B75-6A8A-83F4-A74F-9783F1CF20EA}"/>
                  </a:ext>
                </a:extLst>
              </p:cNvPr>
              <p:cNvSpPr/>
              <p:nvPr/>
            </p:nvSpPr>
            <p:spPr>
              <a:xfrm>
                <a:off x="4867490" y="3668779"/>
                <a:ext cx="382827" cy="382827"/>
              </a:xfrm>
              <a:prstGeom prst="ellipse">
                <a:avLst/>
              </a:prstGeom>
              <a:noFill/>
              <a:ln w="19050">
                <a:solidFill>
                  <a:srgbClr val="5ADF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ADFD8"/>
                  </a:solidFill>
                  <a:effectLst/>
                  <a:uLnTx/>
                  <a:uFillTx/>
                  <a:latin typeface="Calibri" panose="020F0502020204030204"/>
                  <a:ea typeface="+mn-ea"/>
                  <a:cs typeface="+mn-cs"/>
                </a:endParaRPr>
              </a:p>
            </p:txBody>
          </p:sp>
          <p:sp>
            <p:nvSpPr>
              <p:cNvPr id="88" name="Freeform 13">
                <a:extLst>
                  <a:ext uri="{FF2B5EF4-FFF2-40B4-BE49-F238E27FC236}">
                    <a16:creationId xmlns:a16="http://schemas.microsoft.com/office/drawing/2014/main" id="{0DD42E48-E061-769A-2846-895C792BBE97}"/>
                  </a:ext>
                </a:extLst>
              </p:cNvPr>
              <p:cNvSpPr>
                <a:spLocks noChangeAspect="1" noEditPoints="1"/>
              </p:cNvSpPr>
              <p:nvPr/>
            </p:nvSpPr>
            <p:spPr bwMode="auto">
              <a:xfrm>
                <a:off x="4945830" y="3718614"/>
                <a:ext cx="231007" cy="265321"/>
              </a:xfrm>
              <a:custGeom>
                <a:avLst/>
                <a:gdLst>
                  <a:gd name="T0" fmla="*/ 2021 w 4177"/>
                  <a:gd name="T1" fmla="*/ 595 h 4799"/>
                  <a:gd name="T2" fmla="*/ 2021 w 4177"/>
                  <a:gd name="T3" fmla="*/ 595 h 4799"/>
                  <a:gd name="T4" fmla="*/ 2088 w 4177"/>
                  <a:gd name="T5" fmla="*/ 528 h 4799"/>
                  <a:gd name="T6" fmla="*/ 3509 w 4177"/>
                  <a:gd name="T7" fmla="*/ 1949 h 4799"/>
                  <a:gd name="T8" fmla="*/ 3442 w 4177"/>
                  <a:gd name="T9" fmla="*/ 2016 h 4799"/>
                  <a:gd name="T10" fmla="*/ 3376 w 4177"/>
                  <a:gd name="T11" fmla="*/ 1949 h 4799"/>
                  <a:gd name="T12" fmla="*/ 2088 w 4177"/>
                  <a:gd name="T13" fmla="*/ 662 h 4799"/>
                  <a:gd name="T14" fmla="*/ 2021 w 4177"/>
                  <a:gd name="T15" fmla="*/ 595 h 4799"/>
                  <a:gd name="T16" fmla="*/ 2021 w 4177"/>
                  <a:gd name="T17" fmla="*/ 595 h 4799"/>
                  <a:gd name="T18" fmla="*/ 3809 w 4177"/>
                  <a:gd name="T19" fmla="*/ 4665 h 4799"/>
                  <a:gd name="T20" fmla="*/ 3809 w 4177"/>
                  <a:gd name="T21" fmla="*/ 4665 h 4799"/>
                  <a:gd name="T22" fmla="*/ 368 w 4177"/>
                  <a:gd name="T23" fmla="*/ 4665 h 4799"/>
                  <a:gd name="T24" fmla="*/ 135 w 4177"/>
                  <a:gd name="T25" fmla="*/ 4457 h 4799"/>
                  <a:gd name="T26" fmla="*/ 754 w 4177"/>
                  <a:gd name="T27" fmla="*/ 3838 h 4799"/>
                  <a:gd name="T28" fmla="*/ 3389 w 4177"/>
                  <a:gd name="T29" fmla="*/ 3804 h 4799"/>
                  <a:gd name="T30" fmla="*/ 4042 w 4177"/>
                  <a:gd name="T31" fmla="*/ 4457 h 4799"/>
                  <a:gd name="T32" fmla="*/ 3809 w 4177"/>
                  <a:gd name="T33" fmla="*/ 4665 h 4799"/>
                  <a:gd name="T34" fmla="*/ 3809 w 4177"/>
                  <a:gd name="T35" fmla="*/ 4665 h 4799"/>
                  <a:gd name="T36" fmla="*/ 4157 w 4177"/>
                  <a:gd name="T37" fmla="*/ 4383 h 4799"/>
                  <a:gd name="T38" fmla="*/ 4157 w 4177"/>
                  <a:gd name="T39" fmla="*/ 4383 h 4799"/>
                  <a:gd name="T40" fmla="*/ 3442 w 4177"/>
                  <a:gd name="T41" fmla="*/ 3667 h 4799"/>
                  <a:gd name="T42" fmla="*/ 3350 w 4177"/>
                  <a:gd name="T43" fmla="*/ 3665 h 4799"/>
                  <a:gd name="T44" fmla="*/ 781 w 4177"/>
                  <a:gd name="T45" fmla="*/ 3696 h 4799"/>
                  <a:gd name="T46" fmla="*/ 697 w 4177"/>
                  <a:gd name="T47" fmla="*/ 3705 h 4799"/>
                  <a:gd name="T48" fmla="*/ 19 w 4177"/>
                  <a:gd name="T49" fmla="*/ 4383 h 4799"/>
                  <a:gd name="T50" fmla="*/ 0 w 4177"/>
                  <a:gd name="T51" fmla="*/ 4430 h 4799"/>
                  <a:gd name="T52" fmla="*/ 368 w 4177"/>
                  <a:gd name="T53" fmla="*/ 4799 h 4799"/>
                  <a:gd name="T54" fmla="*/ 3809 w 4177"/>
                  <a:gd name="T55" fmla="*/ 4799 h 4799"/>
                  <a:gd name="T56" fmla="*/ 4177 w 4177"/>
                  <a:gd name="T57" fmla="*/ 4430 h 4799"/>
                  <a:gd name="T58" fmla="*/ 4157 w 4177"/>
                  <a:gd name="T59" fmla="*/ 4383 h 4799"/>
                  <a:gd name="T60" fmla="*/ 4157 w 4177"/>
                  <a:gd name="T61" fmla="*/ 4383 h 4799"/>
                  <a:gd name="T62" fmla="*/ 2088 w 4177"/>
                  <a:gd name="T63" fmla="*/ 132 h 4799"/>
                  <a:gd name="T64" fmla="*/ 2088 w 4177"/>
                  <a:gd name="T65" fmla="*/ 132 h 4799"/>
                  <a:gd name="T66" fmla="*/ 3905 w 4177"/>
                  <a:gd name="T67" fmla="*/ 1949 h 4799"/>
                  <a:gd name="T68" fmla="*/ 2088 w 4177"/>
                  <a:gd name="T69" fmla="*/ 3766 h 4799"/>
                  <a:gd name="T70" fmla="*/ 271 w 4177"/>
                  <a:gd name="T71" fmla="*/ 1949 h 4799"/>
                  <a:gd name="T72" fmla="*/ 2088 w 4177"/>
                  <a:gd name="T73" fmla="*/ 132 h 4799"/>
                  <a:gd name="T74" fmla="*/ 2088 w 4177"/>
                  <a:gd name="T75" fmla="*/ 132 h 4799"/>
                  <a:gd name="T76" fmla="*/ 2088 w 4177"/>
                  <a:gd name="T77" fmla="*/ 3900 h 4799"/>
                  <a:gd name="T78" fmla="*/ 2088 w 4177"/>
                  <a:gd name="T79" fmla="*/ 3900 h 4799"/>
                  <a:gd name="T80" fmla="*/ 4039 w 4177"/>
                  <a:gd name="T81" fmla="*/ 1949 h 4799"/>
                  <a:gd name="T82" fmla="*/ 2088 w 4177"/>
                  <a:gd name="T83" fmla="*/ 0 h 4799"/>
                  <a:gd name="T84" fmla="*/ 138 w 4177"/>
                  <a:gd name="T85" fmla="*/ 1949 h 4799"/>
                  <a:gd name="T86" fmla="*/ 2088 w 4177"/>
                  <a:gd name="T87" fmla="*/ 3900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77" h="4799">
                    <a:moveTo>
                      <a:pt x="2021" y="595"/>
                    </a:moveTo>
                    <a:lnTo>
                      <a:pt x="2021" y="595"/>
                    </a:lnTo>
                    <a:cubicBezTo>
                      <a:pt x="2021" y="558"/>
                      <a:pt x="2051" y="528"/>
                      <a:pt x="2088" y="528"/>
                    </a:cubicBezTo>
                    <a:cubicBezTo>
                      <a:pt x="2872" y="528"/>
                      <a:pt x="3509" y="1166"/>
                      <a:pt x="3509" y="1949"/>
                    </a:cubicBezTo>
                    <a:cubicBezTo>
                      <a:pt x="3509" y="1986"/>
                      <a:pt x="3479" y="2016"/>
                      <a:pt x="3442" y="2016"/>
                    </a:cubicBezTo>
                    <a:cubicBezTo>
                      <a:pt x="3405" y="2016"/>
                      <a:pt x="3376" y="1986"/>
                      <a:pt x="3376" y="1949"/>
                    </a:cubicBezTo>
                    <a:cubicBezTo>
                      <a:pt x="3376" y="1239"/>
                      <a:pt x="2798" y="662"/>
                      <a:pt x="2088" y="662"/>
                    </a:cubicBezTo>
                    <a:cubicBezTo>
                      <a:pt x="2051" y="662"/>
                      <a:pt x="2021" y="632"/>
                      <a:pt x="2021" y="595"/>
                    </a:cubicBezTo>
                    <a:lnTo>
                      <a:pt x="2021" y="595"/>
                    </a:lnTo>
                    <a:close/>
                    <a:moveTo>
                      <a:pt x="3809" y="4665"/>
                    </a:moveTo>
                    <a:lnTo>
                      <a:pt x="3809" y="4665"/>
                    </a:lnTo>
                    <a:lnTo>
                      <a:pt x="368" y="4665"/>
                    </a:lnTo>
                    <a:cubicBezTo>
                      <a:pt x="247" y="4665"/>
                      <a:pt x="148" y="4574"/>
                      <a:pt x="135" y="4457"/>
                    </a:cubicBezTo>
                    <a:lnTo>
                      <a:pt x="754" y="3838"/>
                    </a:lnTo>
                    <a:cubicBezTo>
                      <a:pt x="2088" y="4684"/>
                      <a:pt x="3152" y="3985"/>
                      <a:pt x="3389" y="3804"/>
                    </a:cubicBezTo>
                    <a:lnTo>
                      <a:pt x="4042" y="4457"/>
                    </a:lnTo>
                    <a:cubicBezTo>
                      <a:pt x="4029" y="4574"/>
                      <a:pt x="3929" y="4665"/>
                      <a:pt x="3809" y="4665"/>
                    </a:cubicBezTo>
                    <a:lnTo>
                      <a:pt x="3809" y="4665"/>
                    </a:lnTo>
                    <a:close/>
                    <a:moveTo>
                      <a:pt x="4157" y="4383"/>
                    </a:moveTo>
                    <a:lnTo>
                      <a:pt x="4157" y="4383"/>
                    </a:lnTo>
                    <a:lnTo>
                      <a:pt x="3442" y="3667"/>
                    </a:lnTo>
                    <a:cubicBezTo>
                      <a:pt x="3417" y="3642"/>
                      <a:pt x="3376" y="3641"/>
                      <a:pt x="3350" y="3665"/>
                    </a:cubicBezTo>
                    <a:cubicBezTo>
                      <a:pt x="3304" y="3705"/>
                      <a:pt x="2226" y="4647"/>
                      <a:pt x="781" y="3696"/>
                    </a:cubicBezTo>
                    <a:cubicBezTo>
                      <a:pt x="755" y="3679"/>
                      <a:pt x="720" y="3682"/>
                      <a:pt x="697" y="3705"/>
                    </a:cubicBezTo>
                    <a:lnTo>
                      <a:pt x="19" y="4383"/>
                    </a:lnTo>
                    <a:cubicBezTo>
                      <a:pt x="7" y="4396"/>
                      <a:pt x="0" y="4412"/>
                      <a:pt x="0" y="4430"/>
                    </a:cubicBezTo>
                    <a:cubicBezTo>
                      <a:pt x="0" y="4633"/>
                      <a:pt x="165" y="4799"/>
                      <a:pt x="368" y="4799"/>
                    </a:cubicBezTo>
                    <a:lnTo>
                      <a:pt x="3809" y="4799"/>
                    </a:lnTo>
                    <a:cubicBezTo>
                      <a:pt x="4012" y="4799"/>
                      <a:pt x="4177" y="4633"/>
                      <a:pt x="4177" y="4430"/>
                    </a:cubicBezTo>
                    <a:cubicBezTo>
                      <a:pt x="4177" y="4412"/>
                      <a:pt x="4170" y="4396"/>
                      <a:pt x="4157" y="4383"/>
                    </a:cubicBezTo>
                    <a:lnTo>
                      <a:pt x="4157" y="4383"/>
                    </a:lnTo>
                    <a:close/>
                    <a:moveTo>
                      <a:pt x="2088" y="132"/>
                    </a:moveTo>
                    <a:lnTo>
                      <a:pt x="2088" y="132"/>
                    </a:lnTo>
                    <a:cubicBezTo>
                      <a:pt x="3090" y="132"/>
                      <a:pt x="3905" y="947"/>
                      <a:pt x="3905" y="1949"/>
                    </a:cubicBezTo>
                    <a:cubicBezTo>
                      <a:pt x="3905" y="2951"/>
                      <a:pt x="3090" y="3766"/>
                      <a:pt x="2088" y="3766"/>
                    </a:cubicBezTo>
                    <a:cubicBezTo>
                      <a:pt x="1086" y="3766"/>
                      <a:pt x="271" y="2951"/>
                      <a:pt x="271" y="1949"/>
                    </a:cubicBezTo>
                    <a:cubicBezTo>
                      <a:pt x="271" y="947"/>
                      <a:pt x="1086" y="132"/>
                      <a:pt x="2088" y="132"/>
                    </a:cubicBezTo>
                    <a:lnTo>
                      <a:pt x="2088" y="132"/>
                    </a:lnTo>
                    <a:close/>
                    <a:moveTo>
                      <a:pt x="2088" y="3900"/>
                    </a:moveTo>
                    <a:lnTo>
                      <a:pt x="2088" y="3900"/>
                    </a:lnTo>
                    <a:cubicBezTo>
                      <a:pt x="3164" y="3900"/>
                      <a:pt x="4039" y="3025"/>
                      <a:pt x="4039" y="1949"/>
                    </a:cubicBezTo>
                    <a:cubicBezTo>
                      <a:pt x="4039" y="874"/>
                      <a:pt x="3164" y="0"/>
                      <a:pt x="2088" y="0"/>
                    </a:cubicBezTo>
                    <a:cubicBezTo>
                      <a:pt x="1013" y="0"/>
                      <a:pt x="138" y="874"/>
                      <a:pt x="138" y="1949"/>
                    </a:cubicBezTo>
                    <a:cubicBezTo>
                      <a:pt x="138" y="3025"/>
                      <a:pt x="1013" y="3900"/>
                      <a:pt x="2088" y="3900"/>
                    </a:cubicBezTo>
                    <a:close/>
                  </a:path>
                </a:pathLst>
              </a:custGeom>
              <a:solidFill>
                <a:srgbClr val="5ADFD8"/>
              </a:solidFill>
              <a:ln w="0">
                <a:solidFill>
                  <a:srgbClr val="5ADFD8"/>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ADFD8"/>
                  </a:solidFill>
                  <a:effectLst/>
                  <a:uLnTx/>
                  <a:uFillTx/>
                  <a:latin typeface="Calibri" panose="020F0502020204030204"/>
                  <a:ea typeface="+mn-ea"/>
                  <a:cs typeface="+mn-cs"/>
                </a:endParaRPr>
              </a:p>
            </p:txBody>
          </p:sp>
        </p:grpSp>
      </p:grpSp>
      <p:grpSp>
        <p:nvGrpSpPr>
          <p:cNvPr id="89" name="Group 18">
            <a:extLst>
              <a:ext uri="{FF2B5EF4-FFF2-40B4-BE49-F238E27FC236}">
                <a16:creationId xmlns:a16="http://schemas.microsoft.com/office/drawing/2014/main" id="{7EA8C521-C7BD-3D07-1BFA-A83CF837C16D}"/>
              </a:ext>
            </a:extLst>
          </p:cNvPr>
          <p:cNvGrpSpPr/>
          <p:nvPr>
            <p:custDataLst>
              <p:tags r:id="rId14"/>
            </p:custDataLst>
          </p:nvPr>
        </p:nvGrpSpPr>
        <p:grpSpPr>
          <a:xfrm>
            <a:off x="5546463" y="3871429"/>
            <a:ext cx="1770677" cy="415498"/>
            <a:chOff x="5546462" y="3871423"/>
            <a:chExt cx="1770677" cy="415498"/>
          </a:xfrm>
        </p:grpSpPr>
        <p:sp>
          <p:nvSpPr>
            <p:cNvPr id="90" name="TextBox 201">
              <a:extLst>
                <a:ext uri="{FF2B5EF4-FFF2-40B4-BE49-F238E27FC236}">
                  <a16:creationId xmlns:a16="http://schemas.microsoft.com/office/drawing/2014/main" id="{28400D5A-134E-8CD6-6E97-B50D6CE9A4BC}"/>
                </a:ext>
              </a:extLst>
            </p:cNvPr>
            <p:cNvSpPr txBox="1"/>
            <p:nvPr/>
          </p:nvSpPr>
          <p:spPr>
            <a:xfrm>
              <a:off x="5872387" y="3871423"/>
              <a:ext cx="1444752" cy="415498"/>
            </a:xfrm>
            <a:prstGeom prst="rect">
              <a:avLst/>
            </a:prstGeom>
            <a:noFill/>
          </p:spPr>
          <p:txBody>
            <a:bodyPr wrap="squar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549FD5"/>
                  </a:solidFill>
                  <a:effectLst/>
                  <a:uLnTx/>
                  <a:uFillTx/>
                  <a:latin typeface="Calibri Light" panose="020F0302020204030204"/>
                  <a:ea typeface="+mn-ea"/>
                  <a:cs typeface="+mn-cs"/>
                </a:rPr>
                <a:t>Suivre les modèles SAS et Open Source</a:t>
              </a:r>
              <a:endParaRPr kumimoji="0" lang="fr-CA" sz="800" b="0" i="0" u="none" strike="noStrike" kern="1200" cap="none" spc="0" normalizeH="0" baseline="0" noProof="0">
                <a:ln>
                  <a:noFill/>
                </a:ln>
                <a:solidFill>
                  <a:srgbClr val="549FD5"/>
                </a:solidFill>
                <a:effectLst/>
                <a:uLnTx/>
                <a:uFillTx/>
                <a:latin typeface="Calibri Light" panose="020F0302020204030204"/>
                <a:ea typeface="+mn-ea"/>
                <a:cs typeface="+mn-cs"/>
              </a:endParaRPr>
            </a:p>
          </p:txBody>
        </p:sp>
        <p:grpSp>
          <p:nvGrpSpPr>
            <p:cNvPr id="91" name="Group 215">
              <a:extLst>
                <a:ext uri="{FF2B5EF4-FFF2-40B4-BE49-F238E27FC236}">
                  <a16:creationId xmlns:a16="http://schemas.microsoft.com/office/drawing/2014/main" id="{D8BF8268-D18F-F36A-3618-9CD570ED8861}"/>
                </a:ext>
              </a:extLst>
            </p:cNvPr>
            <p:cNvGrpSpPr/>
            <p:nvPr/>
          </p:nvGrpSpPr>
          <p:grpSpPr>
            <a:xfrm>
              <a:off x="5546462" y="3935359"/>
              <a:ext cx="287624" cy="287624"/>
              <a:chOff x="7295316" y="3561023"/>
              <a:chExt cx="382827" cy="382828"/>
            </a:xfrm>
          </p:grpSpPr>
          <p:sp>
            <p:nvSpPr>
              <p:cNvPr id="92" name="Oval 198">
                <a:extLst>
                  <a:ext uri="{FF2B5EF4-FFF2-40B4-BE49-F238E27FC236}">
                    <a16:creationId xmlns:a16="http://schemas.microsoft.com/office/drawing/2014/main" id="{9302D023-D58C-E3AC-BBF1-49BF032D5E8A}"/>
                  </a:ext>
                </a:extLst>
              </p:cNvPr>
              <p:cNvSpPr/>
              <p:nvPr/>
            </p:nvSpPr>
            <p:spPr>
              <a:xfrm>
                <a:off x="7295316" y="3561023"/>
                <a:ext cx="382827" cy="382828"/>
              </a:xfrm>
              <a:prstGeom prst="ellipse">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49FD5"/>
                  </a:solidFill>
                  <a:effectLst/>
                  <a:uLnTx/>
                  <a:uFillTx/>
                  <a:latin typeface="Calibri" panose="020F0502020204030204"/>
                  <a:ea typeface="+mn-ea"/>
                  <a:cs typeface="+mn-cs"/>
                </a:endParaRPr>
              </a:p>
            </p:txBody>
          </p:sp>
          <p:sp>
            <p:nvSpPr>
              <p:cNvPr id="93" name="Freeform 9">
                <a:extLst>
                  <a:ext uri="{FF2B5EF4-FFF2-40B4-BE49-F238E27FC236}">
                    <a16:creationId xmlns:a16="http://schemas.microsoft.com/office/drawing/2014/main" id="{3846BD0F-0F19-AB26-EA32-9DB4B14ABBB6}"/>
                  </a:ext>
                </a:extLst>
              </p:cNvPr>
              <p:cNvSpPr>
                <a:spLocks noChangeAspect="1" noEditPoints="1"/>
              </p:cNvSpPr>
              <p:nvPr/>
            </p:nvSpPr>
            <p:spPr bwMode="auto">
              <a:xfrm>
                <a:off x="7363820" y="3606828"/>
                <a:ext cx="245820" cy="291217"/>
              </a:xfrm>
              <a:custGeom>
                <a:avLst/>
                <a:gdLst>
                  <a:gd name="T0" fmla="*/ 2043 w 4052"/>
                  <a:gd name="T1" fmla="*/ 3279 h 4799"/>
                  <a:gd name="T2" fmla="*/ 1315 w 4052"/>
                  <a:gd name="T3" fmla="*/ 2978 h 4799"/>
                  <a:gd name="T4" fmla="*/ 2043 w 4052"/>
                  <a:gd name="T5" fmla="*/ 1220 h 4799"/>
                  <a:gd name="T6" fmla="*/ 2771 w 4052"/>
                  <a:gd name="T7" fmla="*/ 1522 h 4799"/>
                  <a:gd name="T8" fmla="*/ 2043 w 4052"/>
                  <a:gd name="T9" fmla="*/ 3279 h 4799"/>
                  <a:gd name="T10" fmla="*/ 2043 w 4052"/>
                  <a:gd name="T11" fmla="*/ 1092 h 4799"/>
                  <a:gd name="T12" fmla="*/ 2043 w 4052"/>
                  <a:gd name="T13" fmla="*/ 1092 h 4799"/>
                  <a:gd name="T14" fmla="*/ 1224 w 4052"/>
                  <a:gd name="T15" fmla="*/ 3069 h 4799"/>
                  <a:gd name="T16" fmla="*/ 2043 w 4052"/>
                  <a:gd name="T17" fmla="*/ 3408 h 4799"/>
                  <a:gd name="T18" fmla="*/ 2862 w 4052"/>
                  <a:gd name="T19" fmla="*/ 1431 h 4799"/>
                  <a:gd name="T20" fmla="*/ 2043 w 4052"/>
                  <a:gd name="T21" fmla="*/ 1092 h 4799"/>
                  <a:gd name="T22" fmla="*/ 2424 w 4052"/>
                  <a:gd name="T23" fmla="*/ 3911 h 4799"/>
                  <a:gd name="T24" fmla="*/ 2040 w 4052"/>
                  <a:gd name="T25" fmla="*/ 4019 h 4799"/>
                  <a:gd name="T26" fmla="*/ 1774 w 4052"/>
                  <a:gd name="T27" fmla="*/ 3999 h 4799"/>
                  <a:gd name="T28" fmla="*/ 1794 w 4052"/>
                  <a:gd name="T29" fmla="*/ 3871 h 4799"/>
                  <a:gd name="T30" fmla="*/ 2040 w 4052"/>
                  <a:gd name="T31" fmla="*/ 3891 h 4799"/>
                  <a:gd name="T32" fmla="*/ 2424 w 4052"/>
                  <a:gd name="T33" fmla="*/ 3911 h 4799"/>
                  <a:gd name="T34" fmla="*/ 1327 w 4052"/>
                  <a:gd name="T35" fmla="*/ 799 h 4799"/>
                  <a:gd name="T36" fmla="*/ 1359 w 4052"/>
                  <a:gd name="T37" fmla="*/ 714 h 4799"/>
                  <a:gd name="T38" fmla="*/ 2760 w 4052"/>
                  <a:gd name="T39" fmla="*/ 721 h 4799"/>
                  <a:gd name="T40" fmla="*/ 2733 w 4052"/>
                  <a:gd name="T41" fmla="*/ 844 h 4799"/>
                  <a:gd name="T42" fmla="*/ 2004 w 4052"/>
                  <a:gd name="T43" fmla="*/ 697 h 4799"/>
                  <a:gd name="T44" fmla="*/ 1327 w 4052"/>
                  <a:gd name="T45" fmla="*/ 799 h 4799"/>
                  <a:gd name="T46" fmla="*/ 2025 w 4052"/>
                  <a:gd name="T47" fmla="*/ 4658 h 4799"/>
                  <a:gd name="T48" fmla="*/ 291 w 4052"/>
                  <a:gd name="T49" fmla="*/ 933 h 4799"/>
                  <a:gd name="T50" fmla="*/ 2029 w 4052"/>
                  <a:gd name="T51" fmla="*/ 127 h 4799"/>
                  <a:gd name="T52" fmla="*/ 3759 w 4052"/>
                  <a:gd name="T53" fmla="*/ 923 h 4799"/>
                  <a:gd name="T54" fmla="*/ 2025 w 4052"/>
                  <a:gd name="T55" fmla="*/ 4658 h 4799"/>
                  <a:gd name="T56" fmla="*/ 3887 w 4052"/>
                  <a:gd name="T57" fmla="*/ 916 h 4799"/>
                  <a:gd name="T58" fmla="*/ 3871 w 4052"/>
                  <a:gd name="T59" fmla="*/ 857 h 4799"/>
                  <a:gd name="T60" fmla="*/ 2029 w 4052"/>
                  <a:gd name="T61" fmla="*/ 0 h 4799"/>
                  <a:gd name="T62" fmla="*/ 164 w 4052"/>
                  <a:gd name="T63" fmla="*/ 903 h 4799"/>
                  <a:gd name="T64" fmla="*/ 1991 w 4052"/>
                  <a:gd name="T65" fmla="*/ 4789 h 4799"/>
                  <a:gd name="T66" fmla="*/ 2025 w 4052"/>
                  <a:gd name="T67" fmla="*/ 4799 h 4799"/>
                  <a:gd name="T68" fmla="*/ 3887 w 4052"/>
                  <a:gd name="T69" fmla="*/ 916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2" h="4799">
                    <a:moveTo>
                      <a:pt x="2043" y="3279"/>
                    </a:moveTo>
                    <a:lnTo>
                      <a:pt x="2043" y="3279"/>
                    </a:lnTo>
                    <a:cubicBezTo>
                      <a:pt x="2043" y="3279"/>
                      <a:pt x="2043" y="3279"/>
                      <a:pt x="2043" y="3279"/>
                    </a:cubicBezTo>
                    <a:cubicBezTo>
                      <a:pt x="1768" y="3279"/>
                      <a:pt x="1510" y="3172"/>
                      <a:pt x="1315" y="2978"/>
                    </a:cubicBezTo>
                    <a:cubicBezTo>
                      <a:pt x="1121" y="2783"/>
                      <a:pt x="1014" y="2525"/>
                      <a:pt x="1014" y="2250"/>
                    </a:cubicBezTo>
                    <a:cubicBezTo>
                      <a:pt x="1014" y="1682"/>
                      <a:pt x="1476" y="1220"/>
                      <a:pt x="2043" y="1220"/>
                    </a:cubicBezTo>
                    <a:lnTo>
                      <a:pt x="2043" y="1220"/>
                    </a:lnTo>
                    <a:cubicBezTo>
                      <a:pt x="2318" y="1220"/>
                      <a:pt x="2577" y="1328"/>
                      <a:pt x="2771" y="1522"/>
                    </a:cubicBezTo>
                    <a:cubicBezTo>
                      <a:pt x="2966" y="1716"/>
                      <a:pt x="3073" y="1975"/>
                      <a:pt x="3073" y="2250"/>
                    </a:cubicBezTo>
                    <a:cubicBezTo>
                      <a:pt x="3073" y="2817"/>
                      <a:pt x="2611" y="3279"/>
                      <a:pt x="2043" y="3279"/>
                    </a:cubicBezTo>
                    <a:lnTo>
                      <a:pt x="2043" y="3279"/>
                    </a:lnTo>
                    <a:close/>
                    <a:moveTo>
                      <a:pt x="2043" y="1092"/>
                    </a:moveTo>
                    <a:lnTo>
                      <a:pt x="2043" y="1092"/>
                    </a:lnTo>
                    <a:cubicBezTo>
                      <a:pt x="2043" y="1092"/>
                      <a:pt x="2043" y="1092"/>
                      <a:pt x="2043" y="1092"/>
                    </a:cubicBezTo>
                    <a:cubicBezTo>
                      <a:pt x="1405" y="1092"/>
                      <a:pt x="885" y="1611"/>
                      <a:pt x="885" y="2250"/>
                    </a:cubicBezTo>
                    <a:cubicBezTo>
                      <a:pt x="885" y="2559"/>
                      <a:pt x="1006" y="2850"/>
                      <a:pt x="1224" y="3069"/>
                    </a:cubicBezTo>
                    <a:cubicBezTo>
                      <a:pt x="1443" y="3287"/>
                      <a:pt x="1734" y="3408"/>
                      <a:pt x="2043" y="3408"/>
                    </a:cubicBezTo>
                    <a:cubicBezTo>
                      <a:pt x="2043" y="3408"/>
                      <a:pt x="2043" y="3408"/>
                      <a:pt x="2043" y="3408"/>
                    </a:cubicBezTo>
                    <a:cubicBezTo>
                      <a:pt x="2682" y="3408"/>
                      <a:pt x="3201" y="2888"/>
                      <a:pt x="3201" y="2250"/>
                    </a:cubicBezTo>
                    <a:cubicBezTo>
                      <a:pt x="3201" y="1940"/>
                      <a:pt x="3081" y="1650"/>
                      <a:pt x="2862" y="1431"/>
                    </a:cubicBezTo>
                    <a:cubicBezTo>
                      <a:pt x="2644" y="1212"/>
                      <a:pt x="2353" y="1092"/>
                      <a:pt x="2043" y="1092"/>
                    </a:cubicBezTo>
                    <a:lnTo>
                      <a:pt x="2043" y="1092"/>
                    </a:lnTo>
                    <a:close/>
                    <a:moveTo>
                      <a:pt x="2424" y="3911"/>
                    </a:moveTo>
                    <a:lnTo>
                      <a:pt x="2424" y="3911"/>
                    </a:lnTo>
                    <a:cubicBezTo>
                      <a:pt x="2430" y="3946"/>
                      <a:pt x="2408" y="3980"/>
                      <a:pt x="2373" y="3987"/>
                    </a:cubicBezTo>
                    <a:cubicBezTo>
                      <a:pt x="2264" y="4008"/>
                      <a:pt x="2152" y="4019"/>
                      <a:pt x="2040" y="4019"/>
                    </a:cubicBezTo>
                    <a:cubicBezTo>
                      <a:pt x="2040" y="4019"/>
                      <a:pt x="2040" y="4019"/>
                      <a:pt x="2039" y="4019"/>
                    </a:cubicBezTo>
                    <a:cubicBezTo>
                      <a:pt x="1950" y="4019"/>
                      <a:pt x="1861" y="4012"/>
                      <a:pt x="1774" y="3999"/>
                    </a:cubicBezTo>
                    <a:cubicBezTo>
                      <a:pt x="1739" y="3993"/>
                      <a:pt x="1715" y="3960"/>
                      <a:pt x="1720" y="3925"/>
                    </a:cubicBezTo>
                    <a:cubicBezTo>
                      <a:pt x="1726" y="3890"/>
                      <a:pt x="1759" y="3866"/>
                      <a:pt x="1794" y="3871"/>
                    </a:cubicBezTo>
                    <a:cubicBezTo>
                      <a:pt x="1874" y="3884"/>
                      <a:pt x="1957" y="3891"/>
                      <a:pt x="2039" y="3891"/>
                    </a:cubicBezTo>
                    <a:cubicBezTo>
                      <a:pt x="2040" y="3891"/>
                      <a:pt x="2040" y="3891"/>
                      <a:pt x="2040" y="3891"/>
                    </a:cubicBezTo>
                    <a:cubicBezTo>
                      <a:pt x="2144" y="3891"/>
                      <a:pt x="2247" y="3880"/>
                      <a:pt x="2348" y="3860"/>
                    </a:cubicBezTo>
                    <a:cubicBezTo>
                      <a:pt x="2383" y="3853"/>
                      <a:pt x="2417" y="3876"/>
                      <a:pt x="2424" y="3911"/>
                    </a:cubicBezTo>
                    <a:lnTo>
                      <a:pt x="2424" y="3911"/>
                    </a:lnTo>
                    <a:close/>
                    <a:moveTo>
                      <a:pt x="1327" y="799"/>
                    </a:moveTo>
                    <a:lnTo>
                      <a:pt x="1327" y="799"/>
                    </a:lnTo>
                    <a:cubicBezTo>
                      <a:pt x="1312" y="766"/>
                      <a:pt x="1327" y="728"/>
                      <a:pt x="1359" y="714"/>
                    </a:cubicBezTo>
                    <a:cubicBezTo>
                      <a:pt x="1561" y="624"/>
                      <a:pt x="1777" y="574"/>
                      <a:pt x="2000" y="568"/>
                    </a:cubicBezTo>
                    <a:cubicBezTo>
                      <a:pt x="2266" y="561"/>
                      <a:pt x="2521" y="611"/>
                      <a:pt x="2760" y="721"/>
                    </a:cubicBezTo>
                    <a:cubicBezTo>
                      <a:pt x="2792" y="736"/>
                      <a:pt x="2806" y="774"/>
                      <a:pt x="2792" y="807"/>
                    </a:cubicBezTo>
                    <a:cubicBezTo>
                      <a:pt x="2781" y="830"/>
                      <a:pt x="2757" y="844"/>
                      <a:pt x="2733" y="844"/>
                    </a:cubicBezTo>
                    <a:cubicBezTo>
                      <a:pt x="2724" y="844"/>
                      <a:pt x="2715" y="842"/>
                      <a:pt x="2706" y="838"/>
                    </a:cubicBezTo>
                    <a:cubicBezTo>
                      <a:pt x="2485" y="737"/>
                      <a:pt x="2249" y="689"/>
                      <a:pt x="2004" y="697"/>
                    </a:cubicBezTo>
                    <a:cubicBezTo>
                      <a:pt x="1798" y="703"/>
                      <a:pt x="1599" y="748"/>
                      <a:pt x="1412" y="831"/>
                    </a:cubicBezTo>
                    <a:cubicBezTo>
                      <a:pt x="1379" y="846"/>
                      <a:pt x="1341" y="831"/>
                      <a:pt x="1327" y="799"/>
                    </a:cubicBezTo>
                    <a:lnTo>
                      <a:pt x="1327" y="799"/>
                    </a:lnTo>
                    <a:close/>
                    <a:moveTo>
                      <a:pt x="2025" y="4658"/>
                    </a:moveTo>
                    <a:lnTo>
                      <a:pt x="2025" y="4658"/>
                    </a:lnTo>
                    <a:cubicBezTo>
                      <a:pt x="196" y="3506"/>
                      <a:pt x="282" y="1108"/>
                      <a:pt x="291" y="933"/>
                    </a:cubicBezTo>
                    <a:cubicBezTo>
                      <a:pt x="725" y="421"/>
                      <a:pt x="1358" y="127"/>
                      <a:pt x="2029" y="127"/>
                    </a:cubicBezTo>
                    <a:cubicBezTo>
                      <a:pt x="2029" y="127"/>
                      <a:pt x="2029" y="127"/>
                      <a:pt x="2029" y="127"/>
                    </a:cubicBezTo>
                    <a:cubicBezTo>
                      <a:pt x="2696" y="127"/>
                      <a:pt x="3325" y="417"/>
                      <a:pt x="3759" y="923"/>
                    </a:cubicBezTo>
                    <a:lnTo>
                      <a:pt x="3759" y="923"/>
                    </a:lnTo>
                    <a:cubicBezTo>
                      <a:pt x="3761" y="949"/>
                      <a:pt x="3917" y="3467"/>
                      <a:pt x="2025" y="4658"/>
                    </a:cubicBezTo>
                    <a:lnTo>
                      <a:pt x="2025" y="4658"/>
                    </a:lnTo>
                    <a:close/>
                    <a:moveTo>
                      <a:pt x="3887" y="916"/>
                    </a:moveTo>
                    <a:lnTo>
                      <a:pt x="3887" y="916"/>
                    </a:lnTo>
                    <a:lnTo>
                      <a:pt x="3886" y="895"/>
                    </a:lnTo>
                    <a:cubicBezTo>
                      <a:pt x="3886" y="881"/>
                      <a:pt x="3880" y="867"/>
                      <a:pt x="3871" y="857"/>
                    </a:cubicBezTo>
                    <a:cubicBezTo>
                      <a:pt x="3413" y="311"/>
                      <a:pt x="2741" y="0"/>
                      <a:pt x="2029" y="0"/>
                    </a:cubicBezTo>
                    <a:cubicBezTo>
                      <a:pt x="2029" y="0"/>
                      <a:pt x="2029" y="0"/>
                      <a:pt x="2029" y="0"/>
                    </a:cubicBezTo>
                    <a:cubicBezTo>
                      <a:pt x="1312" y="0"/>
                      <a:pt x="638" y="315"/>
                      <a:pt x="179" y="866"/>
                    </a:cubicBezTo>
                    <a:cubicBezTo>
                      <a:pt x="170" y="877"/>
                      <a:pt x="165" y="890"/>
                      <a:pt x="164" y="903"/>
                    </a:cubicBezTo>
                    <a:lnTo>
                      <a:pt x="163" y="914"/>
                    </a:lnTo>
                    <a:cubicBezTo>
                      <a:pt x="162" y="940"/>
                      <a:pt x="0" y="3565"/>
                      <a:pt x="1991" y="4789"/>
                    </a:cubicBezTo>
                    <a:cubicBezTo>
                      <a:pt x="2002" y="4795"/>
                      <a:pt x="2013" y="4799"/>
                      <a:pt x="2025" y="4799"/>
                    </a:cubicBezTo>
                    <a:cubicBezTo>
                      <a:pt x="2025" y="4799"/>
                      <a:pt x="2025" y="4799"/>
                      <a:pt x="2025" y="4799"/>
                    </a:cubicBezTo>
                    <a:cubicBezTo>
                      <a:pt x="2037" y="4797"/>
                      <a:pt x="2048" y="4795"/>
                      <a:pt x="2059" y="4789"/>
                    </a:cubicBezTo>
                    <a:cubicBezTo>
                      <a:pt x="4052" y="3566"/>
                      <a:pt x="3889" y="941"/>
                      <a:pt x="3887" y="916"/>
                    </a:cubicBezTo>
                    <a:close/>
                  </a:path>
                </a:pathLst>
              </a:custGeom>
              <a:solidFill>
                <a:srgbClr val="0070C0"/>
              </a:solidFill>
              <a:ln w="0">
                <a:solidFill>
                  <a:srgbClr val="0070C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050" b="0" i="0" u="none" strike="noStrike" kern="1200" cap="none" spc="0" normalizeH="0" baseline="0" noProof="0">
                  <a:ln>
                    <a:noFill/>
                  </a:ln>
                  <a:solidFill>
                    <a:srgbClr val="549FD5"/>
                  </a:solidFill>
                  <a:effectLst/>
                  <a:uLnTx/>
                  <a:uFillTx/>
                  <a:latin typeface="Calibri" panose="020F0502020204030204"/>
                  <a:ea typeface="+mn-ea"/>
                  <a:cs typeface="+mn-cs"/>
                </a:endParaRPr>
              </a:p>
            </p:txBody>
          </p:sp>
        </p:grpSp>
      </p:grpSp>
      <p:sp>
        <p:nvSpPr>
          <p:cNvPr id="94" name="TextBox 209">
            <a:extLst>
              <a:ext uri="{FF2B5EF4-FFF2-40B4-BE49-F238E27FC236}">
                <a16:creationId xmlns:a16="http://schemas.microsoft.com/office/drawing/2014/main" id="{82DE40EA-54CA-EE02-D704-4203894F824C}"/>
              </a:ext>
            </a:extLst>
          </p:cNvPr>
          <p:cNvSpPr txBox="1"/>
          <p:nvPr>
            <p:custDataLst>
              <p:tags r:id="rId15"/>
            </p:custDataLst>
          </p:nvPr>
        </p:nvSpPr>
        <p:spPr>
          <a:xfrm>
            <a:off x="5515552" y="2842781"/>
            <a:ext cx="1793654" cy="276999"/>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a:ln>
                  <a:noFill/>
                </a:ln>
                <a:solidFill>
                  <a:srgbClr val="0070C0"/>
                </a:solidFill>
                <a:effectLst/>
                <a:uLnTx/>
                <a:uFillTx/>
                <a:latin typeface="Calibri" panose="020F0502020204030204" pitchFamily="34" charset="0"/>
                <a:ea typeface="+mn-ea"/>
                <a:cs typeface="Calibri" panose="020F0502020204030204" pitchFamily="34" charset="0"/>
              </a:rPr>
              <a:t>DÉPLOYER DES INSIGHTS</a:t>
            </a:r>
          </a:p>
        </p:txBody>
      </p:sp>
      <p:sp>
        <p:nvSpPr>
          <p:cNvPr id="95" name="TextBox 94">
            <a:extLst>
              <a:ext uri="{FF2B5EF4-FFF2-40B4-BE49-F238E27FC236}">
                <a16:creationId xmlns:a16="http://schemas.microsoft.com/office/drawing/2014/main" id="{444B0F93-D5EC-85A6-8F7E-867AD6F2C9F3}"/>
              </a:ext>
            </a:extLst>
          </p:cNvPr>
          <p:cNvSpPr txBox="1"/>
          <p:nvPr>
            <p:custDataLst>
              <p:tags r:id="rId16"/>
            </p:custDataLst>
          </p:nvPr>
        </p:nvSpPr>
        <p:spPr>
          <a:xfrm>
            <a:off x="6741545" y="1507104"/>
            <a:ext cx="2290176" cy="830997"/>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70C0"/>
                </a:solidFill>
                <a:effectLst/>
                <a:uLnTx/>
                <a:uFillTx/>
                <a:latin typeface="Avenir Next LT Pro" panose="020B0504020202020204" pitchFamily="34" charset="0"/>
                <a:ea typeface="+mn-ea"/>
                <a:cs typeface="+mn-cs"/>
              </a:rPr>
              <a:t>DÉCISION/ RECOMMANDATION</a:t>
            </a: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70C0"/>
              </a:solidFill>
              <a:effectLst/>
              <a:uLnTx/>
              <a:uFillTx/>
              <a:latin typeface="Avenir Next LT Pro" panose="020B0504020202020204" pitchFamily="34" charset="0"/>
              <a:ea typeface="+mn-ea"/>
              <a:cs typeface="+mn-cs"/>
            </a:endParaRPr>
          </a:p>
        </p:txBody>
      </p:sp>
      <p:sp>
        <p:nvSpPr>
          <p:cNvPr id="96" name="TextBox 95">
            <a:extLst>
              <a:ext uri="{FF2B5EF4-FFF2-40B4-BE49-F238E27FC236}">
                <a16:creationId xmlns:a16="http://schemas.microsoft.com/office/drawing/2014/main" id="{239965D4-1C58-45A4-CC15-9EC36355A940}"/>
              </a:ext>
            </a:extLst>
          </p:cNvPr>
          <p:cNvSpPr txBox="1"/>
          <p:nvPr>
            <p:custDataLst>
              <p:tags r:id="rId17"/>
            </p:custDataLst>
          </p:nvPr>
        </p:nvSpPr>
        <p:spPr>
          <a:xfrm>
            <a:off x="522906" y="1610974"/>
            <a:ext cx="1511405" cy="584775"/>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000FF"/>
                </a:solidFill>
                <a:effectLst/>
                <a:uLnTx/>
                <a:uFillTx/>
                <a:latin typeface="Avenir Next LT Pro"/>
                <a:ea typeface="+mn-ea"/>
                <a:cs typeface="+mn-cs"/>
              </a:rPr>
              <a:t>CHALLENGE/QUESTION</a:t>
            </a:r>
            <a:endParaRPr kumimoji="0" lang="fr-CA" sz="1600" b="1" i="0" u="none" strike="noStrike" kern="1200" cap="none" spc="0" normalizeH="0" baseline="0" noProof="0" dirty="0">
              <a:ln>
                <a:noFill/>
              </a:ln>
              <a:solidFill>
                <a:srgbClr val="A000FF"/>
              </a:solidFill>
              <a:effectLst/>
              <a:uLnTx/>
              <a:uFillTx/>
              <a:latin typeface="Avenir Next LT Pro" panose="020B0504020202020204" pitchFamily="34" charset="0"/>
              <a:ea typeface="+mn-ea"/>
              <a:cs typeface="+mn-cs"/>
            </a:endParaRPr>
          </a:p>
        </p:txBody>
      </p:sp>
      <p:grpSp>
        <p:nvGrpSpPr>
          <p:cNvPr id="97" name="Group 96">
            <a:extLst>
              <a:ext uri="{FF2B5EF4-FFF2-40B4-BE49-F238E27FC236}">
                <a16:creationId xmlns:a16="http://schemas.microsoft.com/office/drawing/2014/main" id="{4100C963-91E3-5DA7-42B0-EA914B493668}"/>
              </a:ext>
            </a:extLst>
          </p:cNvPr>
          <p:cNvGrpSpPr/>
          <p:nvPr>
            <p:custDataLst>
              <p:tags r:id="rId18"/>
            </p:custDataLst>
          </p:nvPr>
        </p:nvGrpSpPr>
        <p:grpSpPr>
          <a:xfrm>
            <a:off x="2310780" y="981312"/>
            <a:ext cx="4356322" cy="1662545"/>
            <a:chOff x="1955135" y="1681771"/>
            <a:chExt cx="5271149" cy="2011680"/>
          </a:xfrm>
        </p:grpSpPr>
        <p:sp>
          <p:nvSpPr>
            <p:cNvPr id="98" name="Block Arc 97" title="sfgsdfgsdfg">
              <a:extLst>
                <a:ext uri="{FF2B5EF4-FFF2-40B4-BE49-F238E27FC236}">
                  <a16:creationId xmlns:a16="http://schemas.microsoft.com/office/drawing/2014/main" id="{A75AEC32-2009-45C4-6398-1A144FEF8366}"/>
                </a:ext>
              </a:extLst>
            </p:cNvPr>
            <p:cNvSpPr/>
            <p:nvPr/>
          </p:nvSpPr>
          <p:spPr>
            <a:xfrm rot="10800000">
              <a:off x="2055924" y="1768435"/>
              <a:ext cx="1828800" cy="1828800"/>
            </a:xfrm>
            <a:prstGeom prst="blockArc">
              <a:avLst>
                <a:gd name="adj1" fmla="val 10843533"/>
                <a:gd name="adj2" fmla="val 10812600"/>
                <a:gd name="adj3" fmla="val 11227"/>
              </a:avLst>
            </a:prstGeom>
            <a:gradFill flip="none" rotWithShape="1">
              <a:gsLst>
                <a:gs pos="30000">
                  <a:srgbClr val="A000FF"/>
                </a:gs>
                <a:gs pos="10000">
                  <a:srgbClr val="7021FF"/>
                </a:gs>
              </a:gsLst>
              <a:lin ang="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0074BE"/>
                </a:solidFill>
                <a:effectLst/>
                <a:uLnTx/>
                <a:uFillTx/>
                <a:latin typeface="Avenir Next LT Pro" panose="020B0504020202020204" pitchFamily="34" charset="0"/>
                <a:ea typeface="+mn-ea"/>
                <a:cs typeface="+mn-cs"/>
              </a:endParaRPr>
            </a:p>
          </p:txBody>
        </p:sp>
        <p:sp>
          <p:nvSpPr>
            <p:cNvPr id="99" name="Block Arc 98" title="sfgsdfgsdfg">
              <a:extLst>
                <a:ext uri="{FF2B5EF4-FFF2-40B4-BE49-F238E27FC236}">
                  <a16:creationId xmlns:a16="http://schemas.microsoft.com/office/drawing/2014/main" id="{7FBD269B-A453-C9AE-F45C-22BA0667C279}"/>
                </a:ext>
              </a:extLst>
            </p:cNvPr>
            <p:cNvSpPr/>
            <p:nvPr/>
          </p:nvSpPr>
          <p:spPr>
            <a:xfrm rot="10800000">
              <a:off x="5304680" y="1768436"/>
              <a:ext cx="1828800" cy="1828800"/>
            </a:xfrm>
            <a:prstGeom prst="blockArc">
              <a:avLst>
                <a:gd name="adj1" fmla="val 21587920"/>
                <a:gd name="adj2" fmla="val 21550516"/>
                <a:gd name="adj3" fmla="val 11156"/>
              </a:avLst>
            </a:prstGeom>
            <a:gradFill flip="none" rotWithShape="1">
              <a:gsLst>
                <a:gs pos="100000">
                  <a:srgbClr val="506ABC"/>
                </a:gs>
                <a:gs pos="0">
                  <a:srgbClr val="0070C0"/>
                </a:gs>
              </a:gsLst>
              <a:lin ang="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0074BE"/>
                </a:solidFill>
                <a:effectLst/>
                <a:uLnTx/>
                <a:uFillTx/>
                <a:latin typeface="Avenir Next LT Pro" panose="020B0504020202020204" pitchFamily="34" charset="0"/>
                <a:ea typeface="+mn-ea"/>
                <a:cs typeface="+mn-cs"/>
              </a:endParaRPr>
            </a:p>
          </p:txBody>
        </p:sp>
        <p:sp>
          <p:nvSpPr>
            <p:cNvPr id="100" name="Block Arc 99" title="sfgsdfgsdfg">
              <a:extLst>
                <a:ext uri="{FF2B5EF4-FFF2-40B4-BE49-F238E27FC236}">
                  <a16:creationId xmlns:a16="http://schemas.microsoft.com/office/drawing/2014/main" id="{8B2D9013-2D3F-9129-A52C-BE4B207676E6}"/>
                </a:ext>
              </a:extLst>
            </p:cNvPr>
            <p:cNvSpPr/>
            <p:nvPr/>
          </p:nvSpPr>
          <p:spPr>
            <a:xfrm rot="10800000" flipV="1">
              <a:off x="3679328" y="1768437"/>
              <a:ext cx="1828800" cy="1828800"/>
            </a:xfrm>
            <a:prstGeom prst="blockArc">
              <a:avLst>
                <a:gd name="adj1" fmla="val 10812949"/>
                <a:gd name="adj2" fmla="val 10812600"/>
                <a:gd name="adj3" fmla="val 11227"/>
              </a:avLst>
            </a:prstGeom>
            <a:gradFill flip="none" rotWithShape="1">
              <a:gsLst>
                <a:gs pos="10000">
                  <a:srgbClr val="506ABC"/>
                </a:gs>
                <a:gs pos="30000">
                  <a:srgbClr val="7021FF"/>
                </a:gs>
              </a:gsLst>
              <a:lin ang="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0074BE"/>
                </a:solidFill>
                <a:effectLst/>
                <a:uLnTx/>
                <a:uFillTx/>
                <a:latin typeface="Avenir Next LT Pro" panose="020B0504020202020204" pitchFamily="34" charset="0"/>
                <a:ea typeface="+mn-ea"/>
                <a:cs typeface="+mn-cs"/>
              </a:endParaRPr>
            </a:p>
          </p:txBody>
        </p:sp>
        <p:sp>
          <p:nvSpPr>
            <p:cNvPr id="101" name="Block Arc 100" title="sfgsdfgsdfg">
              <a:extLst>
                <a:ext uri="{FF2B5EF4-FFF2-40B4-BE49-F238E27FC236}">
                  <a16:creationId xmlns:a16="http://schemas.microsoft.com/office/drawing/2014/main" id="{643B0448-2613-3C56-24B5-B62323F6AD46}"/>
                </a:ext>
              </a:extLst>
            </p:cNvPr>
            <p:cNvSpPr/>
            <p:nvPr/>
          </p:nvSpPr>
          <p:spPr>
            <a:xfrm rot="10800000" flipV="1">
              <a:off x="5214604" y="1681771"/>
              <a:ext cx="2011680" cy="2011680"/>
            </a:xfrm>
            <a:prstGeom prst="blockArc">
              <a:avLst>
                <a:gd name="adj1" fmla="val 7048604"/>
                <a:gd name="adj2" fmla="val 14710525"/>
                <a:gd name="adj3" fmla="val 2975"/>
              </a:avLst>
            </a:prstGeom>
            <a:solidFill>
              <a:srgbClr val="0070C0"/>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0074BE"/>
                </a:solidFill>
                <a:effectLst/>
                <a:uLnTx/>
                <a:uFillTx/>
                <a:latin typeface="Avenir Next LT Pro" panose="020B0504020202020204" pitchFamily="34" charset="0"/>
                <a:ea typeface="+mn-ea"/>
                <a:cs typeface="+mn-cs"/>
              </a:endParaRPr>
            </a:p>
          </p:txBody>
        </p:sp>
        <p:sp>
          <p:nvSpPr>
            <p:cNvPr id="102" name="Block Arc 101" title="sfgsdfgsdfg">
              <a:extLst>
                <a:ext uri="{FF2B5EF4-FFF2-40B4-BE49-F238E27FC236}">
                  <a16:creationId xmlns:a16="http://schemas.microsoft.com/office/drawing/2014/main" id="{485D1929-CBEC-90FC-BB5B-58A0CFFE43C4}"/>
                </a:ext>
              </a:extLst>
            </p:cNvPr>
            <p:cNvSpPr/>
            <p:nvPr/>
          </p:nvSpPr>
          <p:spPr>
            <a:xfrm rot="10800000" flipH="1" flipV="1">
              <a:off x="1955135" y="1681771"/>
              <a:ext cx="2011680" cy="2011680"/>
            </a:xfrm>
            <a:prstGeom prst="blockArc">
              <a:avLst>
                <a:gd name="adj1" fmla="val 7048604"/>
                <a:gd name="adj2" fmla="val 14710525"/>
                <a:gd name="adj3" fmla="val 2975"/>
              </a:avLst>
            </a:prstGeom>
            <a:solidFill>
              <a:srgbClr val="A000FF"/>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6D69FF"/>
                </a:solidFill>
                <a:effectLst/>
                <a:uLnTx/>
                <a:uFillTx/>
                <a:latin typeface="Avenir Next LT Pro" panose="020B0504020202020204" pitchFamily="34" charset="0"/>
                <a:ea typeface="+mn-ea"/>
                <a:cs typeface="+mn-cs"/>
              </a:endParaRPr>
            </a:p>
          </p:txBody>
        </p:sp>
        <p:sp>
          <p:nvSpPr>
            <p:cNvPr id="103" name="Block Arc 102" title="sfgsdfgsdfg">
              <a:extLst>
                <a:ext uri="{FF2B5EF4-FFF2-40B4-BE49-F238E27FC236}">
                  <a16:creationId xmlns:a16="http://schemas.microsoft.com/office/drawing/2014/main" id="{191F89A1-0C0E-CB00-9CF8-0A677E06F1ED}"/>
                </a:ext>
              </a:extLst>
            </p:cNvPr>
            <p:cNvSpPr/>
            <p:nvPr/>
          </p:nvSpPr>
          <p:spPr>
            <a:xfrm rot="10800000">
              <a:off x="3905514" y="1991656"/>
              <a:ext cx="1371600" cy="1371600"/>
            </a:xfrm>
            <a:prstGeom prst="blockArc">
              <a:avLst>
                <a:gd name="adj1" fmla="val 12804093"/>
                <a:gd name="adj2" fmla="val 12672658"/>
                <a:gd name="adj3" fmla="val 2920"/>
              </a:avLst>
            </a:prstGeom>
            <a:gradFill flip="none" rotWithShape="1">
              <a:gsLst>
                <a:gs pos="10000">
                  <a:srgbClr val="4F6BBD"/>
                </a:gs>
                <a:gs pos="30000">
                  <a:srgbClr val="7021FF"/>
                </a:gs>
              </a:gsLst>
              <a:lin ang="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0074BE"/>
                </a:solidFill>
                <a:effectLst/>
                <a:uLnTx/>
                <a:uFillTx/>
                <a:latin typeface="Avenir Next LT Pro" panose="020B0504020202020204" pitchFamily="34" charset="0"/>
                <a:ea typeface="+mn-ea"/>
                <a:cs typeface="+mn-cs"/>
              </a:endParaRPr>
            </a:p>
          </p:txBody>
        </p:sp>
        <p:sp>
          <p:nvSpPr>
            <p:cNvPr id="104" name="Block Arc 103" title="sfgsdfgsdfg">
              <a:extLst>
                <a:ext uri="{FF2B5EF4-FFF2-40B4-BE49-F238E27FC236}">
                  <a16:creationId xmlns:a16="http://schemas.microsoft.com/office/drawing/2014/main" id="{442348EF-0123-BA57-96F1-4611335392D8}"/>
                </a:ext>
              </a:extLst>
            </p:cNvPr>
            <p:cNvSpPr/>
            <p:nvPr/>
          </p:nvSpPr>
          <p:spPr>
            <a:xfrm rot="10800000">
              <a:off x="5534895" y="1993706"/>
              <a:ext cx="1371600" cy="1371600"/>
            </a:xfrm>
            <a:prstGeom prst="blockArc">
              <a:avLst>
                <a:gd name="adj1" fmla="val 21500308"/>
                <a:gd name="adj2" fmla="val 21366479"/>
                <a:gd name="adj3" fmla="val 2935"/>
              </a:avLst>
            </a:prstGeom>
            <a:gradFill flip="none" rotWithShape="1">
              <a:gsLst>
                <a:gs pos="100000">
                  <a:srgbClr val="4E6BBD"/>
                </a:gs>
                <a:gs pos="0">
                  <a:srgbClr val="0070C0"/>
                </a:gs>
              </a:gsLst>
              <a:lin ang="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0074BE"/>
                </a:solidFill>
                <a:effectLst/>
                <a:uLnTx/>
                <a:uFillTx/>
                <a:latin typeface="Avenir Next LT Pro" panose="020B0504020202020204" pitchFamily="34" charset="0"/>
                <a:ea typeface="+mn-ea"/>
                <a:cs typeface="+mn-cs"/>
              </a:endParaRPr>
            </a:p>
          </p:txBody>
        </p:sp>
        <p:sp>
          <p:nvSpPr>
            <p:cNvPr id="105" name="Block Arc 104" title="sfgsdfgsdfg">
              <a:extLst>
                <a:ext uri="{FF2B5EF4-FFF2-40B4-BE49-F238E27FC236}">
                  <a16:creationId xmlns:a16="http://schemas.microsoft.com/office/drawing/2014/main" id="{BE2E264B-7199-B142-699D-017D0673C19E}"/>
                </a:ext>
              </a:extLst>
            </p:cNvPr>
            <p:cNvSpPr/>
            <p:nvPr/>
          </p:nvSpPr>
          <p:spPr>
            <a:xfrm rot="10800000">
              <a:off x="2291655" y="1991657"/>
              <a:ext cx="1371600" cy="1371600"/>
            </a:xfrm>
            <a:prstGeom prst="blockArc">
              <a:avLst>
                <a:gd name="adj1" fmla="val 9548039"/>
                <a:gd name="adj2" fmla="val 9426255"/>
                <a:gd name="adj3" fmla="val 3050"/>
              </a:avLst>
            </a:prstGeom>
            <a:gradFill flip="none" rotWithShape="1">
              <a:gsLst>
                <a:gs pos="30000">
                  <a:srgbClr val="A000FF"/>
                </a:gs>
                <a:gs pos="0">
                  <a:srgbClr val="7021FF"/>
                </a:gs>
              </a:gsLst>
              <a:lin ang="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0074BE"/>
                </a:solidFill>
                <a:effectLst/>
                <a:uLnTx/>
                <a:uFillTx/>
                <a:latin typeface="Avenir Next LT Pro" panose="020B0504020202020204" pitchFamily="34" charset="0"/>
                <a:ea typeface="+mn-ea"/>
                <a:cs typeface="+mn-cs"/>
              </a:endParaRPr>
            </a:p>
          </p:txBody>
        </p:sp>
        <p:sp>
          <p:nvSpPr>
            <p:cNvPr id="106" name="Block Arc 118" title="sfgsdfgsdfg">
              <a:extLst>
                <a:ext uri="{FF2B5EF4-FFF2-40B4-BE49-F238E27FC236}">
                  <a16:creationId xmlns:a16="http://schemas.microsoft.com/office/drawing/2014/main" id="{D6E10D19-A338-A565-9428-5D666887F6A6}"/>
                </a:ext>
              </a:extLst>
            </p:cNvPr>
            <p:cNvSpPr/>
            <p:nvPr/>
          </p:nvSpPr>
          <p:spPr>
            <a:xfrm rot="10800000" flipV="1">
              <a:off x="2056895" y="1768436"/>
              <a:ext cx="1828800" cy="1828800"/>
            </a:xfrm>
            <a:prstGeom prst="blockArc">
              <a:avLst>
                <a:gd name="adj1" fmla="val 1758599"/>
                <a:gd name="adj2" fmla="val 10917431"/>
                <a:gd name="adj3" fmla="val 11392"/>
              </a:avLst>
            </a:prstGeom>
            <a:solidFill>
              <a:srgbClr val="24BEB7"/>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0074BE"/>
                </a:solidFill>
                <a:effectLst/>
                <a:uLnTx/>
                <a:uFillTx/>
                <a:latin typeface="Avenir Next LT Pro" panose="020B0504020202020204" pitchFamily="34" charset="0"/>
                <a:ea typeface="+mn-ea"/>
                <a:cs typeface="+mn-cs"/>
              </a:endParaRPr>
            </a:p>
          </p:txBody>
        </p:sp>
        <p:sp>
          <p:nvSpPr>
            <p:cNvPr id="107" name="Block Arc 129" title="sfgsdfgsdfg">
              <a:extLst>
                <a:ext uri="{FF2B5EF4-FFF2-40B4-BE49-F238E27FC236}">
                  <a16:creationId xmlns:a16="http://schemas.microsoft.com/office/drawing/2014/main" id="{95FD84CC-F13F-F784-350D-983B86D26A05}"/>
                </a:ext>
              </a:extLst>
            </p:cNvPr>
            <p:cNvSpPr/>
            <p:nvPr/>
          </p:nvSpPr>
          <p:spPr>
            <a:xfrm rot="10800000" flipV="1">
              <a:off x="5300221" y="1769882"/>
              <a:ext cx="1828800" cy="1828800"/>
            </a:xfrm>
            <a:prstGeom prst="blockArc">
              <a:avLst>
                <a:gd name="adj1" fmla="val 942"/>
                <a:gd name="adj2" fmla="val 9717330"/>
                <a:gd name="adj3" fmla="val 11274"/>
              </a:avLst>
            </a:prstGeom>
            <a:solidFill>
              <a:srgbClr val="3EDAD2"/>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0074BE"/>
                </a:solidFill>
                <a:effectLst/>
                <a:uLnTx/>
                <a:uFillTx/>
                <a:latin typeface="Avenir Next LT Pro" panose="020B0504020202020204" pitchFamily="34" charset="0"/>
                <a:ea typeface="+mn-ea"/>
                <a:cs typeface="+mn-cs"/>
              </a:endParaRPr>
            </a:p>
          </p:txBody>
        </p:sp>
        <p:sp>
          <p:nvSpPr>
            <p:cNvPr id="108" name="Block Arc 130" title="sfgsdfgsdfg">
              <a:extLst>
                <a:ext uri="{FF2B5EF4-FFF2-40B4-BE49-F238E27FC236}">
                  <a16:creationId xmlns:a16="http://schemas.microsoft.com/office/drawing/2014/main" id="{832F033D-8B29-BA6A-D80B-E38B3CE8D62D}"/>
                </a:ext>
              </a:extLst>
            </p:cNvPr>
            <p:cNvSpPr/>
            <p:nvPr/>
          </p:nvSpPr>
          <p:spPr>
            <a:xfrm rot="10800000">
              <a:off x="3677883" y="1761257"/>
              <a:ext cx="1828800" cy="1828800"/>
            </a:xfrm>
            <a:prstGeom prst="blockArc">
              <a:avLst>
                <a:gd name="adj1" fmla="val 21587920"/>
                <a:gd name="adj2" fmla="val 10911233"/>
                <a:gd name="adj3" fmla="val 11395"/>
              </a:avLst>
            </a:prstGeom>
            <a:gradFill flip="none" rotWithShape="1">
              <a:gsLst>
                <a:gs pos="82000">
                  <a:srgbClr val="24BEB7"/>
                </a:gs>
                <a:gs pos="14000">
                  <a:srgbClr val="3EDAD2"/>
                </a:gs>
              </a:gsLst>
              <a:lin ang="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endParaRPr kumimoji="0" lang="fr-CA" sz="1400" b="0" i="0" u="none" strike="noStrike" kern="0" cap="none" spc="0" normalizeH="0" baseline="0" noProof="0">
                <a:ln>
                  <a:noFill/>
                </a:ln>
                <a:solidFill>
                  <a:srgbClr val="FFFFFF"/>
                </a:solidFill>
                <a:effectLst/>
                <a:uLnTx/>
                <a:uFillTx/>
                <a:latin typeface="Avenir Next LT Pro" panose="020B0504020202020204" pitchFamily="34" charset="0"/>
                <a:ea typeface="+mn-ea"/>
                <a:cs typeface="+mn-cs"/>
              </a:endParaRPr>
            </a:p>
          </p:txBody>
        </p:sp>
      </p:grpSp>
      <p:sp>
        <p:nvSpPr>
          <p:cNvPr id="109" name="Freeform 9">
            <a:extLst>
              <a:ext uri="{FF2B5EF4-FFF2-40B4-BE49-F238E27FC236}">
                <a16:creationId xmlns:a16="http://schemas.microsoft.com/office/drawing/2014/main" id="{78082FA3-48FD-A34F-D1D4-0246AA2B4E16}"/>
              </a:ext>
            </a:extLst>
          </p:cNvPr>
          <p:cNvSpPr>
            <a:spLocks noChangeAspect="1" noEditPoints="1"/>
          </p:cNvSpPr>
          <p:nvPr>
            <p:custDataLst>
              <p:tags r:id="rId19"/>
            </p:custDataLst>
          </p:nvPr>
        </p:nvSpPr>
        <p:spPr bwMode="auto">
          <a:xfrm>
            <a:off x="5605033" y="1507104"/>
            <a:ext cx="489655" cy="458953"/>
          </a:xfrm>
          <a:custGeom>
            <a:avLst/>
            <a:gdLst>
              <a:gd name="T0" fmla="*/ 2308 w 4808"/>
              <a:gd name="T1" fmla="*/ 2889 h 4499"/>
              <a:gd name="T2" fmla="*/ 2375 w 4808"/>
              <a:gd name="T3" fmla="*/ 1664 h 4499"/>
              <a:gd name="T4" fmla="*/ 2066 w 4808"/>
              <a:gd name="T5" fmla="*/ 2822 h 4499"/>
              <a:gd name="T6" fmla="*/ 1999 w 4808"/>
              <a:gd name="T7" fmla="*/ 2008 h 4499"/>
              <a:gd name="T8" fmla="*/ 2684 w 4808"/>
              <a:gd name="T9" fmla="*/ 2249 h 4499"/>
              <a:gd name="T10" fmla="*/ 2550 w 4808"/>
              <a:gd name="T11" fmla="*/ 2249 h 4499"/>
              <a:gd name="T12" fmla="*/ 1757 w 4808"/>
              <a:gd name="T13" fmla="*/ 2249 h 4499"/>
              <a:gd name="T14" fmla="*/ 1624 w 4808"/>
              <a:gd name="T15" fmla="*/ 2822 h 4499"/>
              <a:gd name="T16" fmla="*/ 1757 w 4808"/>
              <a:gd name="T17" fmla="*/ 2249 h 4499"/>
              <a:gd name="T18" fmla="*/ 2926 w 4808"/>
              <a:gd name="T19" fmla="*/ 2889 h 4499"/>
              <a:gd name="T20" fmla="*/ 2992 w 4808"/>
              <a:gd name="T21" fmla="*/ 2517 h 4499"/>
              <a:gd name="T22" fmla="*/ 1448 w 4808"/>
              <a:gd name="T23" fmla="*/ 2822 h 4499"/>
              <a:gd name="T24" fmla="*/ 1382 w 4808"/>
              <a:gd name="T25" fmla="*/ 2451 h 4499"/>
              <a:gd name="T26" fmla="*/ 4595 w 4808"/>
              <a:gd name="T27" fmla="*/ 1868 h 4499"/>
              <a:gd name="T28" fmla="*/ 4023 w 4808"/>
              <a:gd name="T29" fmla="*/ 2258 h 4499"/>
              <a:gd name="T30" fmla="*/ 3726 w 4808"/>
              <a:gd name="T31" fmla="*/ 2356 h 4499"/>
              <a:gd name="T32" fmla="*/ 3886 w 4808"/>
              <a:gd name="T33" fmla="*/ 1554 h 4499"/>
              <a:gd name="T34" fmla="*/ 2904 w 4808"/>
              <a:gd name="T35" fmla="*/ 1245 h 4499"/>
              <a:gd name="T36" fmla="*/ 2629 w 4808"/>
              <a:gd name="T37" fmla="*/ 386 h 4499"/>
              <a:gd name="T38" fmla="*/ 3457 w 4808"/>
              <a:gd name="T39" fmla="*/ 437 h 4499"/>
              <a:gd name="T40" fmla="*/ 3769 w 4808"/>
              <a:gd name="T41" fmla="*/ 450 h 4499"/>
              <a:gd name="T42" fmla="*/ 4426 w 4808"/>
              <a:gd name="T43" fmla="*/ 668 h 4499"/>
              <a:gd name="T44" fmla="*/ 4375 w 4808"/>
              <a:gd name="T45" fmla="*/ 1495 h 4499"/>
              <a:gd name="T46" fmla="*/ 4595 w 4808"/>
              <a:gd name="T47" fmla="*/ 1868 h 4499"/>
              <a:gd name="T48" fmla="*/ 3483 w 4808"/>
              <a:gd name="T49" fmla="*/ 1055 h 4499"/>
              <a:gd name="T50" fmla="*/ 3018 w 4808"/>
              <a:gd name="T51" fmla="*/ 1327 h 4499"/>
              <a:gd name="T52" fmla="*/ 1044 w 4808"/>
              <a:gd name="T53" fmla="*/ 2326 h 4499"/>
              <a:gd name="T54" fmla="*/ 2202 w 4808"/>
              <a:gd name="T55" fmla="*/ 3484 h 4499"/>
              <a:gd name="T56" fmla="*/ 1512 w 4808"/>
              <a:gd name="T57" fmla="*/ 1209 h 4499"/>
              <a:gd name="T58" fmla="*/ 1696 w 4808"/>
              <a:gd name="T59" fmla="*/ 831 h 4499"/>
              <a:gd name="T60" fmla="*/ 1535 w 4808"/>
              <a:gd name="T61" fmla="*/ 1223 h 4499"/>
              <a:gd name="T62" fmla="*/ 898 w 4808"/>
              <a:gd name="T63" fmla="*/ 1318 h 4499"/>
              <a:gd name="T64" fmla="*/ 1039 w 4808"/>
              <a:gd name="T65" fmla="*/ 864 h 4499"/>
              <a:gd name="T66" fmla="*/ 1050 w 4808"/>
              <a:gd name="T67" fmla="*/ 692 h 4499"/>
              <a:gd name="T68" fmla="*/ 1306 w 4808"/>
              <a:gd name="T69" fmla="*/ 314 h 4499"/>
              <a:gd name="T70" fmla="*/ 1760 w 4808"/>
              <a:gd name="T71" fmla="*/ 455 h 4499"/>
              <a:gd name="T72" fmla="*/ 1932 w 4808"/>
              <a:gd name="T73" fmla="*/ 466 h 4499"/>
              <a:gd name="T74" fmla="*/ 2310 w 4808"/>
              <a:gd name="T75" fmla="*/ 722 h 4499"/>
              <a:gd name="T76" fmla="*/ 2189 w 4808"/>
              <a:gd name="T77" fmla="*/ 1036 h 4499"/>
              <a:gd name="T78" fmla="*/ 1295 w 4808"/>
              <a:gd name="T79" fmla="*/ 869 h 4499"/>
              <a:gd name="T80" fmla="*/ 1094 w 4808"/>
              <a:gd name="T81" fmla="*/ 1309 h 4499"/>
              <a:gd name="T82" fmla="*/ 4756 w 4808"/>
              <a:gd name="T83" fmla="*/ 1512 h 4499"/>
              <a:gd name="T84" fmla="*/ 4703 w 4808"/>
              <a:gd name="T85" fmla="*/ 874 h 4499"/>
              <a:gd name="T86" fmla="*/ 4199 w 4808"/>
              <a:gd name="T87" fmla="*/ 647 h 4499"/>
              <a:gd name="T88" fmla="*/ 3928 w 4808"/>
              <a:gd name="T89" fmla="*/ 105 h 4499"/>
              <a:gd name="T90" fmla="*/ 3055 w 4808"/>
              <a:gd name="T91" fmla="*/ 351 h 4499"/>
              <a:gd name="T92" fmla="*/ 2504 w 4808"/>
              <a:gd name="T93" fmla="*/ 305 h 4499"/>
              <a:gd name="T94" fmla="*/ 2414 w 4808"/>
              <a:gd name="T95" fmla="*/ 615 h 4499"/>
              <a:gd name="T96" fmla="*/ 2135 w 4808"/>
              <a:gd name="T97" fmla="*/ 354 h 4499"/>
              <a:gd name="T98" fmla="*/ 1801 w 4808"/>
              <a:gd name="T99" fmla="*/ 192 h 4499"/>
              <a:gd name="T100" fmla="*/ 1424 w 4808"/>
              <a:gd name="T101" fmla="*/ 133 h 4499"/>
              <a:gd name="T102" fmla="*/ 1202 w 4808"/>
              <a:gd name="T103" fmla="*/ 423 h 4499"/>
              <a:gd name="T104" fmla="*/ 849 w 4808"/>
              <a:gd name="T105" fmla="*/ 520 h 4499"/>
              <a:gd name="T106" fmla="*/ 886 w 4808"/>
              <a:gd name="T107" fmla="*/ 1071 h 4499"/>
              <a:gd name="T108" fmla="*/ 794 w 4808"/>
              <a:gd name="T109" fmla="*/ 1425 h 4499"/>
              <a:gd name="T110" fmla="*/ 911 w 4808"/>
              <a:gd name="T111" fmla="*/ 2326 h 4499"/>
              <a:gd name="T112" fmla="*/ 72 w 4808"/>
              <a:gd name="T113" fmla="*/ 4499 h 4499"/>
              <a:gd name="T114" fmla="*/ 3473 w 4808"/>
              <a:gd name="T115" fmla="*/ 2544 h 4499"/>
              <a:gd name="T116" fmla="*/ 3904 w 4808"/>
              <a:gd name="T117" fmla="*/ 2750 h 4499"/>
              <a:gd name="T118" fmla="*/ 4165 w 4808"/>
              <a:gd name="T119" fmla="*/ 2237 h 4499"/>
              <a:gd name="T120" fmla="*/ 4803 w 4808"/>
              <a:gd name="T121" fmla="*/ 1593 h 4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8" h="4499">
                <a:moveTo>
                  <a:pt x="2375" y="1664"/>
                </a:moveTo>
                <a:lnTo>
                  <a:pt x="2375" y="1664"/>
                </a:lnTo>
                <a:lnTo>
                  <a:pt x="2375" y="2822"/>
                </a:lnTo>
                <a:cubicBezTo>
                  <a:pt x="2375" y="2859"/>
                  <a:pt x="2345" y="2889"/>
                  <a:pt x="2308" y="2889"/>
                </a:cubicBezTo>
                <a:cubicBezTo>
                  <a:pt x="2271" y="2889"/>
                  <a:pt x="2241" y="2859"/>
                  <a:pt x="2241" y="2822"/>
                </a:cubicBezTo>
                <a:lnTo>
                  <a:pt x="2241" y="1664"/>
                </a:lnTo>
                <a:cubicBezTo>
                  <a:pt x="2241" y="1627"/>
                  <a:pt x="2271" y="1597"/>
                  <a:pt x="2308" y="1597"/>
                </a:cubicBezTo>
                <a:cubicBezTo>
                  <a:pt x="2345" y="1597"/>
                  <a:pt x="2375" y="1627"/>
                  <a:pt x="2375" y="1664"/>
                </a:cubicBezTo>
                <a:lnTo>
                  <a:pt x="2375" y="1664"/>
                </a:lnTo>
                <a:close/>
                <a:moveTo>
                  <a:pt x="2066" y="2074"/>
                </a:moveTo>
                <a:lnTo>
                  <a:pt x="2066" y="2074"/>
                </a:lnTo>
                <a:lnTo>
                  <a:pt x="2066" y="2822"/>
                </a:lnTo>
                <a:cubicBezTo>
                  <a:pt x="2066" y="2859"/>
                  <a:pt x="2036" y="2889"/>
                  <a:pt x="1999" y="2889"/>
                </a:cubicBezTo>
                <a:cubicBezTo>
                  <a:pt x="1962" y="2889"/>
                  <a:pt x="1933" y="2859"/>
                  <a:pt x="1933" y="2822"/>
                </a:cubicBezTo>
                <a:lnTo>
                  <a:pt x="1933" y="2074"/>
                </a:lnTo>
                <a:cubicBezTo>
                  <a:pt x="1933" y="2037"/>
                  <a:pt x="1962" y="2008"/>
                  <a:pt x="1999" y="2008"/>
                </a:cubicBezTo>
                <a:cubicBezTo>
                  <a:pt x="2036" y="2008"/>
                  <a:pt x="2066" y="2037"/>
                  <a:pt x="2066" y="2074"/>
                </a:cubicBezTo>
                <a:lnTo>
                  <a:pt x="2066" y="2074"/>
                </a:lnTo>
                <a:close/>
                <a:moveTo>
                  <a:pt x="2684" y="2249"/>
                </a:moveTo>
                <a:lnTo>
                  <a:pt x="2684" y="2249"/>
                </a:lnTo>
                <a:lnTo>
                  <a:pt x="2684" y="2822"/>
                </a:lnTo>
                <a:cubicBezTo>
                  <a:pt x="2684" y="2859"/>
                  <a:pt x="2654" y="2889"/>
                  <a:pt x="2617" y="2889"/>
                </a:cubicBezTo>
                <a:cubicBezTo>
                  <a:pt x="2580" y="2889"/>
                  <a:pt x="2550" y="2859"/>
                  <a:pt x="2550" y="2822"/>
                </a:cubicBezTo>
                <a:lnTo>
                  <a:pt x="2550" y="2249"/>
                </a:lnTo>
                <a:cubicBezTo>
                  <a:pt x="2550" y="2212"/>
                  <a:pt x="2580" y="2182"/>
                  <a:pt x="2617" y="2182"/>
                </a:cubicBezTo>
                <a:cubicBezTo>
                  <a:pt x="2654" y="2182"/>
                  <a:pt x="2684" y="2212"/>
                  <a:pt x="2684" y="2249"/>
                </a:cubicBezTo>
                <a:lnTo>
                  <a:pt x="2684" y="2249"/>
                </a:lnTo>
                <a:close/>
                <a:moveTo>
                  <a:pt x="1757" y="2249"/>
                </a:moveTo>
                <a:lnTo>
                  <a:pt x="1757" y="2249"/>
                </a:lnTo>
                <a:lnTo>
                  <a:pt x="1757" y="2822"/>
                </a:lnTo>
                <a:cubicBezTo>
                  <a:pt x="1757" y="2859"/>
                  <a:pt x="1727" y="2889"/>
                  <a:pt x="1690" y="2889"/>
                </a:cubicBezTo>
                <a:cubicBezTo>
                  <a:pt x="1654" y="2889"/>
                  <a:pt x="1624" y="2859"/>
                  <a:pt x="1624" y="2822"/>
                </a:cubicBezTo>
                <a:lnTo>
                  <a:pt x="1624" y="2249"/>
                </a:lnTo>
                <a:cubicBezTo>
                  <a:pt x="1624" y="2212"/>
                  <a:pt x="1654" y="2182"/>
                  <a:pt x="1690" y="2182"/>
                </a:cubicBezTo>
                <a:cubicBezTo>
                  <a:pt x="1727" y="2182"/>
                  <a:pt x="1757" y="2212"/>
                  <a:pt x="1757" y="2249"/>
                </a:cubicBezTo>
                <a:lnTo>
                  <a:pt x="1757" y="2249"/>
                </a:lnTo>
                <a:close/>
                <a:moveTo>
                  <a:pt x="2992" y="2517"/>
                </a:moveTo>
                <a:lnTo>
                  <a:pt x="2992" y="2517"/>
                </a:lnTo>
                <a:lnTo>
                  <a:pt x="2992" y="2822"/>
                </a:lnTo>
                <a:cubicBezTo>
                  <a:pt x="2992" y="2859"/>
                  <a:pt x="2962" y="2889"/>
                  <a:pt x="2926" y="2889"/>
                </a:cubicBezTo>
                <a:cubicBezTo>
                  <a:pt x="2889" y="2889"/>
                  <a:pt x="2859" y="2859"/>
                  <a:pt x="2859" y="2822"/>
                </a:cubicBezTo>
                <a:lnTo>
                  <a:pt x="2859" y="2517"/>
                </a:lnTo>
                <a:cubicBezTo>
                  <a:pt x="2859" y="2480"/>
                  <a:pt x="2889" y="2451"/>
                  <a:pt x="2926" y="2451"/>
                </a:cubicBezTo>
                <a:cubicBezTo>
                  <a:pt x="2962" y="2451"/>
                  <a:pt x="2992" y="2480"/>
                  <a:pt x="2992" y="2517"/>
                </a:cubicBezTo>
                <a:lnTo>
                  <a:pt x="2992" y="2517"/>
                </a:lnTo>
                <a:close/>
                <a:moveTo>
                  <a:pt x="1448" y="2517"/>
                </a:moveTo>
                <a:lnTo>
                  <a:pt x="1448" y="2517"/>
                </a:lnTo>
                <a:lnTo>
                  <a:pt x="1448" y="2822"/>
                </a:lnTo>
                <a:cubicBezTo>
                  <a:pt x="1448" y="2859"/>
                  <a:pt x="1418" y="2889"/>
                  <a:pt x="1382" y="2889"/>
                </a:cubicBezTo>
                <a:cubicBezTo>
                  <a:pt x="1345" y="2889"/>
                  <a:pt x="1315" y="2859"/>
                  <a:pt x="1315" y="2822"/>
                </a:cubicBezTo>
                <a:lnTo>
                  <a:pt x="1315" y="2517"/>
                </a:lnTo>
                <a:cubicBezTo>
                  <a:pt x="1315" y="2480"/>
                  <a:pt x="1345" y="2451"/>
                  <a:pt x="1382" y="2451"/>
                </a:cubicBezTo>
                <a:cubicBezTo>
                  <a:pt x="1418" y="2451"/>
                  <a:pt x="1448" y="2480"/>
                  <a:pt x="1448" y="2517"/>
                </a:cubicBezTo>
                <a:lnTo>
                  <a:pt x="1448" y="2517"/>
                </a:lnTo>
                <a:close/>
                <a:moveTo>
                  <a:pt x="4595" y="1868"/>
                </a:moveTo>
                <a:lnTo>
                  <a:pt x="4595" y="1868"/>
                </a:lnTo>
                <a:lnTo>
                  <a:pt x="4362" y="1808"/>
                </a:lnTo>
                <a:cubicBezTo>
                  <a:pt x="4330" y="1799"/>
                  <a:pt x="4298" y="1815"/>
                  <a:pt x="4285" y="1844"/>
                </a:cubicBezTo>
                <a:cubicBezTo>
                  <a:pt x="4225" y="1972"/>
                  <a:pt x="4142" y="2082"/>
                  <a:pt x="4037" y="2173"/>
                </a:cubicBezTo>
                <a:cubicBezTo>
                  <a:pt x="4012" y="2194"/>
                  <a:pt x="4007" y="2230"/>
                  <a:pt x="4023" y="2258"/>
                </a:cubicBezTo>
                <a:lnTo>
                  <a:pt x="4145" y="2464"/>
                </a:lnTo>
                <a:lnTo>
                  <a:pt x="3928" y="2592"/>
                </a:lnTo>
                <a:lnTo>
                  <a:pt x="3806" y="2385"/>
                </a:lnTo>
                <a:cubicBezTo>
                  <a:pt x="3790" y="2357"/>
                  <a:pt x="3756" y="2345"/>
                  <a:pt x="3726" y="2356"/>
                </a:cubicBezTo>
                <a:cubicBezTo>
                  <a:pt x="3687" y="2370"/>
                  <a:pt x="3581" y="2391"/>
                  <a:pt x="3489" y="2407"/>
                </a:cubicBezTo>
                <a:cubicBezTo>
                  <a:pt x="3490" y="2380"/>
                  <a:pt x="3493" y="2353"/>
                  <a:pt x="3493" y="2326"/>
                </a:cubicBezTo>
                <a:cubicBezTo>
                  <a:pt x="3493" y="2191"/>
                  <a:pt x="3471" y="2060"/>
                  <a:pt x="3432" y="1937"/>
                </a:cubicBezTo>
                <a:cubicBezTo>
                  <a:pt x="3647" y="1918"/>
                  <a:pt x="3831" y="1768"/>
                  <a:pt x="3886" y="1554"/>
                </a:cubicBezTo>
                <a:cubicBezTo>
                  <a:pt x="3921" y="1421"/>
                  <a:pt x="3901" y="1283"/>
                  <a:pt x="3831" y="1164"/>
                </a:cubicBezTo>
                <a:cubicBezTo>
                  <a:pt x="3761" y="1045"/>
                  <a:pt x="3650" y="961"/>
                  <a:pt x="3516" y="926"/>
                </a:cubicBezTo>
                <a:cubicBezTo>
                  <a:pt x="3383" y="892"/>
                  <a:pt x="3244" y="911"/>
                  <a:pt x="3125" y="981"/>
                </a:cubicBezTo>
                <a:cubicBezTo>
                  <a:pt x="3022" y="1042"/>
                  <a:pt x="2945" y="1134"/>
                  <a:pt x="2904" y="1245"/>
                </a:cubicBezTo>
                <a:cubicBezTo>
                  <a:pt x="2752" y="1146"/>
                  <a:pt x="2578" y="1078"/>
                  <a:pt x="2390" y="1051"/>
                </a:cubicBezTo>
                <a:cubicBezTo>
                  <a:pt x="2468" y="930"/>
                  <a:pt x="2636" y="764"/>
                  <a:pt x="2737" y="677"/>
                </a:cubicBezTo>
                <a:cubicBezTo>
                  <a:pt x="2762" y="656"/>
                  <a:pt x="2767" y="621"/>
                  <a:pt x="2751" y="593"/>
                </a:cubicBezTo>
                <a:lnTo>
                  <a:pt x="2629" y="386"/>
                </a:lnTo>
                <a:lnTo>
                  <a:pt x="2846" y="258"/>
                </a:lnTo>
                <a:lnTo>
                  <a:pt x="2968" y="465"/>
                </a:lnTo>
                <a:cubicBezTo>
                  <a:pt x="2984" y="493"/>
                  <a:pt x="3018" y="505"/>
                  <a:pt x="3048" y="494"/>
                </a:cubicBezTo>
                <a:cubicBezTo>
                  <a:pt x="3179" y="446"/>
                  <a:pt x="3317" y="427"/>
                  <a:pt x="3457" y="437"/>
                </a:cubicBezTo>
                <a:cubicBezTo>
                  <a:pt x="3489" y="440"/>
                  <a:pt x="3518" y="419"/>
                  <a:pt x="3526" y="387"/>
                </a:cubicBezTo>
                <a:lnTo>
                  <a:pt x="3586" y="155"/>
                </a:lnTo>
                <a:lnTo>
                  <a:pt x="3830" y="218"/>
                </a:lnTo>
                <a:lnTo>
                  <a:pt x="3769" y="450"/>
                </a:lnTo>
                <a:cubicBezTo>
                  <a:pt x="3761" y="482"/>
                  <a:pt x="3777" y="514"/>
                  <a:pt x="3806" y="528"/>
                </a:cubicBezTo>
                <a:cubicBezTo>
                  <a:pt x="3933" y="587"/>
                  <a:pt x="4044" y="670"/>
                  <a:pt x="4135" y="776"/>
                </a:cubicBezTo>
                <a:cubicBezTo>
                  <a:pt x="4156" y="800"/>
                  <a:pt x="4192" y="806"/>
                  <a:pt x="4220" y="790"/>
                </a:cubicBezTo>
                <a:lnTo>
                  <a:pt x="4426" y="668"/>
                </a:lnTo>
                <a:lnTo>
                  <a:pt x="4554" y="885"/>
                </a:lnTo>
                <a:lnTo>
                  <a:pt x="4347" y="1006"/>
                </a:lnTo>
                <a:cubicBezTo>
                  <a:pt x="4319" y="1023"/>
                  <a:pt x="4307" y="1057"/>
                  <a:pt x="4318" y="1087"/>
                </a:cubicBezTo>
                <a:cubicBezTo>
                  <a:pt x="4366" y="1217"/>
                  <a:pt x="4385" y="1354"/>
                  <a:pt x="4375" y="1495"/>
                </a:cubicBezTo>
                <a:cubicBezTo>
                  <a:pt x="4373" y="1527"/>
                  <a:pt x="4394" y="1556"/>
                  <a:pt x="4425" y="1564"/>
                </a:cubicBezTo>
                <a:lnTo>
                  <a:pt x="4658" y="1625"/>
                </a:lnTo>
                <a:lnTo>
                  <a:pt x="4595" y="1868"/>
                </a:lnTo>
                <a:lnTo>
                  <a:pt x="4595" y="1868"/>
                </a:lnTo>
                <a:close/>
                <a:moveTo>
                  <a:pt x="3018" y="1327"/>
                </a:moveTo>
                <a:lnTo>
                  <a:pt x="3018" y="1327"/>
                </a:lnTo>
                <a:cubicBezTo>
                  <a:pt x="3044" y="1230"/>
                  <a:pt x="3106" y="1147"/>
                  <a:pt x="3193" y="1096"/>
                </a:cubicBezTo>
                <a:cubicBezTo>
                  <a:pt x="3281" y="1044"/>
                  <a:pt x="3384" y="1030"/>
                  <a:pt x="3483" y="1055"/>
                </a:cubicBezTo>
                <a:cubicBezTo>
                  <a:pt x="3582" y="1081"/>
                  <a:pt x="3664" y="1143"/>
                  <a:pt x="3716" y="1232"/>
                </a:cubicBezTo>
                <a:cubicBezTo>
                  <a:pt x="3768" y="1320"/>
                  <a:pt x="3783" y="1422"/>
                  <a:pt x="3757" y="1521"/>
                </a:cubicBezTo>
                <a:cubicBezTo>
                  <a:pt x="3713" y="1692"/>
                  <a:pt x="3557" y="1808"/>
                  <a:pt x="3382" y="1806"/>
                </a:cubicBezTo>
                <a:cubicBezTo>
                  <a:pt x="3299" y="1619"/>
                  <a:pt x="3174" y="1455"/>
                  <a:pt x="3018" y="1327"/>
                </a:cubicBezTo>
                <a:lnTo>
                  <a:pt x="3018" y="1327"/>
                </a:lnTo>
                <a:close/>
                <a:moveTo>
                  <a:pt x="2202" y="3484"/>
                </a:moveTo>
                <a:lnTo>
                  <a:pt x="2202" y="3484"/>
                </a:lnTo>
                <a:cubicBezTo>
                  <a:pt x="1564" y="3484"/>
                  <a:pt x="1044" y="2965"/>
                  <a:pt x="1044" y="2326"/>
                </a:cubicBezTo>
                <a:cubicBezTo>
                  <a:pt x="1044" y="1688"/>
                  <a:pt x="1564" y="1169"/>
                  <a:pt x="2202" y="1169"/>
                </a:cubicBezTo>
                <a:cubicBezTo>
                  <a:pt x="2840" y="1169"/>
                  <a:pt x="3359" y="1688"/>
                  <a:pt x="3359" y="2326"/>
                </a:cubicBezTo>
                <a:cubicBezTo>
                  <a:pt x="3359" y="2965"/>
                  <a:pt x="2840" y="3484"/>
                  <a:pt x="2202" y="3484"/>
                </a:cubicBezTo>
                <a:lnTo>
                  <a:pt x="2202" y="3484"/>
                </a:lnTo>
                <a:close/>
                <a:moveTo>
                  <a:pt x="1535" y="1223"/>
                </a:moveTo>
                <a:lnTo>
                  <a:pt x="1535" y="1223"/>
                </a:lnTo>
                <a:cubicBezTo>
                  <a:pt x="1531" y="1220"/>
                  <a:pt x="1527" y="1216"/>
                  <a:pt x="1521" y="1213"/>
                </a:cubicBezTo>
                <a:cubicBezTo>
                  <a:pt x="1521" y="1213"/>
                  <a:pt x="1512" y="1209"/>
                  <a:pt x="1512" y="1209"/>
                </a:cubicBezTo>
                <a:cubicBezTo>
                  <a:pt x="1461" y="1185"/>
                  <a:pt x="1423" y="1142"/>
                  <a:pt x="1405" y="1089"/>
                </a:cubicBezTo>
                <a:cubicBezTo>
                  <a:pt x="1387" y="1035"/>
                  <a:pt x="1390" y="978"/>
                  <a:pt x="1415" y="928"/>
                </a:cubicBezTo>
                <a:cubicBezTo>
                  <a:pt x="1439" y="877"/>
                  <a:pt x="1482" y="840"/>
                  <a:pt x="1535" y="821"/>
                </a:cubicBezTo>
                <a:cubicBezTo>
                  <a:pt x="1589" y="803"/>
                  <a:pt x="1646" y="806"/>
                  <a:pt x="1696" y="831"/>
                </a:cubicBezTo>
                <a:cubicBezTo>
                  <a:pt x="1787" y="876"/>
                  <a:pt x="1834" y="979"/>
                  <a:pt x="1806" y="1077"/>
                </a:cubicBezTo>
                <a:cubicBezTo>
                  <a:pt x="1804" y="1084"/>
                  <a:pt x="1804" y="1092"/>
                  <a:pt x="1804" y="1099"/>
                </a:cubicBezTo>
                <a:cubicBezTo>
                  <a:pt x="1709" y="1130"/>
                  <a:pt x="1619" y="1172"/>
                  <a:pt x="1535" y="1223"/>
                </a:cubicBezTo>
                <a:lnTo>
                  <a:pt x="1535" y="1223"/>
                </a:lnTo>
                <a:close/>
                <a:moveTo>
                  <a:pt x="1094" y="1309"/>
                </a:moveTo>
                <a:lnTo>
                  <a:pt x="1094" y="1309"/>
                </a:lnTo>
                <a:cubicBezTo>
                  <a:pt x="1078" y="1281"/>
                  <a:pt x="1044" y="1268"/>
                  <a:pt x="1014" y="1279"/>
                </a:cubicBezTo>
                <a:lnTo>
                  <a:pt x="898" y="1318"/>
                </a:lnTo>
                <a:lnTo>
                  <a:pt x="864" y="1220"/>
                </a:lnTo>
                <a:lnTo>
                  <a:pt x="980" y="1180"/>
                </a:lnTo>
                <a:cubicBezTo>
                  <a:pt x="1010" y="1170"/>
                  <a:pt x="1029" y="1139"/>
                  <a:pt x="1024" y="1107"/>
                </a:cubicBezTo>
                <a:cubicBezTo>
                  <a:pt x="1012" y="1025"/>
                  <a:pt x="1017" y="943"/>
                  <a:pt x="1039" y="864"/>
                </a:cubicBezTo>
                <a:cubicBezTo>
                  <a:pt x="1048" y="833"/>
                  <a:pt x="1033" y="800"/>
                  <a:pt x="1004" y="786"/>
                </a:cubicBezTo>
                <a:lnTo>
                  <a:pt x="894" y="732"/>
                </a:lnTo>
                <a:lnTo>
                  <a:pt x="939" y="638"/>
                </a:lnTo>
                <a:lnTo>
                  <a:pt x="1050" y="692"/>
                </a:lnTo>
                <a:cubicBezTo>
                  <a:pt x="1079" y="706"/>
                  <a:pt x="1114" y="698"/>
                  <a:pt x="1133" y="672"/>
                </a:cubicBezTo>
                <a:cubicBezTo>
                  <a:pt x="1182" y="605"/>
                  <a:pt x="1243" y="551"/>
                  <a:pt x="1315" y="510"/>
                </a:cubicBezTo>
                <a:cubicBezTo>
                  <a:pt x="1343" y="494"/>
                  <a:pt x="1356" y="461"/>
                  <a:pt x="1346" y="430"/>
                </a:cubicBezTo>
                <a:lnTo>
                  <a:pt x="1306" y="314"/>
                </a:lnTo>
                <a:lnTo>
                  <a:pt x="1404" y="280"/>
                </a:lnTo>
                <a:lnTo>
                  <a:pt x="1444" y="396"/>
                </a:lnTo>
                <a:cubicBezTo>
                  <a:pt x="1455" y="427"/>
                  <a:pt x="1486" y="445"/>
                  <a:pt x="1517" y="440"/>
                </a:cubicBezTo>
                <a:cubicBezTo>
                  <a:pt x="1598" y="428"/>
                  <a:pt x="1680" y="433"/>
                  <a:pt x="1760" y="455"/>
                </a:cubicBezTo>
                <a:cubicBezTo>
                  <a:pt x="1791" y="464"/>
                  <a:pt x="1824" y="449"/>
                  <a:pt x="1838" y="420"/>
                </a:cubicBezTo>
                <a:lnTo>
                  <a:pt x="1892" y="310"/>
                </a:lnTo>
                <a:lnTo>
                  <a:pt x="1986" y="356"/>
                </a:lnTo>
                <a:lnTo>
                  <a:pt x="1932" y="466"/>
                </a:lnTo>
                <a:cubicBezTo>
                  <a:pt x="1918" y="495"/>
                  <a:pt x="1926" y="530"/>
                  <a:pt x="1952" y="549"/>
                </a:cubicBezTo>
                <a:cubicBezTo>
                  <a:pt x="2019" y="598"/>
                  <a:pt x="2074" y="660"/>
                  <a:pt x="2114" y="731"/>
                </a:cubicBezTo>
                <a:cubicBezTo>
                  <a:pt x="2130" y="759"/>
                  <a:pt x="2163" y="772"/>
                  <a:pt x="2194" y="762"/>
                </a:cubicBezTo>
                <a:lnTo>
                  <a:pt x="2310" y="722"/>
                </a:lnTo>
                <a:lnTo>
                  <a:pt x="2344" y="820"/>
                </a:lnTo>
                <a:lnTo>
                  <a:pt x="2228" y="860"/>
                </a:lnTo>
                <a:cubicBezTo>
                  <a:pt x="2197" y="871"/>
                  <a:pt x="2178" y="901"/>
                  <a:pt x="2183" y="933"/>
                </a:cubicBezTo>
                <a:cubicBezTo>
                  <a:pt x="2188" y="967"/>
                  <a:pt x="2190" y="1001"/>
                  <a:pt x="2189" y="1036"/>
                </a:cubicBezTo>
                <a:cubicBezTo>
                  <a:pt x="2105" y="1037"/>
                  <a:pt x="2023" y="1045"/>
                  <a:pt x="1944" y="1061"/>
                </a:cubicBezTo>
                <a:cubicBezTo>
                  <a:pt x="1962" y="918"/>
                  <a:pt x="1888" y="776"/>
                  <a:pt x="1754" y="711"/>
                </a:cubicBezTo>
                <a:cubicBezTo>
                  <a:pt x="1672" y="671"/>
                  <a:pt x="1579" y="665"/>
                  <a:pt x="1492" y="695"/>
                </a:cubicBezTo>
                <a:cubicBezTo>
                  <a:pt x="1405" y="725"/>
                  <a:pt x="1335" y="787"/>
                  <a:pt x="1295" y="869"/>
                </a:cubicBezTo>
                <a:cubicBezTo>
                  <a:pt x="1255" y="952"/>
                  <a:pt x="1249" y="1045"/>
                  <a:pt x="1279" y="1132"/>
                </a:cubicBezTo>
                <a:cubicBezTo>
                  <a:pt x="1304" y="1205"/>
                  <a:pt x="1352" y="1264"/>
                  <a:pt x="1415" y="1306"/>
                </a:cubicBezTo>
                <a:cubicBezTo>
                  <a:pt x="1350" y="1356"/>
                  <a:pt x="1289" y="1413"/>
                  <a:pt x="1235" y="1474"/>
                </a:cubicBezTo>
                <a:cubicBezTo>
                  <a:pt x="1177" y="1428"/>
                  <a:pt x="1130" y="1373"/>
                  <a:pt x="1094" y="1309"/>
                </a:cubicBezTo>
                <a:lnTo>
                  <a:pt x="1094" y="1309"/>
                </a:lnTo>
                <a:close/>
                <a:moveTo>
                  <a:pt x="4796" y="1543"/>
                </a:moveTo>
                <a:lnTo>
                  <a:pt x="4796" y="1543"/>
                </a:lnTo>
                <a:cubicBezTo>
                  <a:pt x="4787" y="1528"/>
                  <a:pt x="4773" y="1517"/>
                  <a:pt x="4756" y="1512"/>
                </a:cubicBezTo>
                <a:lnTo>
                  <a:pt x="4511" y="1449"/>
                </a:lnTo>
                <a:cubicBezTo>
                  <a:pt x="4514" y="1327"/>
                  <a:pt x="4497" y="1208"/>
                  <a:pt x="4461" y="1094"/>
                </a:cubicBezTo>
                <a:lnTo>
                  <a:pt x="4679" y="966"/>
                </a:lnTo>
                <a:cubicBezTo>
                  <a:pt x="4711" y="947"/>
                  <a:pt x="4721" y="906"/>
                  <a:pt x="4703" y="874"/>
                </a:cubicBezTo>
                <a:lnTo>
                  <a:pt x="4507" y="543"/>
                </a:lnTo>
                <a:cubicBezTo>
                  <a:pt x="4498" y="527"/>
                  <a:pt x="4484" y="516"/>
                  <a:pt x="4467" y="512"/>
                </a:cubicBezTo>
                <a:cubicBezTo>
                  <a:pt x="4449" y="507"/>
                  <a:pt x="4431" y="510"/>
                  <a:pt x="4416" y="519"/>
                </a:cubicBezTo>
                <a:lnTo>
                  <a:pt x="4199" y="647"/>
                </a:lnTo>
                <a:cubicBezTo>
                  <a:pt x="4115" y="560"/>
                  <a:pt x="4019" y="488"/>
                  <a:pt x="3912" y="431"/>
                </a:cubicBezTo>
                <a:lnTo>
                  <a:pt x="3975" y="187"/>
                </a:lnTo>
                <a:cubicBezTo>
                  <a:pt x="3980" y="169"/>
                  <a:pt x="3977" y="151"/>
                  <a:pt x="3968" y="136"/>
                </a:cubicBezTo>
                <a:cubicBezTo>
                  <a:pt x="3959" y="121"/>
                  <a:pt x="3945" y="110"/>
                  <a:pt x="3928" y="105"/>
                </a:cubicBezTo>
                <a:lnTo>
                  <a:pt x="3555" y="9"/>
                </a:lnTo>
                <a:cubicBezTo>
                  <a:pt x="3520" y="0"/>
                  <a:pt x="3483" y="21"/>
                  <a:pt x="3474" y="57"/>
                </a:cubicBezTo>
                <a:lnTo>
                  <a:pt x="3411" y="301"/>
                </a:lnTo>
                <a:cubicBezTo>
                  <a:pt x="3288" y="299"/>
                  <a:pt x="3170" y="315"/>
                  <a:pt x="3055" y="351"/>
                </a:cubicBezTo>
                <a:lnTo>
                  <a:pt x="2927" y="133"/>
                </a:lnTo>
                <a:cubicBezTo>
                  <a:pt x="2918" y="118"/>
                  <a:pt x="2904" y="107"/>
                  <a:pt x="2887" y="102"/>
                </a:cubicBezTo>
                <a:cubicBezTo>
                  <a:pt x="2869" y="98"/>
                  <a:pt x="2851" y="101"/>
                  <a:pt x="2836" y="110"/>
                </a:cubicBezTo>
                <a:lnTo>
                  <a:pt x="2504" y="305"/>
                </a:lnTo>
                <a:cubicBezTo>
                  <a:pt x="2473" y="324"/>
                  <a:pt x="2462" y="364"/>
                  <a:pt x="2481" y="396"/>
                </a:cubicBezTo>
                <a:lnTo>
                  <a:pt x="2608" y="613"/>
                </a:lnTo>
                <a:cubicBezTo>
                  <a:pt x="2566" y="652"/>
                  <a:pt x="2514" y="702"/>
                  <a:pt x="2462" y="755"/>
                </a:cubicBezTo>
                <a:lnTo>
                  <a:pt x="2414" y="615"/>
                </a:lnTo>
                <a:cubicBezTo>
                  <a:pt x="2402" y="580"/>
                  <a:pt x="2364" y="562"/>
                  <a:pt x="2329" y="574"/>
                </a:cubicBezTo>
                <a:lnTo>
                  <a:pt x="2201" y="618"/>
                </a:lnTo>
                <a:cubicBezTo>
                  <a:pt x="2165" y="566"/>
                  <a:pt x="2123" y="518"/>
                  <a:pt x="2075" y="476"/>
                </a:cubicBezTo>
                <a:lnTo>
                  <a:pt x="2135" y="354"/>
                </a:lnTo>
                <a:cubicBezTo>
                  <a:pt x="2151" y="321"/>
                  <a:pt x="2137" y="281"/>
                  <a:pt x="2104" y="265"/>
                </a:cubicBezTo>
                <a:lnTo>
                  <a:pt x="1891" y="161"/>
                </a:lnTo>
                <a:cubicBezTo>
                  <a:pt x="1875" y="153"/>
                  <a:pt x="1856" y="152"/>
                  <a:pt x="1840" y="158"/>
                </a:cubicBezTo>
                <a:cubicBezTo>
                  <a:pt x="1823" y="164"/>
                  <a:pt x="1809" y="176"/>
                  <a:pt x="1801" y="192"/>
                </a:cubicBezTo>
                <a:lnTo>
                  <a:pt x="1742" y="314"/>
                </a:lnTo>
                <a:cubicBezTo>
                  <a:pt x="1679" y="302"/>
                  <a:pt x="1616" y="298"/>
                  <a:pt x="1553" y="302"/>
                </a:cubicBezTo>
                <a:lnTo>
                  <a:pt x="1508" y="174"/>
                </a:lnTo>
                <a:cubicBezTo>
                  <a:pt x="1497" y="139"/>
                  <a:pt x="1459" y="121"/>
                  <a:pt x="1424" y="133"/>
                </a:cubicBezTo>
                <a:lnTo>
                  <a:pt x="1199" y="210"/>
                </a:lnTo>
                <a:cubicBezTo>
                  <a:pt x="1182" y="216"/>
                  <a:pt x="1169" y="228"/>
                  <a:pt x="1161" y="244"/>
                </a:cubicBezTo>
                <a:cubicBezTo>
                  <a:pt x="1153" y="260"/>
                  <a:pt x="1152" y="278"/>
                  <a:pt x="1158" y="295"/>
                </a:cubicBezTo>
                <a:lnTo>
                  <a:pt x="1202" y="423"/>
                </a:lnTo>
                <a:cubicBezTo>
                  <a:pt x="1149" y="459"/>
                  <a:pt x="1102" y="501"/>
                  <a:pt x="1060" y="549"/>
                </a:cubicBezTo>
                <a:lnTo>
                  <a:pt x="938" y="489"/>
                </a:lnTo>
                <a:cubicBezTo>
                  <a:pt x="922" y="481"/>
                  <a:pt x="904" y="480"/>
                  <a:pt x="887" y="486"/>
                </a:cubicBezTo>
                <a:cubicBezTo>
                  <a:pt x="870" y="492"/>
                  <a:pt x="856" y="504"/>
                  <a:pt x="849" y="520"/>
                </a:cubicBezTo>
                <a:lnTo>
                  <a:pt x="745" y="733"/>
                </a:lnTo>
                <a:cubicBezTo>
                  <a:pt x="729" y="766"/>
                  <a:pt x="742" y="806"/>
                  <a:pt x="775" y="822"/>
                </a:cubicBezTo>
                <a:lnTo>
                  <a:pt x="898" y="882"/>
                </a:lnTo>
                <a:cubicBezTo>
                  <a:pt x="885" y="945"/>
                  <a:pt x="881" y="1008"/>
                  <a:pt x="886" y="1071"/>
                </a:cubicBezTo>
                <a:lnTo>
                  <a:pt x="757" y="1116"/>
                </a:lnTo>
                <a:cubicBezTo>
                  <a:pt x="741" y="1121"/>
                  <a:pt x="727" y="1133"/>
                  <a:pt x="719" y="1149"/>
                </a:cubicBezTo>
                <a:cubicBezTo>
                  <a:pt x="711" y="1165"/>
                  <a:pt x="710" y="1184"/>
                  <a:pt x="716" y="1200"/>
                </a:cubicBezTo>
                <a:lnTo>
                  <a:pt x="794" y="1425"/>
                </a:lnTo>
                <a:cubicBezTo>
                  <a:pt x="806" y="1460"/>
                  <a:pt x="844" y="1478"/>
                  <a:pt x="878" y="1466"/>
                </a:cubicBezTo>
                <a:lnTo>
                  <a:pt x="1007" y="1422"/>
                </a:lnTo>
                <a:cubicBezTo>
                  <a:pt x="1047" y="1481"/>
                  <a:pt x="1095" y="1533"/>
                  <a:pt x="1152" y="1579"/>
                </a:cubicBezTo>
                <a:cubicBezTo>
                  <a:pt x="1001" y="1790"/>
                  <a:pt x="911" y="2048"/>
                  <a:pt x="911" y="2326"/>
                </a:cubicBezTo>
                <a:cubicBezTo>
                  <a:pt x="911" y="2655"/>
                  <a:pt x="1036" y="2955"/>
                  <a:pt x="1239" y="3183"/>
                </a:cubicBezTo>
                <a:lnTo>
                  <a:pt x="25" y="4384"/>
                </a:lnTo>
                <a:cubicBezTo>
                  <a:pt x="0" y="4410"/>
                  <a:pt x="0" y="4453"/>
                  <a:pt x="25" y="4479"/>
                </a:cubicBezTo>
                <a:cubicBezTo>
                  <a:pt x="38" y="4492"/>
                  <a:pt x="55" y="4499"/>
                  <a:pt x="72" y="4499"/>
                </a:cubicBezTo>
                <a:cubicBezTo>
                  <a:pt x="89" y="4499"/>
                  <a:pt x="106" y="4492"/>
                  <a:pt x="119" y="4479"/>
                </a:cubicBezTo>
                <a:lnTo>
                  <a:pt x="1333" y="3278"/>
                </a:lnTo>
                <a:cubicBezTo>
                  <a:pt x="1563" y="3488"/>
                  <a:pt x="1867" y="3617"/>
                  <a:pt x="2202" y="3617"/>
                </a:cubicBezTo>
                <a:cubicBezTo>
                  <a:pt x="2839" y="3617"/>
                  <a:pt x="3369" y="3152"/>
                  <a:pt x="3473" y="2544"/>
                </a:cubicBezTo>
                <a:cubicBezTo>
                  <a:pt x="3536" y="2534"/>
                  <a:pt x="3644" y="2516"/>
                  <a:pt x="3717" y="2497"/>
                </a:cubicBezTo>
                <a:lnTo>
                  <a:pt x="3847" y="2717"/>
                </a:lnTo>
                <a:cubicBezTo>
                  <a:pt x="3856" y="2732"/>
                  <a:pt x="3870" y="2743"/>
                  <a:pt x="3887" y="2748"/>
                </a:cubicBezTo>
                <a:cubicBezTo>
                  <a:pt x="3893" y="2749"/>
                  <a:pt x="3899" y="2750"/>
                  <a:pt x="3904" y="2750"/>
                </a:cubicBezTo>
                <a:cubicBezTo>
                  <a:pt x="3916" y="2750"/>
                  <a:pt x="3928" y="2747"/>
                  <a:pt x="3938" y="2741"/>
                </a:cubicBezTo>
                <a:lnTo>
                  <a:pt x="4270" y="2545"/>
                </a:lnTo>
                <a:cubicBezTo>
                  <a:pt x="4301" y="2527"/>
                  <a:pt x="4312" y="2486"/>
                  <a:pt x="4293" y="2454"/>
                </a:cubicBezTo>
                <a:lnTo>
                  <a:pt x="4165" y="2237"/>
                </a:lnTo>
                <a:cubicBezTo>
                  <a:pt x="4252" y="2154"/>
                  <a:pt x="4325" y="2058"/>
                  <a:pt x="4381" y="1950"/>
                </a:cubicBezTo>
                <a:lnTo>
                  <a:pt x="4626" y="2014"/>
                </a:lnTo>
                <a:cubicBezTo>
                  <a:pt x="4661" y="2023"/>
                  <a:pt x="4698" y="2001"/>
                  <a:pt x="4707" y="1966"/>
                </a:cubicBezTo>
                <a:lnTo>
                  <a:pt x="4803" y="1593"/>
                </a:lnTo>
                <a:cubicBezTo>
                  <a:pt x="4808" y="1576"/>
                  <a:pt x="4805" y="1558"/>
                  <a:pt x="4796" y="1543"/>
                </a:cubicBezTo>
                <a:close/>
              </a:path>
            </a:pathLst>
          </a:custGeom>
          <a:solidFill>
            <a:srgbClr val="0070C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33A3FF"/>
              </a:solidFill>
              <a:effectLst/>
              <a:uLnTx/>
              <a:uFillTx/>
              <a:latin typeface="Avenir Next LT Pro" panose="020B0504020202020204" pitchFamily="34" charset="0"/>
              <a:ea typeface="+mn-ea"/>
              <a:cs typeface="+mn-cs"/>
            </a:endParaRPr>
          </a:p>
        </p:txBody>
      </p:sp>
      <p:sp>
        <p:nvSpPr>
          <p:cNvPr id="110" name="Freeform 6">
            <a:extLst>
              <a:ext uri="{FF2B5EF4-FFF2-40B4-BE49-F238E27FC236}">
                <a16:creationId xmlns:a16="http://schemas.microsoft.com/office/drawing/2014/main" id="{47E5B70B-F267-2C18-48BA-446E5AB8F9C1}"/>
              </a:ext>
            </a:extLst>
          </p:cNvPr>
          <p:cNvSpPr>
            <a:spLocks noChangeAspect="1" noEditPoints="1"/>
          </p:cNvSpPr>
          <p:nvPr>
            <p:custDataLst>
              <p:tags r:id="rId20"/>
            </p:custDataLst>
          </p:nvPr>
        </p:nvSpPr>
        <p:spPr bwMode="auto">
          <a:xfrm>
            <a:off x="2946706" y="1485266"/>
            <a:ext cx="395300" cy="532739"/>
          </a:xfrm>
          <a:custGeom>
            <a:avLst/>
            <a:gdLst>
              <a:gd name="T0" fmla="*/ 1537 w 4274"/>
              <a:gd name="T1" fmla="*/ 4522 h 5760"/>
              <a:gd name="T2" fmla="*/ 1842 w 4274"/>
              <a:gd name="T3" fmla="*/ 4617 h 5760"/>
              <a:gd name="T4" fmla="*/ 1917 w 4274"/>
              <a:gd name="T5" fmla="*/ 4605 h 5760"/>
              <a:gd name="T6" fmla="*/ 1755 w 4274"/>
              <a:gd name="T7" fmla="*/ 4529 h 5760"/>
              <a:gd name="T8" fmla="*/ 1477 w 4274"/>
              <a:gd name="T9" fmla="*/ 4515 h 5760"/>
              <a:gd name="T10" fmla="*/ 3822 w 4274"/>
              <a:gd name="T11" fmla="*/ 4193 h 5760"/>
              <a:gd name="T12" fmla="*/ 3792 w 4274"/>
              <a:gd name="T13" fmla="*/ 4875 h 5760"/>
              <a:gd name="T14" fmla="*/ 4113 w 4274"/>
              <a:gd name="T15" fmla="*/ 4243 h 5760"/>
              <a:gd name="T16" fmla="*/ 239 w 4274"/>
              <a:gd name="T17" fmla="*/ 4744 h 5760"/>
              <a:gd name="T18" fmla="*/ 904 w 4274"/>
              <a:gd name="T19" fmla="*/ 4320 h 5760"/>
              <a:gd name="T20" fmla="*/ 1540 w 4274"/>
              <a:gd name="T21" fmla="*/ 3592 h 5760"/>
              <a:gd name="T22" fmla="*/ 2198 w 4274"/>
              <a:gd name="T23" fmla="*/ 4111 h 5760"/>
              <a:gd name="T24" fmla="*/ 1737 w 4274"/>
              <a:gd name="T25" fmla="*/ 3477 h 5760"/>
              <a:gd name="T26" fmla="*/ 2299 w 4274"/>
              <a:gd name="T27" fmla="*/ 4037 h 5760"/>
              <a:gd name="T28" fmla="*/ 2187 w 4274"/>
              <a:gd name="T29" fmla="*/ 4200 h 5760"/>
              <a:gd name="T30" fmla="*/ 1579 w 4274"/>
              <a:gd name="T31" fmla="*/ 3405 h 5760"/>
              <a:gd name="T32" fmla="*/ 2585 w 4274"/>
              <a:gd name="T33" fmla="*/ 3646 h 5760"/>
              <a:gd name="T34" fmla="*/ 2768 w 4274"/>
              <a:gd name="T35" fmla="*/ 3777 h 5760"/>
              <a:gd name="T36" fmla="*/ 2557 w 4274"/>
              <a:gd name="T37" fmla="*/ 3777 h 5760"/>
              <a:gd name="T38" fmla="*/ 2508 w 4274"/>
              <a:gd name="T39" fmla="*/ 3601 h 5760"/>
              <a:gd name="T40" fmla="*/ 2238 w 4274"/>
              <a:gd name="T41" fmla="*/ 3894 h 5760"/>
              <a:gd name="T42" fmla="*/ 2044 w 4274"/>
              <a:gd name="T43" fmla="*/ 2948 h 5760"/>
              <a:gd name="T44" fmla="*/ 1026 w 4274"/>
              <a:gd name="T45" fmla="*/ 3866 h 5760"/>
              <a:gd name="T46" fmla="*/ 2037 w 4274"/>
              <a:gd name="T47" fmla="*/ 5505 h 5760"/>
              <a:gd name="T48" fmla="*/ 3272 w 4274"/>
              <a:gd name="T49" fmla="*/ 4018 h 5760"/>
              <a:gd name="T50" fmla="*/ 2524 w 4274"/>
              <a:gd name="T51" fmla="*/ 2986 h 5760"/>
              <a:gd name="T52" fmla="*/ 2909 w 4274"/>
              <a:gd name="T53" fmla="*/ 2960 h 5760"/>
              <a:gd name="T54" fmla="*/ 4015 w 4274"/>
              <a:gd name="T55" fmla="*/ 3264 h 5760"/>
              <a:gd name="T56" fmla="*/ 4111 w 4274"/>
              <a:gd name="T57" fmla="*/ 2550 h 5760"/>
              <a:gd name="T58" fmla="*/ 340 w 4274"/>
              <a:gd name="T59" fmla="*/ 3318 h 5760"/>
              <a:gd name="T60" fmla="*/ 1516 w 4274"/>
              <a:gd name="T61" fmla="*/ 2917 h 5760"/>
              <a:gd name="T62" fmla="*/ 147 w 4274"/>
              <a:gd name="T63" fmla="*/ 2285 h 5760"/>
              <a:gd name="T64" fmla="*/ 1144 w 4274"/>
              <a:gd name="T65" fmla="*/ 2714 h 5760"/>
              <a:gd name="T66" fmla="*/ 3825 w 4274"/>
              <a:gd name="T67" fmla="*/ 2531 h 5760"/>
              <a:gd name="T68" fmla="*/ 4267 w 4274"/>
              <a:gd name="T69" fmla="*/ 2391 h 5760"/>
              <a:gd name="T70" fmla="*/ 4261 w 4274"/>
              <a:gd name="T71" fmla="*/ 3198 h 5760"/>
              <a:gd name="T72" fmla="*/ 3445 w 4274"/>
              <a:gd name="T73" fmla="*/ 3957 h 5760"/>
              <a:gd name="T74" fmla="*/ 4199 w 4274"/>
              <a:gd name="T75" fmla="*/ 3749 h 5760"/>
              <a:gd name="T76" fmla="*/ 4272 w 4274"/>
              <a:gd name="T77" fmla="*/ 4470 h 5760"/>
              <a:gd name="T78" fmla="*/ 3619 w 4274"/>
              <a:gd name="T79" fmla="*/ 5097 h 5760"/>
              <a:gd name="T80" fmla="*/ 2184 w 4274"/>
              <a:gd name="T81" fmla="*/ 5757 h 5760"/>
              <a:gd name="T82" fmla="*/ 767 w 4274"/>
              <a:gd name="T83" fmla="*/ 5126 h 5760"/>
              <a:gd name="T84" fmla="*/ 0 w 4274"/>
              <a:gd name="T85" fmla="*/ 4634 h 5760"/>
              <a:gd name="T86" fmla="*/ 70 w 4274"/>
              <a:gd name="T87" fmla="*/ 3737 h 5760"/>
              <a:gd name="T88" fmla="*/ 630 w 4274"/>
              <a:gd name="T89" fmla="*/ 4090 h 5760"/>
              <a:gd name="T90" fmla="*/ 283 w 4274"/>
              <a:gd name="T91" fmla="*/ 3466 h 5760"/>
              <a:gd name="T92" fmla="*/ 0 w 4274"/>
              <a:gd name="T93" fmla="*/ 3002 h 5760"/>
              <a:gd name="T94" fmla="*/ 157 w 4274"/>
              <a:gd name="T95" fmla="*/ 1225 h 5760"/>
              <a:gd name="T96" fmla="*/ 1008 w 4274"/>
              <a:gd name="T97" fmla="*/ 1946 h 5760"/>
              <a:gd name="T98" fmla="*/ 3661 w 4274"/>
              <a:gd name="T99" fmla="*/ 1845 h 5760"/>
              <a:gd name="T100" fmla="*/ 3482 w 4274"/>
              <a:gd name="T101" fmla="*/ 1176 h 5760"/>
              <a:gd name="T102" fmla="*/ 1036 w 4274"/>
              <a:gd name="T103" fmla="*/ 1225 h 5760"/>
              <a:gd name="T104" fmla="*/ 862 w 4274"/>
              <a:gd name="T105" fmla="*/ 285 h 5760"/>
              <a:gd name="T106" fmla="*/ 452 w 4274"/>
              <a:gd name="T107" fmla="*/ 904 h 5760"/>
              <a:gd name="T108" fmla="*/ 3148 w 4274"/>
              <a:gd name="T109" fmla="*/ 1084 h 5760"/>
              <a:gd name="T110" fmla="*/ 3965 w 4274"/>
              <a:gd name="T111" fmla="*/ 483 h 5760"/>
              <a:gd name="T112" fmla="*/ 2527 w 4274"/>
              <a:gd name="T113" fmla="*/ 10 h 5760"/>
              <a:gd name="T114" fmla="*/ 4225 w 4274"/>
              <a:gd name="T115" fmla="*/ 508 h 5760"/>
              <a:gd name="T116" fmla="*/ 3813 w 4274"/>
              <a:gd name="T117" fmla="*/ 1960 h 5760"/>
              <a:gd name="T118" fmla="*/ 1620 w 4274"/>
              <a:gd name="T119" fmla="*/ 2180 h 5760"/>
              <a:gd name="T120" fmla="*/ 21 w 4274"/>
              <a:gd name="T121" fmla="*/ 1648 h 5760"/>
              <a:gd name="T122" fmla="*/ 0 w 4274"/>
              <a:gd name="T123" fmla="*/ 1035 h 5760"/>
              <a:gd name="T124" fmla="*/ 490 w 4274"/>
              <a:gd name="T125" fmla="*/ 229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4" h="5760">
                <a:moveTo>
                  <a:pt x="1964" y="4111"/>
                </a:moveTo>
                <a:lnTo>
                  <a:pt x="1978" y="4119"/>
                </a:lnTo>
                <a:lnTo>
                  <a:pt x="1985" y="4131"/>
                </a:lnTo>
                <a:lnTo>
                  <a:pt x="1985" y="4147"/>
                </a:lnTo>
                <a:lnTo>
                  <a:pt x="1978" y="4161"/>
                </a:lnTo>
                <a:lnTo>
                  <a:pt x="1790" y="4348"/>
                </a:lnTo>
                <a:lnTo>
                  <a:pt x="1776" y="4357"/>
                </a:lnTo>
                <a:lnTo>
                  <a:pt x="1760" y="4355"/>
                </a:lnTo>
                <a:lnTo>
                  <a:pt x="1732" y="4348"/>
                </a:lnTo>
                <a:lnTo>
                  <a:pt x="1706" y="4346"/>
                </a:lnTo>
                <a:lnTo>
                  <a:pt x="1668" y="4351"/>
                </a:lnTo>
                <a:lnTo>
                  <a:pt x="1631" y="4364"/>
                </a:lnTo>
                <a:lnTo>
                  <a:pt x="1600" y="4385"/>
                </a:lnTo>
                <a:lnTo>
                  <a:pt x="1573" y="4411"/>
                </a:lnTo>
                <a:lnTo>
                  <a:pt x="1554" y="4442"/>
                </a:lnTo>
                <a:lnTo>
                  <a:pt x="1542" y="4477"/>
                </a:lnTo>
                <a:lnTo>
                  <a:pt x="1537" y="4515"/>
                </a:lnTo>
                <a:lnTo>
                  <a:pt x="1537" y="4522"/>
                </a:lnTo>
                <a:lnTo>
                  <a:pt x="1605" y="4453"/>
                </a:lnTo>
                <a:lnTo>
                  <a:pt x="1631" y="4433"/>
                </a:lnTo>
                <a:lnTo>
                  <a:pt x="1661" y="4421"/>
                </a:lnTo>
                <a:lnTo>
                  <a:pt x="1692" y="4418"/>
                </a:lnTo>
                <a:lnTo>
                  <a:pt x="1723" y="4421"/>
                </a:lnTo>
                <a:lnTo>
                  <a:pt x="1753" y="4433"/>
                </a:lnTo>
                <a:lnTo>
                  <a:pt x="1779" y="4453"/>
                </a:lnTo>
                <a:lnTo>
                  <a:pt x="1798" y="4479"/>
                </a:lnTo>
                <a:lnTo>
                  <a:pt x="1811" y="4509"/>
                </a:lnTo>
                <a:lnTo>
                  <a:pt x="1814" y="4540"/>
                </a:lnTo>
                <a:lnTo>
                  <a:pt x="1811" y="4571"/>
                </a:lnTo>
                <a:lnTo>
                  <a:pt x="1798" y="4601"/>
                </a:lnTo>
                <a:lnTo>
                  <a:pt x="1779" y="4627"/>
                </a:lnTo>
                <a:lnTo>
                  <a:pt x="1720" y="4685"/>
                </a:lnTo>
                <a:lnTo>
                  <a:pt x="1757" y="4678"/>
                </a:lnTo>
                <a:lnTo>
                  <a:pt x="1790" y="4664"/>
                </a:lnTo>
                <a:lnTo>
                  <a:pt x="1818" y="4643"/>
                </a:lnTo>
                <a:lnTo>
                  <a:pt x="1842" y="4617"/>
                </a:lnTo>
                <a:lnTo>
                  <a:pt x="1859" y="4587"/>
                </a:lnTo>
                <a:lnTo>
                  <a:pt x="1872" y="4552"/>
                </a:lnTo>
                <a:lnTo>
                  <a:pt x="1875" y="4515"/>
                </a:lnTo>
                <a:lnTo>
                  <a:pt x="1873" y="4491"/>
                </a:lnTo>
                <a:lnTo>
                  <a:pt x="1868" y="4468"/>
                </a:lnTo>
                <a:lnTo>
                  <a:pt x="1868" y="4453"/>
                </a:lnTo>
                <a:lnTo>
                  <a:pt x="1875" y="4439"/>
                </a:lnTo>
                <a:lnTo>
                  <a:pt x="2065" y="4248"/>
                </a:lnTo>
                <a:lnTo>
                  <a:pt x="2079" y="4241"/>
                </a:lnTo>
                <a:lnTo>
                  <a:pt x="2093" y="4241"/>
                </a:lnTo>
                <a:lnTo>
                  <a:pt x="2107" y="4248"/>
                </a:lnTo>
                <a:lnTo>
                  <a:pt x="2114" y="4262"/>
                </a:lnTo>
                <a:lnTo>
                  <a:pt x="2114" y="4276"/>
                </a:lnTo>
                <a:lnTo>
                  <a:pt x="2107" y="4290"/>
                </a:lnTo>
                <a:lnTo>
                  <a:pt x="1929" y="4468"/>
                </a:lnTo>
                <a:lnTo>
                  <a:pt x="1934" y="4515"/>
                </a:lnTo>
                <a:lnTo>
                  <a:pt x="1929" y="4563"/>
                </a:lnTo>
                <a:lnTo>
                  <a:pt x="1917" y="4605"/>
                </a:lnTo>
                <a:lnTo>
                  <a:pt x="1894" y="4643"/>
                </a:lnTo>
                <a:lnTo>
                  <a:pt x="1868" y="4678"/>
                </a:lnTo>
                <a:lnTo>
                  <a:pt x="1833" y="4706"/>
                </a:lnTo>
                <a:lnTo>
                  <a:pt x="1795" y="4727"/>
                </a:lnTo>
                <a:lnTo>
                  <a:pt x="1751" y="4739"/>
                </a:lnTo>
                <a:lnTo>
                  <a:pt x="1706" y="4744"/>
                </a:lnTo>
                <a:lnTo>
                  <a:pt x="1678" y="4742"/>
                </a:lnTo>
                <a:lnTo>
                  <a:pt x="1648" y="4737"/>
                </a:lnTo>
                <a:lnTo>
                  <a:pt x="1641" y="4734"/>
                </a:lnTo>
                <a:lnTo>
                  <a:pt x="1636" y="4730"/>
                </a:lnTo>
                <a:lnTo>
                  <a:pt x="1631" y="4723"/>
                </a:lnTo>
                <a:lnTo>
                  <a:pt x="1627" y="4716"/>
                </a:lnTo>
                <a:lnTo>
                  <a:pt x="1627" y="4701"/>
                </a:lnTo>
                <a:lnTo>
                  <a:pt x="1634" y="4688"/>
                </a:lnTo>
                <a:lnTo>
                  <a:pt x="1737" y="4585"/>
                </a:lnTo>
                <a:lnTo>
                  <a:pt x="1750" y="4568"/>
                </a:lnTo>
                <a:lnTo>
                  <a:pt x="1755" y="4550"/>
                </a:lnTo>
                <a:lnTo>
                  <a:pt x="1755" y="4529"/>
                </a:lnTo>
                <a:lnTo>
                  <a:pt x="1750" y="4512"/>
                </a:lnTo>
                <a:lnTo>
                  <a:pt x="1737" y="4495"/>
                </a:lnTo>
                <a:lnTo>
                  <a:pt x="1720" y="4482"/>
                </a:lnTo>
                <a:lnTo>
                  <a:pt x="1702" y="4477"/>
                </a:lnTo>
                <a:lnTo>
                  <a:pt x="1682" y="4477"/>
                </a:lnTo>
                <a:lnTo>
                  <a:pt x="1664" y="4482"/>
                </a:lnTo>
                <a:lnTo>
                  <a:pt x="1647" y="4495"/>
                </a:lnTo>
                <a:lnTo>
                  <a:pt x="1544" y="4599"/>
                </a:lnTo>
                <a:lnTo>
                  <a:pt x="1535" y="4605"/>
                </a:lnTo>
                <a:lnTo>
                  <a:pt x="1525" y="4608"/>
                </a:lnTo>
                <a:lnTo>
                  <a:pt x="1514" y="4608"/>
                </a:lnTo>
                <a:lnTo>
                  <a:pt x="1509" y="4606"/>
                </a:lnTo>
                <a:lnTo>
                  <a:pt x="1502" y="4605"/>
                </a:lnTo>
                <a:lnTo>
                  <a:pt x="1497" y="4601"/>
                </a:lnTo>
                <a:lnTo>
                  <a:pt x="1493" y="4596"/>
                </a:lnTo>
                <a:lnTo>
                  <a:pt x="1491" y="4591"/>
                </a:lnTo>
                <a:lnTo>
                  <a:pt x="1481" y="4552"/>
                </a:lnTo>
                <a:lnTo>
                  <a:pt x="1477" y="4515"/>
                </a:lnTo>
                <a:lnTo>
                  <a:pt x="1483" y="4470"/>
                </a:lnTo>
                <a:lnTo>
                  <a:pt x="1497" y="4426"/>
                </a:lnTo>
                <a:lnTo>
                  <a:pt x="1518" y="4388"/>
                </a:lnTo>
                <a:lnTo>
                  <a:pt x="1545" y="4355"/>
                </a:lnTo>
                <a:lnTo>
                  <a:pt x="1579" y="4327"/>
                </a:lnTo>
                <a:lnTo>
                  <a:pt x="1617" y="4306"/>
                </a:lnTo>
                <a:lnTo>
                  <a:pt x="1661" y="4292"/>
                </a:lnTo>
                <a:lnTo>
                  <a:pt x="1706" y="4289"/>
                </a:lnTo>
                <a:lnTo>
                  <a:pt x="1734" y="4289"/>
                </a:lnTo>
                <a:lnTo>
                  <a:pt x="1762" y="4294"/>
                </a:lnTo>
                <a:lnTo>
                  <a:pt x="1936" y="4119"/>
                </a:lnTo>
                <a:lnTo>
                  <a:pt x="1950" y="4111"/>
                </a:lnTo>
                <a:lnTo>
                  <a:pt x="1964" y="4111"/>
                </a:lnTo>
                <a:close/>
                <a:moveTo>
                  <a:pt x="4111" y="4041"/>
                </a:moveTo>
                <a:lnTo>
                  <a:pt x="4047" y="4084"/>
                </a:lnTo>
                <a:lnTo>
                  <a:pt x="3975" y="4125"/>
                </a:lnTo>
                <a:lnTo>
                  <a:pt x="3900" y="4159"/>
                </a:lnTo>
                <a:lnTo>
                  <a:pt x="3822" y="4193"/>
                </a:lnTo>
                <a:lnTo>
                  <a:pt x="3740" y="4221"/>
                </a:lnTo>
                <a:lnTo>
                  <a:pt x="3660" y="4247"/>
                </a:lnTo>
                <a:lnTo>
                  <a:pt x="3581" y="4269"/>
                </a:lnTo>
                <a:lnTo>
                  <a:pt x="3469" y="4297"/>
                </a:lnTo>
                <a:lnTo>
                  <a:pt x="3351" y="4323"/>
                </a:lnTo>
                <a:lnTo>
                  <a:pt x="3307" y="4442"/>
                </a:lnTo>
                <a:lnTo>
                  <a:pt x="3257" y="4563"/>
                </a:lnTo>
                <a:lnTo>
                  <a:pt x="3197" y="4688"/>
                </a:lnTo>
                <a:lnTo>
                  <a:pt x="3129" y="4812"/>
                </a:lnTo>
                <a:lnTo>
                  <a:pt x="3051" y="4940"/>
                </a:lnTo>
                <a:lnTo>
                  <a:pt x="2962" y="5065"/>
                </a:lnTo>
                <a:lnTo>
                  <a:pt x="3112" y="5044"/>
                </a:lnTo>
                <a:lnTo>
                  <a:pt x="3251" y="5022"/>
                </a:lnTo>
                <a:lnTo>
                  <a:pt x="3380" y="4995"/>
                </a:lnTo>
                <a:lnTo>
                  <a:pt x="3499" y="4968"/>
                </a:lnTo>
                <a:lnTo>
                  <a:pt x="3607" y="4938"/>
                </a:lnTo>
                <a:lnTo>
                  <a:pt x="3705" y="4906"/>
                </a:lnTo>
                <a:lnTo>
                  <a:pt x="3792" y="4875"/>
                </a:lnTo>
                <a:lnTo>
                  <a:pt x="3869" y="4842"/>
                </a:lnTo>
                <a:lnTo>
                  <a:pt x="3935" y="4807"/>
                </a:lnTo>
                <a:lnTo>
                  <a:pt x="3991" y="4774"/>
                </a:lnTo>
                <a:lnTo>
                  <a:pt x="4036" y="4739"/>
                </a:lnTo>
                <a:lnTo>
                  <a:pt x="4071" y="4706"/>
                </a:lnTo>
                <a:lnTo>
                  <a:pt x="4097" y="4673"/>
                </a:lnTo>
                <a:lnTo>
                  <a:pt x="4111" y="4641"/>
                </a:lnTo>
                <a:lnTo>
                  <a:pt x="4117" y="4627"/>
                </a:lnTo>
                <a:lnTo>
                  <a:pt x="4117" y="4613"/>
                </a:lnTo>
                <a:lnTo>
                  <a:pt x="4117" y="4603"/>
                </a:lnTo>
                <a:lnTo>
                  <a:pt x="4117" y="4584"/>
                </a:lnTo>
                <a:lnTo>
                  <a:pt x="4117" y="4554"/>
                </a:lnTo>
                <a:lnTo>
                  <a:pt x="4117" y="4515"/>
                </a:lnTo>
                <a:lnTo>
                  <a:pt x="4115" y="4470"/>
                </a:lnTo>
                <a:lnTo>
                  <a:pt x="4115" y="4418"/>
                </a:lnTo>
                <a:lnTo>
                  <a:pt x="4115" y="4362"/>
                </a:lnTo>
                <a:lnTo>
                  <a:pt x="4113" y="4304"/>
                </a:lnTo>
                <a:lnTo>
                  <a:pt x="4113" y="4243"/>
                </a:lnTo>
                <a:lnTo>
                  <a:pt x="4113" y="4182"/>
                </a:lnTo>
                <a:lnTo>
                  <a:pt x="4111" y="4121"/>
                </a:lnTo>
                <a:lnTo>
                  <a:pt x="4111" y="4041"/>
                </a:lnTo>
                <a:close/>
                <a:moveTo>
                  <a:pt x="157" y="4039"/>
                </a:moveTo>
                <a:lnTo>
                  <a:pt x="157" y="4112"/>
                </a:lnTo>
                <a:lnTo>
                  <a:pt x="157" y="4186"/>
                </a:lnTo>
                <a:lnTo>
                  <a:pt x="157" y="4257"/>
                </a:lnTo>
                <a:lnTo>
                  <a:pt x="157" y="4325"/>
                </a:lnTo>
                <a:lnTo>
                  <a:pt x="157" y="4390"/>
                </a:lnTo>
                <a:lnTo>
                  <a:pt x="157" y="4451"/>
                </a:lnTo>
                <a:lnTo>
                  <a:pt x="157" y="4505"/>
                </a:lnTo>
                <a:lnTo>
                  <a:pt x="157" y="4552"/>
                </a:lnTo>
                <a:lnTo>
                  <a:pt x="157" y="4592"/>
                </a:lnTo>
                <a:lnTo>
                  <a:pt x="157" y="4622"/>
                </a:lnTo>
                <a:lnTo>
                  <a:pt x="157" y="4641"/>
                </a:lnTo>
                <a:lnTo>
                  <a:pt x="173" y="4674"/>
                </a:lnTo>
                <a:lnTo>
                  <a:pt x="201" y="4709"/>
                </a:lnTo>
                <a:lnTo>
                  <a:pt x="239" y="4744"/>
                </a:lnTo>
                <a:lnTo>
                  <a:pt x="290" y="4781"/>
                </a:lnTo>
                <a:lnTo>
                  <a:pt x="349" y="4816"/>
                </a:lnTo>
                <a:lnTo>
                  <a:pt x="420" y="4851"/>
                </a:lnTo>
                <a:lnTo>
                  <a:pt x="504" y="4884"/>
                </a:lnTo>
                <a:lnTo>
                  <a:pt x="597" y="4917"/>
                </a:lnTo>
                <a:lnTo>
                  <a:pt x="699" y="4948"/>
                </a:lnTo>
                <a:lnTo>
                  <a:pt x="813" y="4978"/>
                </a:lnTo>
                <a:lnTo>
                  <a:pt x="937" y="5004"/>
                </a:lnTo>
                <a:lnTo>
                  <a:pt x="1069" y="5030"/>
                </a:lnTo>
                <a:lnTo>
                  <a:pt x="1212" y="5053"/>
                </a:lnTo>
                <a:lnTo>
                  <a:pt x="1366" y="5072"/>
                </a:lnTo>
                <a:lnTo>
                  <a:pt x="1277" y="4947"/>
                </a:lnTo>
                <a:lnTo>
                  <a:pt x="1198" y="4823"/>
                </a:lnTo>
                <a:lnTo>
                  <a:pt x="1130" y="4697"/>
                </a:lnTo>
                <a:lnTo>
                  <a:pt x="1071" y="4575"/>
                </a:lnTo>
                <a:lnTo>
                  <a:pt x="1020" y="4453"/>
                </a:lnTo>
                <a:lnTo>
                  <a:pt x="979" y="4336"/>
                </a:lnTo>
                <a:lnTo>
                  <a:pt x="904" y="4320"/>
                </a:lnTo>
                <a:lnTo>
                  <a:pt x="832" y="4306"/>
                </a:lnTo>
                <a:lnTo>
                  <a:pt x="762" y="4289"/>
                </a:lnTo>
                <a:lnTo>
                  <a:pt x="687" y="4269"/>
                </a:lnTo>
                <a:lnTo>
                  <a:pt x="609" y="4247"/>
                </a:lnTo>
                <a:lnTo>
                  <a:pt x="529" y="4221"/>
                </a:lnTo>
                <a:lnTo>
                  <a:pt x="447" y="4191"/>
                </a:lnTo>
                <a:lnTo>
                  <a:pt x="368" y="4159"/>
                </a:lnTo>
                <a:lnTo>
                  <a:pt x="291" y="4123"/>
                </a:lnTo>
                <a:lnTo>
                  <a:pt x="222" y="4083"/>
                </a:lnTo>
                <a:lnTo>
                  <a:pt x="157" y="4039"/>
                </a:lnTo>
                <a:close/>
                <a:moveTo>
                  <a:pt x="1657" y="3447"/>
                </a:moveTo>
                <a:lnTo>
                  <a:pt x="1626" y="3451"/>
                </a:lnTo>
                <a:lnTo>
                  <a:pt x="1598" y="3463"/>
                </a:lnTo>
                <a:lnTo>
                  <a:pt x="1573" y="3482"/>
                </a:lnTo>
                <a:lnTo>
                  <a:pt x="1554" y="3507"/>
                </a:lnTo>
                <a:lnTo>
                  <a:pt x="1542" y="3535"/>
                </a:lnTo>
                <a:lnTo>
                  <a:pt x="1538" y="3566"/>
                </a:lnTo>
                <a:lnTo>
                  <a:pt x="1540" y="3592"/>
                </a:lnTo>
                <a:lnTo>
                  <a:pt x="1549" y="3617"/>
                </a:lnTo>
                <a:lnTo>
                  <a:pt x="1561" y="3638"/>
                </a:lnTo>
                <a:lnTo>
                  <a:pt x="1572" y="3648"/>
                </a:lnTo>
                <a:lnTo>
                  <a:pt x="1835" y="3898"/>
                </a:lnTo>
                <a:lnTo>
                  <a:pt x="2123" y="4084"/>
                </a:lnTo>
                <a:lnTo>
                  <a:pt x="2133" y="4095"/>
                </a:lnTo>
                <a:lnTo>
                  <a:pt x="2137" y="4109"/>
                </a:lnTo>
                <a:lnTo>
                  <a:pt x="2133" y="4123"/>
                </a:lnTo>
                <a:lnTo>
                  <a:pt x="2132" y="4130"/>
                </a:lnTo>
                <a:lnTo>
                  <a:pt x="2130" y="4135"/>
                </a:lnTo>
                <a:lnTo>
                  <a:pt x="2132" y="4140"/>
                </a:lnTo>
                <a:lnTo>
                  <a:pt x="2135" y="4145"/>
                </a:lnTo>
                <a:lnTo>
                  <a:pt x="2140" y="4149"/>
                </a:lnTo>
                <a:lnTo>
                  <a:pt x="2145" y="4151"/>
                </a:lnTo>
                <a:lnTo>
                  <a:pt x="2152" y="4151"/>
                </a:lnTo>
                <a:lnTo>
                  <a:pt x="2158" y="4149"/>
                </a:lnTo>
                <a:lnTo>
                  <a:pt x="2163" y="4145"/>
                </a:lnTo>
                <a:lnTo>
                  <a:pt x="2198" y="4111"/>
                </a:lnTo>
                <a:lnTo>
                  <a:pt x="2198" y="4111"/>
                </a:lnTo>
                <a:lnTo>
                  <a:pt x="2200" y="4109"/>
                </a:lnTo>
                <a:lnTo>
                  <a:pt x="2238" y="4072"/>
                </a:lnTo>
                <a:lnTo>
                  <a:pt x="2240" y="4067"/>
                </a:lnTo>
                <a:lnTo>
                  <a:pt x="2241" y="4063"/>
                </a:lnTo>
                <a:lnTo>
                  <a:pt x="2243" y="4058"/>
                </a:lnTo>
                <a:lnTo>
                  <a:pt x="2241" y="4053"/>
                </a:lnTo>
                <a:lnTo>
                  <a:pt x="2240" y="4048"/>
                </a:lnTo>
                <a:lnTo>
                  <a:pt x="2238" y="4044"/>
                </a:lnTo>
                <a:lnTo>
                  <a:pt x="2233" y="4041"/>
                </a:lnTo>
                <a:lnTo>
                  <a:pt x="2226" y="4039"/>
                </a:lnTo>
                <a:lnTo>
                  <a:pt x="2220" y="4039"/>
                </a:lnTo>
                <a:lnTo>
                  <a:pt x="2215" y="4041"/>
                </a:lnTo>
                <a:lnTo>
                  <a:pt x="2200" y="4046"/>
                </a:lnTo>
                <a:lnTo>
                  <a:pt x="2186" y="4042"/>
                </a:lnTo>
                <a:lnTo>
                  <a:pt x="2175" y="4032"/>
                </a:lnTo>
                <a:lnTo>
                  <a:pt x="1980" y="3734"/>
                </a:lnTo>
                <a:lnTo>
                  <a:pt x="1737" y="3477"/>
                </a:lnTo>
                <a:lnTo>
                  <a:pt x="1713" y="3461"/>
                </a:lnTo>
                <a:lnTo>
                  <a:pt x="1687" y="3451"/>
                </a:lnTo>
                <a:lnTo>
                  <a:pt x="1657" y="3447"/>
                </a:lnTo>
                <a:close/>
                <a:moveTo>
                  <a:pt x="1657" y="3388"/>
                </a:moveTo>
                <a:lnTo>
                  <a:pt x="1690" y="3391"/>
                </a:lnTo>
                <a:lnTo>
                  <a:pt x="1722" y="3400"/>
                </a:lnTo>
                <a:lnTo>
                  <a:pt x="1750" y="3414"/>
                </a:lnTo>
                <a:lnTo>
                  <a:pt x="1776" y="3433"/>
                </a:lnTo>
                <a:lnTo>
                  <a:pt x="1777" y="3433"/>
                </a:lnTo>
                <a:lnTo>
                  <a:pt x="1779" y="3435"/>
                </a:lnTo>
                <a:lnTo>
                  <a:pt x="1781" y="3437"/>
                </a:lnTo>
                <a:lnTo>
                  <a:pt x="2027" y="3699"/>
                </a:lnTo>
                <a:lnTo>
                  <a:pt x="2212" y="3981"/>
                </a:lnTo>
                <a:lnTo>
                  <a:pt x="2236" y="3981"/>
                </a:lnTo>
                <a:lnTo>
                  <a:pt x="2259" y="3988"/>
                </a:lnTo>
                <a:lnTo>
                  <a:pt x="2278" y="4002"/>
                </a:lnTo>
                <a:lnTo>
                  <a:pt x="2290" y="4020"/>
                </a:lnTo>
                <a:lnTo>
                  <a:pt x="2299" y="4037"/>
                </a:lnTo>
                <a:lnTo>
                  <a:pt x="2301" y="4058"/>
                </a:lnTo>
                <a:lnTo>
                  <a:pt x="2299" y="4079"/>
                </a:lnTo>
                <a:lnTo>
                  <a:pt x="2290" y="4097"/>
                </a:lnTo>
                <a:lnTo>
                  <a:pt x="2278" y="4112"/>
                </a:lnTo>
                <a:lnTo>
                  <a:pt x="2261" y="4131"/>
                </a:lnTo>
                <a:lnTo>
                  <a:pt x="2824" y="4694"/>
                </a:lnTo>
                <a:lnTo>
                  <a:pt x="2833" y="4707"/>
                </a:lnTo>
                <a:lnTo>
                  <a:pt x="2833" y="4721"/>
                </a:lnTo>
                <a:lnTo>
                  <a:pt x="2824" y="4735"/>
                </a:lnTo>
                <a:lnTo>
                  <a:pt x="2819" y="4741"/>
                </a:lnTo>
                <a:lnTo>
                  <a:pt x="2812" y="4742"/>
                </a:lnTo>
                <a:lnTo>
                  <a:pt x="2803" y="4744"/>
                </a:lnTo>
                <a:lnTo>
                  <a:pt x="2796" y="4742"/>
                </a:lnTo>
                <a:lnTo>
                  <a:pt x="2789" y="4741"/>
                </a:lnTo>
                <a:lnTo>
                  <a:pt x="2784" y="4735"/>
                </a:lnTo>
                <a:lnTo>
                  <a:pt x="2219" y="4173"/>
                </a:lnTo>
                <a:lnTo>
                  <a:pt x="2205" y="4187"/>
                </a:lnTo>
                <a:lnTo>
                  <a:pt x="2187" y="4200"/>
                </a:lnTo>
                <a:lnTo>
                  <a:pt x="2170" y="4208"/>
                </a:lnTo>
                <a:lnTo>
                  <a:pt x="2149" y="4210"/>
                </a:lnTo>
                <a:lnTo>
                  <a:pt x="2128" y="4208"/>
                </a:lnTo>
                <a:lnTo>
                  <a:pt x="2111" y="4200"/>
                </a:lnTo>
                <a:lnTo>
                  <a:pt x="2095" y="4187"/>
                </a:lnTo>
                <a:lnTo>
                  <a:pt x="2079" y="4168"/>
                </a:lnTo>
                <a:lnTo>
                  <a:pt x="2072" y="4145"/>
                </a:lnTo>
                <a:lnTo>
                  <a:pt x="2072" y="4123"/>
                </a:lnTo>
                <a:lnTo>
                  <a:pt x="1798" y="3945"/>
                </a:lnTo>
                <a:lnTo>
                  <a:pt x="1516" y="3674"/>
                </a:lnTo>
                <a:lnTo>
                  <a:pt x="1495" y="3641"/>
                </a:lnTo>
                <a:lnTo>
                  <a:pt x="1483" y="3604"/>
                </a:lnTo>
                <a:lnTo>
                  <a:pt x="1479" y="3566"/>
                </a:lnTo>
                <a:lnTo>
                  <a:pt x="1484" y="3526"/>
                </a:lnTo>
                <a:lnTo>
                  <a:pt x="1498" y="3487"/>
                </a:lnTo>
                <a:lnTo>
                  <a:pt x="1519" y="3454"/>
                </a:lnTo>
                <a:lnTo>
                  <a:pt x="1545" y="3428"/>
                </a:lnTo>
                <a:lnTo>
                  <a:pt x="1579" y="3405"/>
                </a:lnTo>
                <a:lnTo>
                  <a:pt x="1617" y="3393"/>
                </a:lnTo>
                <a:lnTo>
                  <a:pt x="1657" y="3388"/>
                </a:lnTo>
                <a:close/>
                <a:moveTo>
                  <a:pt x="2606" y="3386"/>
                </a:moveTo>
                <a:lnTo>
                  <a:pt x="2643" y="3390"/>
                </a:lnTo>
                <a:lnTo>
                  <a:pt x="2678" y="3398"/>
                </a:lnTo>
                <a:lnTo>
                  <a:pt x="2684" y="3402"/>
                </a:lnTo>
                <a:lnTo>
                  <a:pt x="2691" y="3407"/>
                </a:lnTo>
                <a:lnTo>
                  <a:pt x="2695" y="3412"/>
                </a:lnTo>
                <a:lnTo>
                  <a:pt x="2698" y="3419"/>
                </a:lnTo>
                <a:lnTo>
                  <a:pt x="2700" y="3430"/>
                </a:lnTo>
                <a:lnTo>
                  <a:pt x="2698" y="3440"/>
                </a:lnTo>
                <a:lnTo>
                  <a:pt x="2693" y="3449"/>
                </a:lnTo>
                <a:lnTo>
                  <a:pt x="2585" y="3555"/>
                </a:lnTo>
                <a:lnTo>
                  <a:pt x="2573" y="3573"/>
                </a:lnTo>
                <a:lnTo>
                  <a:pt x="2568" y="3592"/>
                </a:lnTo>
                <a:lnTo>
                  <a:pt x="2568" y="3611"/>
                </a:lnTo>
                <a:lnTo>
                  <a:pt x="2573" y="3629"/>
                </a:lnTo>
                <a:lnTo>
                  <a:pt x="2585" y="3646"/>
                </a:lnTo>
                <a:lnTo>
                  <a:pt x="2602" y="3658"/>
                </a:lnTo>
                <a:lnTo>
                  <a:pt x="2620" y="3664"/>
                </a:lnTo>
                <a:lnTo>
                  <a:pt x="2641" y="3664"/>
                </a:lnTo>
                <a:lnTo>
                  <a:pt x="2658" y="3658"/>
                </a:lnTo>
                <a:lnTo>
                  <a:pt x="2676" y="3646"/>
                </a:lnTo>
                <a:lnTo>
                  <a:pt x="2777" y="3543"/>
                </a:lnTo>
                <a:lnTo>
                  <a:pt x="2791" y="3536"/>
                </a:lnTo>
                <a:lnTo>
                  <a:pt x="2807" y="3536"/>
                </a:lnTo>
                <a:lnTo>
                  <a:pt x="2814" y="3540"/>
                </a:lnTo>
                <a:lnTo>
                  <a:pt x="2819" y="3543"/>
                </a:lnTo>
                <a:lnTo>
                  <a:pt x="2824" y="3550"/>
                </a:lnTo>
                <a:lnTo>
                  <a:pt x="2828" y="3557"/>
                </a:lnTo>
                <a:lnTo>
                  <a:pt x="2833" y="3587"/>
                </a:lnTo>
                <a:lnTo>
                  <a:pt x="2834" y="3615"/>
                </a:lnTo>
                <a:lnTo>
                  <a:pt x="2829" y="3660"/>
                </a:lnTo>
                <a:lnTo>
                  <a:pt x="2817" y="3704"/>
                </a:lnTo>
                <a:lnTo>
                  <a:pt x="2796" y="3742"/>
                </a:lnTo>
                <a:lnTo>
                  <a:pt x="2768" y="3777"/>
                </a:lnTo>
                <a:lnTo>
                  <a:pt x="2733" y="3805"/>
                </a:lnTo>
                <a:lnTo>
                  <a:pt x="2695" y="3826"/>
                </a:lnTo>
                <a:lnTo>
                  <a:pt x="2653" y="3838"/>
                </a:lnTo>
                <a:lnTo>
                  <a:pt x="2606" y="3843"/>
                </a:lnTo>
                <a:lnTo>
                  <a:pt x="2559" y="3838"/>
                </a:lnTo>
                <a:lnTo>
                  <a:pt x="2381" y="4016"/>
                </a:lnTo>
                <a:lnTo>
                  <a:pt x="2374" y="4022"/>
                </a:lnTo>
                <a:lnTo>
                  <a:pt x="2367" y="4023"/>
                </a:lnTo>
                <a:lnTo>
                  <a:pt x="2360" y="4025"/>
                </a:lnTo>
                <a:lnTo>
                  <a:pt x="2353" y="4023"/>
                </a:lnTo>
                <a:lnTo>
                  <a:pt x="2344" y="4022"/>
                </a:lnTo>
                <a:lnTo>
                  <a:pt x="2339" y="4016"/>
                </a:lnTo>
                <a:lnTo>
                  <a:pt x="2330" y="4002"/>
                </a:lnTo>
                <a:lnTo>
                  <a:pt x="2330" y="3988"/>
                </a:lnTo>
                <a:lnTo>
                  <a:pt x="2339" y="3974"/>
                </a:lnTo>
                <a:lnTo>
                  <a:pt x="2529" y="3784"/>
                </a:lnTo>
                <a:lnTo>
                  <a:pt x="2543" y="3777"/>
                </a:lnTo>
                <a:lnTo>
                  <a:pt x="2557" y="3777"/>
                </a:lnTo>
                <a:lnTo>
                  <a:pt x="2597" y="3784"/>
                </a:lnTo>
                <a:lnTo>
                  <a:pt x="2634" y="3782"/>
                </a:lnTo>
                <a:lnTo>
                  <a:pt x="2671" y="3772"/>
                </a:lnTo>
                <a:lnTo>
                  <a:pt x="2702" y="3753"/>
                </a:lnTo>
                <a:lnTo>
                  <a:pt x="2730" y="3730"/>
                </a:lnTo>
                <a:lnTo>
                  <a:pt x="2753" y="3700"/>
                </a:lnTo>
                <a:lnTo>
                  <a:pt x="2768" y="3667"/>
                </a:lnTo>
                <a:lnTo>
                  <a:pt x="2775" y="3629"/>
                </a:lnTo>
                <a:lnTo>
                  <a:pt x="2718" y="3688"/>
                </a:lnTo>
                <a:lnTo>
                  <a:pt x="2691" y="3707"/>
                </a:lnTo>
                <a:lnTo>
                  <a:pt x="2662" y="3720"/>
                </a:lnTo>
                <a:lnTo>
                  <a:pt x="2630" y="3723"/>
                </a:lnTo>
                <a:lnTo>
                  <a:pt x="2599" y="3720"/>
                </a:lnTo>
                <a:lnTo>
                  <a:pt x="2569" y="3707"/>
                </a:lnTo>
                <a:lnTo>
                  <a:pt x="2543" y="3688"/>
                </a:lnTo>
                <a:lnTo>
                  <a:pt x="2524" y="3662"/>
                </a:lnTo>
                <a:lnTo>
                  <a:pt x="2512" y="3632"/>
                </a:lnTo>
                <a:lnTo>
                  <a:pt x="2508" y="3601"/>
                </a:lnTo>
                <a:lnTo>
                  <a:pt x="2512" y="3569"/>
                </a:lnTo>
                <a:lnTo>
                  <a:pt x="2524" y="3540"/>
                </a:lnTo>
                <a:lnTo>
                  <a:pt x="2543" y="3514"/>
                </a:lnTo>
                <a:lnTo>
                  <a:pt x="2613" y="3446"/>
                </a:lnTo>
                <a:lnTo>
                  <a:pt x="2573" y="3449"/>
                </a:lnTo>
                <a:lnTo>
                  <a:pt x="2536" y="3461"/>
                </a:lnTo>
                <a:lnTo>
                  <a:pt x="2503" y="3480"/>
                </a:lnTo>
                <a:lnTo>
                  <a:pt x="2477" y="3507"/>
                </a:lnTo>
                <a:lnTo>
                  <a:pt x="2456" y="3540"/>
                </a:lnTo>
                <a:lnTo>
                  <a:pt x="2442" y="3575"/>
                </a:lnTo>
                <a:lnTo>
                  <a:pt x="2437" y="3615"/>
                </a:lnTo>
                <a:lnTo>
                  <a:pt x="2439" y="3639"/>
                </a:lnTo>
                <a:lnTo>
                  <a:pt x="2444" y="3664"/>
                </a:lnTo>
                <a:lnTo>
                  <a:pt x="2446" y="3676"/>
                </a:lnTo>
                <a:lnTo>
                  <a:pt x="2444" y="3690"/>
                </a:lnTo>
                <a:lnTo>
                  <a:pt x="2439" y="3699"/>
                </a:lnTo>
                <a:lnTo>
                  <a:pt x="2252" y="3887"/>
                </a:lnTo>
                <a:lnTo>
                  <a:pt x="2238" y="3894"/>
                </a:lnTo>
                <a:lnTo>
                  <a:pt x="2222" y="3894"/>
                </a:lnTo>
                <a:lnTo>
                  <a:pt x="2210" y="3887"/>
                </a:lnTo>
                <a:lnTo>
                  <a:pt x="2201" y="3873"/>
                </a:lnTo>
                <a:lnTo>
                  <a:pt x="2201" y="3859"/>
                </a:lnTo>
                <a:lnTo>
                  <a:pt x="2210" y="3845"/>
                </a:lnTo>
                <a:lnTo>
                  <a:pt x="2384" y="3669"/>
                </a:lnTo>
                <a:lnTo>
                  <a:pt x="2379" y="3641"/>
                </a:lnTo>
                <a:lnTo>
                  <a:pt x="2377" y="3615"/>
                </a:lnTo>
                <a:lnTo>
                  <a:pt x="2383" y="3569"/>
                </a:lnTo>
                <a:lnTo>
                  <a:pt x="2397" y="3526"/>
                </a:lnTo>
                <a:lnTo>
                  <a:pt x="2418" y="3487"/>
                </a:lnTo>
                <a:lnTo>
                  <a:pt x="2446" y="3454"/>
                </a:lnTo>
                <a:lnTo>
                  <a:pt x="2479" y="3426"/>
                </a:lnTo>
                <a:lnTo>
                  <a:pt x="2517" y="3405"/>
                </a:lnTo>
                <a:lnTo>
                  <a:pt x="2561" y="3391"/>
                </a:lnTo>
                <a:lnTo>
                  <a:pt x="2606" y="3386"/>
                </a:lnTo>
                <a:close/>
                <a:moveTo>
                  <a:pt x="2166" y="2943"/>
                </a:moveTo>
                <a:lnTo>
                  <a:pt x="2044" y="2948"/>
                </a:lnTo>
                <a:lnTo>
                  <a:pt x="1924" y="2962"/>
                </a:lnTo>
                <a:lnTo>
                  <a:pt x="1805" y="2986"/>
                </a:lnTo>
                <a:lnTo>
                  <a:pt x="1690" y="3020"/>
                </a:lnTo>
                <a:lnTo>
                  <a:pt x="1579" y="3060"/>
                </a:lnTo>
                <a:lnTo>
                  <a:pt x="1470" y="3110"/>
                </a:lnTo>
                <a:lnTo>
                  <a:pt x="1366" y="3168"/>
                </a:lnTo>
                <a:lnTo>
                  <a:pt x="1266" y="3234"/>
                </a:lnTo>
                <a:lnTo>
                  <a:pt x="1172" y="3308"/>
                </a:lnTo>
                <a:lnTo>
                  <a:pt x="1083" y="3390"/>
                </a:lnTo>
                <a:lnTo>
                  <a:pt x="1001" y="3479"/>
                </a:lnTo>
                <a:lnTo>
                  <a:pt x="1001" y="3503"/>
                </a:lnTo>
                <a:lnTo>
                  <a:pt x="999" y="3535"/>
                </a:lnTo>
                <a:lnTo>
                  <a:pt x="1001" y="3575"/>
                </a:lnTo>
                <a:lnTo>
                  <a:pt x="1001" y="3620"/>
                </a:lnTo>
                <a:lnTo>
                  <a:pt x="1005" y="3674"/>
                </a:lnTo>
                <a:lnTo>
                  <a:pt x="1010" y="3732"/>
                </a:lnTo>
                <a:lnTo>
                  <a:pt x="1017" y="3796"/>
                </a:lnTo>
                <a:lnTo>
                  <a:pt x="1026" y="3866"/>
                </a:lnTo>
                <a:lnTo>
                  <a:pt x="1038" y="3941"/>
                </a:lnTo>
                <a:lnTo>
                  <a:pt x="1054" y="4020"/>
                </a:lnTo>
                <a:lnTo>
                  <a:pt x="1073" y="4102"/>
                </a:lnTo>
                <a:lnTo>
                  <a:pt x="1097" y="4189"/>
                </a:lnTo>
                <a:lnTo>
                  <a:pt x="1123" y="4278"/>
                </a:lnTo>
                <a:lnTo>
                  <a:pt x="1156" y="4369"/>
                </a:lnTo>
                <a:lnTo>
                  <a:pt x="1193" y="4463"/>
                </a:lnTo>
                <a:lnTo>
                  <a:pt x="1235" y="4557"/>
                </a:lnTo>
                <a:lnTo>
                  <a:pt x="1284" y="4655"/>
                </a:lnTo>
                <a:lnTo>
                  <a:pt x="1338" y="4751"/>
                </a:lnTo>
                <a:lnTo>
                  <a:pt x="1399" y="4849"/>
                </a:lnTo>
                <a:lnTo>
                  <a:pt x="1467" y="4947"/>
                </a:lnTo>
                <a:lnTo>
                  <a:pt x="1542" y="5044"/>
                </a:lnTo>
                <a:lnTo>
                  <a:pt x="1624" y="5140"/>
                </a:lnTo>
                <a:lnTo>
                  <a:pt x="1715" y="5235"/>
                </a:lnTo>
                <a:lnTo>
                  <a:pt x="1814" y="5327"/>
                </a:lnTo>
                <a:lnTo>
                  <a:pt x="1920" y="5418"/>
                </a:lnTo>
                <a:lnTo>
                  <a:pt x="2037" y="5505"/>
                </a:lnTo>
                <a:lnTo>
                  <a:pt x="2163" y="5589"/>
                </a:lnTo>
                <a:lnTo>
                  <a:pt x="2287" y="5503"/>
                </a:lnTo>
                <a:lnTo>
                  <a:pt x="2404" y="5416"/>
                </a:lnTo>
                <a:lnTo>
                  <a:pt x="2510" y="5325"/>
                </a:lnTo>
                <a:lnTo>
                  <a:pt x="2609" y="5233"/>
                </a:lnTo>
                <a:lnTo>
                  <a:pt x="2698" y="5139"/>
                </a:lnTo>
                <a:lnTo>
                  <a:pt x="2782" y="5043"/>
                </a:lnTo>
                <a:lnTo>
                  <a:pt x="2857" y="4945"/>
                </a:lnTo>
                <a:lnTo>
                  <a:pt x="2925" y="4847"/>
                </a:lnTo>
                <a:lnTo>
                  <a:pt x="2986" y="4749"/>
                </a:lnTo>
                <a:lnTo>
                  <a:pt x="3040" y="4653"/>
                </a:lnTo>
                <a:lnTo>
                  <a:pt x="3089" y="4556"/>
                </a:lnTo>
                <a:lnTo>
                  <a:pt x="3131" y="4461"/>
                </a:lnTo>
                <a:lnTo>
                  <a:pt x="3169" y="4367"/>
                </a:lnTo>
                <a:lnTo>
                  <a:pt x="3203" y="4276"/>
                </a:lnTo>
                <a:lnTo>
                  <a:pt x="3230" y="4187"/>
                </a:lnTo>
                <a:lnTo>
                  <a:pt x="3253" y="4102"/>
                </a:lnTo>
                <a:lnTo>
                  <a:pt x="3272" y="4018"/>
                </a:lnTo>
                <a:lnTo>
                  <a:pt x="3290" y="3939"/>
                </a:lnTo>
                <a:lnTo>
                  <a:pt x="3302" y="3866"/>
                </a:lnTo>
                <a:lnTo>
                  <a:pt x="3312" y="3796"/>
                </a:lnTo>
                <a:lnTo>
                  <a:pt x="3319" y="3732"/>
                </a:lnTo>
                <a:lnTo>
                  <a:pt x="3325" y="3672"/>
                </a:lnTo>
                <a:lnTo>
                  <a:pt x="3328" y="3620"/>
                </a:lnTo>
                <a:lnTo>
                  <a:pt x="3330" y="3573"/>
                </a:lnTo>
                <a:lnTo>
                  <a:pt x="3330" y="3535"/>
                </a:lnTo>
                <a:lnTo>
                  <a:pt x="3330" y="3501"/>
                </a:lnTo>
                <a:lnTo>
                  <a:pt x="3328" y="3477"/>
                </a:lnTo>
                <a:lnTo>
                  <a:pt x="3244" y="3388"/>
                </a:lnTo>
                <a:lnTo>
                  <a:pt x="3155" y="3306"/>
                </a:lnTo>
                <a:lnTo>
                  <a:pt x="3061" y="3233"/>
                </a:lnTo>
                <a:lnTo>
                  <a:pt x="2962" y="3166"/>
                </a:lnTo>
                <a:lnTo>
                  <a:pt x="2857" y="3109"/>
                </a:lnTo>
                <a:lnTo>
                  <a:pt x="2749" y="3060"/>
                </a:lnTo>
                <a:lnTo>
                  <a:pt x="2637" y="3018"/>
                </a:lnTo>
                <a:lnTo>
                  <a:pt x="2524" y="2986"/>
                </a:lnTo>
                <a:lnTo>
                  <a:pt x="2407" y="2962"/>
                </a:lnTo>
                <a:lnTo>
                  <a:pt x="2289" y="2948"/>
                </a:lnTo>
                <a:lnTo>
                  <a:pt x="2170" y="2943"/>
                </a:lnTo>
                <a:lnTo>
                  <a:pt x="2166" y="2943"/>
                </a:lnTo>
                <a:close/>
                <a:moveTo>
                  <a:pt x="4111" y="2550"/>
                </a:moveTo>
                <a:lnTo>
                  <a:pt x="4047" y="2594"/>
                </a:lnTo>
                <a:lnTo>
                  <a:pt x="3975" y="2634"/>
                </a:lnTo>
                <a:lnTo>
                  <a:pt x="3900" y="2669"/>
                </a:lnTo>
                <a:lnTo>
                  <a:pt x="3822" y="2702"/>
                </a:lnTo>
                <a:lnTo>
                  <a:pt x="3740" y="2730"/>
                </a:lnTo>
                <a:lnTo>
                  <a:pt x="3660" y="2756"/>
                </a:lnTo>
                <a:lnTo>
                  <a:pt x="3581" y="2779"/>
                </a:lnTo>
                <a:lnTo>
                  <a:pt x="3442" y="2814"/>
                </a:lnTo>
                <a:lnTo>
                  <a:pt x="3293" y="2843"/>
                </a:lnTo>
                <a:lnTo>
                  <a:pt x="3136" y="2871"/>
                </a:lnTo>
                <a:lnTo>
                  <a:pt x="2972" y="2892"/>
                </a:lnTo>
                <a:lnTo>
                  <a:pt x="2803" y="2911"/>
                </a:lnTo>
                <a:lnTo>
                  <a:pt x="2909" y="2960"/>
                </a:lnTo>
                <a:lnTo>
                  <a:pt x="3012" y="3014"/>
                </a:lnTo>
                <a:lnTo>
                  <a:pt x="3112" y="3077"/>
                </a:lnTo>
                <a:lnTo>
                  <a:pt x="3208" y="3147"/>
                </a:lnTo>
                <a:lnTo>
                  <a:pt x="3298" y="3224"/>
                </a:lnTo>
                <a:lnTo>
                  <a:pt x="3384" y="3306"/>
                </a:lnTo>
                <a:lnTo>
                  <a:pt x="3466" y="3397"/>
                </a:lnTo>
                <a:lnTo>
                  <a:pt x="3478" y="3416"/>
                </a:lnTo>
                <a:lnTo>
                  <a:pt x="3483" y="3440"/>
                </a:lnTo>
                <a:lnTo>
                  <a:pt x="3483" y="3446"/>
                </a:lnTo>
                <a:lnTo>
                  <a:pt x="3485" y="3458"/>
                </a:lnTo>
                <a:lnTo>
                  <a:pt x="3485" y="3479"/>
                </a:lnTo>
                <a:lnTo>
                  <a:pt x="3593" y="3451"/>
                </a:lnTo>
                <a:lnTo>
                  <a:pt x="3689" y="3419"/>
                </a:lnTo>
                <a:lnTo>
                  <a:pt x="3776" y="3390"/>
                </a:lnTo>
                <a:lnTo>
                  <a:pt x="3851" y="3358"/>
                </a:lnTo>
                <a:lnTo>
                  <a:pt x="3916" y="3327"/>
                </a:lnTo>
                <a:lnTo>
                  <a:pt x="3970" y="3295"/>
                </a:lnTo>
                <a:lnTo>
                  <a:pt x="4015" y="3264"/>
                </a:lnTo>
                <a:lnTo>
                  <a:pt x="4052" y="3234"/>
                </a:lnTo>
                <a:lnTo>
                  <a:pt x="4080" y="3205"/>
                </a:lnTo>
                <a:lnTo>
                  <a:pt x="4101" y="3177"/>
                </a:lnTo>
                <a:lnTo>
                  <a:pt x="4111" y="3151"/>
                </a:lnTo>
                <a:lnTo>
                  <a:pt x="4117" y="3137"/>
                </a:lnTo>
                <a:lnTo>
                  <a:pt x="4117" y="3123"/>
                </a:lnTo>
                <a:lnTo>
                  <a:pt x="4117" y="3112"/>
                </a:lnTo>
                <a:lnTo>
                  <a:pt x="4117" y="3093"/>
                </a:lnTo>
                <a:lnTo>
                  <a:pt x="4117" y="3063"/>
                </a:lnTo>
                <a:lnTo>
                  <a:pt x="4117" y="3025"/>
                </a:lnTo>
                <a:lnTo>
                  <a:pt x="4115" y="2979"/>
                </a:lnTo>
                <a:lnTo>
                  <a:pt x="4115" y="2927"/>
                </a:lnTo>
                <a:lnTo>
                  <a:pt x="4115" y="2871"/>
                </a:lnTo>
                <a:lnTo>
                  <a:pt x="4113" y="2812"/>
                </a:lnTo>
                <a:lnTo>
                  <a:pt x="4113" y="2753"/>
                </a:lnTo>
                <a:lnTo>
                  <a:pt x="4113" y="2690"/>
                </a:lnTo>
                <a:lnTo>
                  <a:pt x="4111" y="2630"/>
                </a:lnTo>
                <a:lnTo>
                  <a:pt x="4111" y="2550"/>
                </a:lnTo>
                <a:close/>
                <a:moveTo>
                  <a:pt x="157" y="2548"/>
                </a:moveTo>
                <a:lnTo>
                  <a:pt x="157" y="2622"/>
                </a:lnTo>
                <a:lnTo>
                  <a:pt x="157" y="2695"/>
                </a:lnTo>
                <a:lnTo>
                  <a:pt x="157" y="2767"/>
                </a:lnTo>
                <a:lnTo>
                  <a:pt x="157" y="2835"/>
                </a:lnTo>
                <a:lnTo>
                  <a:pt x="157" y="2899"/>
                </a:lnTo>
                <a:lnTo>
                  <a:pt x="157" y="2960"/>
                </a:lnTo>
                <a:lnTo>
                  <a:pt x="157" y="3014"/>
                </a:lnTo>
                <a:lnTo>
                  <a:pt x="157" y="3062"/>
                </a:lnTo>
                <a:lnTo>
                  <a:pt x="157" y="3100"/>
                </a:lnTo>
                <a:lnTo>
                  <a:pt x="157" y="3131"/>
                </a:lnTo>
                <a:lnTo>
                  <a:pt x="157" y="3151"/>
                </a:lnTo>
                <a:lnTo>
                  <a:pt x="167" y="3175"/>
                </a:lnTo>
                <a:lnTo>
                  <a:pt x="187" y="3201"/>
                </a:lnTo>
                <a:lnTo>
                  <a:pt x="213" y="3229"/>
                </a:lnTo>
                <a:lnTo>
                  <a:pt x="246" y="3257"/>
                </a:lnTo>
                <a:lnTo>
                  <a:pt x="288" y="3287"/>
                </a:lnTo>
                <a:lnTo>
                  <a:pt x="340" y="3318"/>
                </a:lnTo>
                <a:lnTo>
                  <a:pt x="399" y="3348"/>
                </a:lnTo>
                <a:lnTo>
                  <a:pt x="467" y="3379"/>
                </a:lnTo>
                <a:lnTo>
                  <a:pt x="548" y="3409"/>
                </a:lnTo>
                <a:lnTo>
                  <a:pt x="635" y="3439"/>
                </a:lnTo>
                <a:lnTo>
                  <a:pt x="734" y="3466"/>
                </a:lnTo>
                <a:lnTo>
                  <a:pt x="844" y="3494"/>
                </a:lnTo>
                <a:lnTo>
                  <a:pt x="844" y="3466"/>
                </a:lnTo>
                <a:lnTo>
                  <a:pt x="846" y="3449"/>
                </a:lnTo>
                <a:lnTo>
                  <a:pt x="846" y="3440"/>
                </a:lnTo>
                <a:lnTo>
                  <a:pt x="851" y="3418"/>
                </a:lnTo>
                <a:lnTo>
                  <a:pt x="863" y="3398"/>
                </a:lnTo>
                <a:lnTo>
                  <a:pt x="944" y="3309"/>
                </a:lnTo>
                <a:lnTo>
                  <a:pt x="1027" y="3227"/>
                </a:lnTo>
                <a:lnTo>
                  <a:pt x="1116" y="3152"/>
                </a:lnTo>
                <a:lnTo>
                  <a:pt x="1211" y="3082"/>
                </a:lnTo>
                <a:lnTo>
                  <a:pt x="1308" y="3020"/>
                </a:lnTo>
                <a:lnTo>
                  <a:pt x="1411" y="2964"/>
                </a:lnTo>
                <a:lnTo>
                  <a:pt x="1516" y="2917"/>
                </a:lnTo>
                <a:lnTo>
                  <a:pt x="1366" y="2901"/>
                </a:lnTo>
                <a:lnTo>
                  <a:pt x="1218" y="2883"/>
                </a:lnTo>
                <a:lnTo>
                  <a:pt x="1076" y="2861"/>
                </a:lnTo>
                <a:lnTo>
                  <a:pt x="940" y="2836"/>
                </a:lnTo>
                <a:lnTo>
                  <a:pt x="811" y="2810"/>
                </a:lnTo>
                <a:lnTo>
                  <a:pt x="687" y="2779"/>
                </a:lnTo>
                <a:lnTo>
                  <a:pt x="609" y="2756"/>
                </a:lnTo>
                <a:lnTo>
                  <a:pt x="529" y="2730"/>
                </a:lnTo>
                <a:lnTo>
                  <a:pt x="447" y="2702"/>
                </a:lnTo>
                <a:lnTo>
                  <a:pt x="368" y="2669"/>
                </a:lnTo>
                <a:lnTo>
                  <a:pt x="291" y="2632"/>
                </a:lnTo>
                <a:lnTo>
                  <a:pt x="222" y="2592"/>
                </a:lnTo>
                <a:lnTo>
                  <a:pt x="157" y="2548"/>
                </a:lnTo>
                <a:close/>
                <a:moveTo>
                  <a:pt x="70" y="2246"/>
                </a:moveTo>
                <a:lnTo>
                  <a:pt x="94" y="2246"/>
                </a:lnTo>
                <a:lnTo>
                  <a:pt x="115" y="2255"/>
                </a:lnTo>
                <a:lnTo>
                  <a:pt x="133" y="2267"/>
                </a:lnTo>
                <a:lnTo>
                  <a:pt x="147" y="2285"/>
                </a:lnTo>
                <a:lnTo>
                  <a:pt x="155" y="2306"/>
                </a:lnTo>
                <a:lnTo>
                  <a:pt x="159" y="2316"/>
                </a:lnTo>
                <a:lnTo>
                  <a:pt x="164" y="2330"/>
                </a:lnTo>
                <a:lnTo>
                  <a:pt x="174" y="2346"/>
                </a:lnTo>
                <a:lnTo>
                  <a:pt x="188" y="2365"/>
                </a:lnTo>
                <a:lnTo>
                  <a:pt x="206" y="2386"/>
                </a:lnTo>
                <a:lnTo>
                  <a:pt x="230" y="2409"/>
                </a:lnTo>
                <a:lnTo>
                  <a:pt x="262" y="2433"/>
                </a:lnTo>
                <a:lnTo>
                  <a:pt x="300" y="2458"/>
                </a:lnTo>
                <a:lnTo>
                  <a:pt x="347" y="2486"/>
                </a:lnTo>
                <a:lnTo>
                  <a:pt x="403" y="2513"/>
                </a:lnTo>
                <a:lnTo>
                  <a:pt x="467" y="2541"/>
                </a:lnTo>
                <a:lnTo>
                  <a:pt x="542" y="2569"/>
                </a:lnTo>
                <a:lnTo>
                  <a:pt x="630" y="2599"/>
                </a:lnTo>
                <a:lnTo>
                  <a:pt x="729" y="2627"/>
                </a:lnTo>
                <a:lnTo>
                  <a:pt x="860" y="2660"/>
                </a:lnTo>
                <a:lnTo>
                  <a:pt x="998" y="2688"/>
                </a:lnTo>
                <a:lnTo>
                  <a:pt x="1144" y="2714"/>
                </a:lnTo>
                <a:lnTo>
                  <a:pt x="1298" y="2735"/>
                </a:lnTo>
                <a:lnTo>
                  <a:pt x="1456" y="2754"/>
                </a:lnTo>
                <a:lnTo>
                  <a:pt x="1620" y="2768"/>
                </a:lnTo>
                <a:lnTo>
                  <a:pt x="1788" y="2777"/>
                </a:lnTo>
                <a:lnTo>
                  <a:pt x="1961" y="2784"/>
                </a:lnTo>
                <a:lnTo>
                  <a:pt x="2135" y="2786"/>
                </a:lnTo>
                <a:lnTo>
                  <a:pt x="2309" y="2784"/>
                </a:lnTo>
                <a:lnTo>
                  <a:pt x="2482" y="2777"/>
                </a:lnTo>
                <a:lnTo>
                  <a:pt x="2650" y="2768"/>
                </a:lnTo>
                <a:lnTo>
                  <a:pt x="2814" y="2754"/>
                </a:lnTo>
                <a:lnTo>
                  <a:pt x="2972" y="2735"/>
                </a:lnTo>
                <a:lnTo>
                  <a:pt x="3126" y="2714"/>
                </a:lnTo>
                <a:lnTo>
                  <a:pt x="3271" y="2688"/>
                </a:lnTo>
                <a:lnTo>
                  <a:pt x="3410" y="2660"/>
                </a:lnTo>
                <a:lnTo>
                  <a:pt x="3541" y="2627"/>
                </a:lnTo>
                <a:lnTo>
                  <a:pt x="3644" y="2597"/>
                </a:lnTo>
                <a:lnTo>
                  <a:pt x="3740" y="2564"/>
                </a:lnTo>
                <a:lnTo>
                  <a:pt x="3825" y="2531"/>
                </a:lnTo>
                <a:lnTo>
                  <a:pt x="3900" y="2496"/>
                </a:lnTo>
                <a:lnTo>
                  <a:pt x="3967" y="2459"/>
                </a:lnTo>
                <a:lnTo>
                  <a:pt x="4021" y="2423"/>
                </a:lnTo>
                <a:lnTo>
                  <a:pt x="4062" y="2386"/>
                </a:lnTo>
                <a:lnTo>
                  <a:pt x="4094" y="2349"/>
                </a:lnTo>
                <a:lnTo>
                  <a:pt x="4111" y="2313"/>
                </a:lnTo>
                <a:lnTo>
                  <a:pt x="4122" y="2292"/>
                </a:lnTo>
                <a:lnTo>
                  <a:pt x="4137" y="2276"/>
                </a:lnTo>
                <a:lnTo>
                  <a:pt x="4155" y="2264"/>
                </a:lnTo>
                <a:lnTo>
                  <a:pt x="4176" y="2259"/>
                </a:lnTo>
                <a:lnTo>
                  <a:pt x="4199" y="2259"/>
                </a:lnTo>
                <a:lnTo>
                  <a:pt x="4225" y="2267"/>
                </a:lnTo>
                <a:lnTo>
                  <a:pt x="4246" y="2285"/>
                </a:lnTo>
                <a:lnTo>
                  <a:pt x="4260" y="2309"/>
                </a:lnTo>
                <a:lnTo>
                  <a:pt x="4265" y="2335"/>
                </a:lnTo>
                <a:lnTo>
                  <a:pt x="4265" y="2344"/>
                </a:lnTo>
                <a:lnTo>
                  <a:pt x="4265" y="2363"/>
                </a:lnTo>
                <a:lnTo>
                  <a:pt x="4267" y="2391"/>
                </a:lnTo>
                <a:lnTo>
                  <a:pt x="4267" y="2426"/>
                </a:lnTo>
                <a:lnTo>
                  <a:pt x="4267" y="2470"/>
                </a:lnTo>
                <a:lnTo>
                  <a:pt x="4267" y="2519"/>
                </a:lnTo>
                <a:lnTo>
                  <a:pt x="4268" y="2571"/>
                </a:lnTo>
                <a:lnTo>
                  <a:pt x="4268" y="2629"/>
                </a:lnTo>
                <a:lnTo>
                  <a:pt x="4270" y="2690"/>
                </a:lnTo>
                <a:lnTo>
                  <a:pt x="4270" y="2751"/>
                </a:lnTo>
                <a:lnTo>
                  <a:pt x="4270" y="2812"/>
                </a:lnTo>
                <a:lnTo>
                  <a:pt x="4272" y="2871"/>
                </a:lnTo>
                <a:lnTo>
                  <a:pt x="4272" y="2927"/>
                </a:lnTo>
                <a:lnTo>
                  <a:pt x="4272" y="2979"/>
                </a:lnTo>
                <a:lnTo>
                  <a:pt x="4274" y="3025"/>
                </a:lnTo>
                <a:lnTo>
                  <a:pt x="4274" y="3063"/>
                </a:lnTo>
                <a:lnTo>
                  <a:pt x="4274" y="3093"/>
                </a:lnTo>
                <a:lnTo>
                  <a:pt x="4274" y="3114"/>
                </a:lnTo>
                <a:lnTo>
                  <a:pt x="4274" y="3123"/>
                </a:lnTo>
                <a:lnTo>
                  <a:pt x="4270" y="3159"/>
                </a:lnTo>
                <a:lnTo>
                  <a:pt x="4261" y="3198"/>
                </a:lnTo>
                <a:lnTo>
                  <a:pt x="4242" y="3245"/>
                </a:lnTo>
                <a:lnTo>
                  <a:pt x="4212" y="3290"/>
                </a:lnTo>
                <a:lnTo>
                  <a:pt x="4176" y="3332"/>
                </a:lnTo>
                <a:lnTo>
                  <a:pt x="4132" y="3372"/>
                </a:lnTo>
                <a:lnTo>
                  <a:pt x="4082" y="3409"/>
                </a:lnTo>
                <a:lnTo>
                  <a:pt x="4026" y="3444"/>
                </a:lnTo>
                <a:lnTo>
                  <a:pt x="3967" y="3477"/>
                </a:lnTo>
                <a:lnTo>
                  <a:pt x="3902" y="3507"/>
                </a:lnTo>
                <a:lnTo>
                  <a:pt x="3836" y="3535"/>
                </a:lnTo>
                <a:lnTo>
                  <a:pt x="3766" y="3561"/>
                </a:lnTo>
                <a:lnTo>
                  <a:pt x="3696" y="3583"/>
                </a:lnTo>
                <a:lnTo>
                  <a:pt x="3625" y="3604"/>
                </a:lnTo>
                <a:lnTo>
                  <a:pt x="3553" y="3624"/>
                </a:lnTo>
                <a:lnTo>
                  <a:pt x="3483" y="3641"/>
                </a:lnTo>
                <a:lnTo>
                  <a:pt x="3478" y="3709"/>
                </a:lnTo>
                <a:lnTo>
                  <a:pt x="3469" y="3784"/>
                </a:lnTo>
                <a:lnTo>
                  <a:pt x="3459" y="3868"/>
                </a:lnTo>
                <a:lnTo>
                  <a:pt x="3445" y="3957"/>
                </a:lnTo>
                <a:lnTo>
                  <a:pt x="3426" y="4051"/>
                </a:lnTo>
                <a:lnTo>
                  <a:pt x="3401" y="4152"/>
                </a:lnTo>
                <a:lnTo>
                  <a:pt x="3473" y="4135"/>
                </a:lnTo>
                <a:lnTo>
                  <a:pt x="3541" y="4118"/>
                </a:lnTo>
                <a:lnTo>
                  <a:pt x="3644" y="4088"/>
                </a:lnTo>
                <a:lnTo>
                  <a:pt x="3740" y="4055"/>
                </a:lnTo>
                <a:lnTo>
                  <a:pt x="3825" y="4022"/>
                </a:lnTo>
                <a:lnTo>
                  <a:pt x="3900" y="3987"/>
                </a:lnTo>
                <a:lnTo>
                  <a:pt x="3967" y="3950"/>
                </a:lnTo>
                <a:lnTo>
                  <a:pt x="4021" y="3913"/>
                </a:lnTo>
                <a:lnTo>
                  <a:pt x="4062" y="3877"/>
                </a:lnTo>
                <a:lnTo>
                  <a:pt x="4094" y="3840"/>
                </a:lnTo>
                <a:lnTo>
                  <a:pt x="4111" y="3803"/>
                </a:lnTo>
                <a:lnTo>
                  <a:pt x="4122" y="3782"/>
                </a:lnTo>
                <a:lnTo>
                  <a:pt x="4137" y="3767"/>
                </a:lnTo>
                <a:lnTo>
                  <a:pt x="4155" y="3754"/>
                </a:lnTo>
                <a:lnTo>
                  <a:pt x="4176" y="3749"/>
                </a:lnTo>
                <a:lnTo>
                  <a:pt x="4199" y="3749"/>
                </a:lnTo>
                <a:lnTo>
                  <a:pt x="4225" y="3758"/>
                </a:lnTo>
                <a:lnTo>
                  <a:pt x="4246" y="3775"/>
                </a:lnTo>
                <a:lnTo>
                  <a:pt x="4260" y="3798"/>
                </a:lnTo>
                <a:lnTo>
                  <a:pt x="4265" y="3826"/>
                </a:lnTo>
                <a:lnTo>
                  <a:pt x="4265" y="3835"/>
                </a:lnTo>
                <a:lnTo>
                  <a:pt x="4265" y="3854"/>
                </a:lnTo>
                <a:lnTo>
                  <a:pt x="4267" y="3882"/>
                </a:lnTo>
                <a:lnTo>
                  <a:pt x="4267" y="3917"/>
                </a:lnTo>
                <a:lnTo>
                  <a:pt x="4267" y="3960"/>
                </a:lnTo>
                <a:lnTo>
                  <a:pt x="4267" y="4009"/>
                </a:lnTo>
                <a:lnTo>
                  <a:pt x="4268" y="4063"/>
                </a:lnTo>
                <a:lnTo>
                  <a:pt x="4268" y="4119"/>
                </a:lnTo>
                <a:lnTo>
                  <a:pt x="4270" y="4180"/>
                </a:lnTo>
                <a:lnTo>
                  <a:pt x="4270" y="4241"/>
                </a:lnTo>
                <a:lnTo>
                  <a:pt x="4270" y="4303"/>
                </a:lnTo>
                <a:lnTo>
                  <a:pt x="4272" y="4362"/>
                </a:lnTo>
                <a:lnTo>
                  <a:pt x="4272" y="4419"/>
                </a:lnTo>
                <a:lnTo>
                  <a:pt x="4272" y="4470"/>
                </a:lnTo>
                <a:lnTo>
                  <a:pt x="4274" y="4515"/>
                </a:lnTo>
                <a:lnTo>
                  <a:pt x="4274" y="4554"/>
                </a:lnTo>
                <a:lnTo>
                  <a:pt x="4274" y="4584"/>
                </a:lnTo>
                <a:lnTo>
                  <a:pt x="4274" y="4605"/>
                </a:lnTo>
                <a:lnTo>
                  <a:pt x="4274" y="4613"/>
                </a:lnTo>
                <a:lnTo>
                  <a:pt x="4270" y="4650"/>
                </a:lnTo>
                <a:lnTo>
                  <a:pt x="4261" y="4688"/>
                </a:lnTo>
                <a:lnTo>
                  <a:pt x="4240" y="4739"/>
                </a:lnTo>
                <a:lnTo>
                  <a:pt x="4207" y="4788"/>
                </a:lnTo>
                <a:lnTo>
                  <a:pt x="4167" y="4833"/>
                </a:lnTo>
                <a:lnTo>
                  <a:pt x="4118" y="4875"/>
                </a:lnTo>
                <a:lnTo>
                  <a:pt x="4062" y="4915"/>
                </a:lnTo>
                <a:lnTo>
                  <a:pt x="4000" y="4952"/>
                </a:lnTo>
                <a:lnTo>
                  <a:pt x="3932" y="4985"/>
                </a:lnTo>
                <a:lnTo>
                  <a:pt x="3858" y="5016"/>
                </a:lnTo>
                <a:lnTo>
                  <a:pt x="3782" y="5046"/>
                </a:lnTo>
                <a:lnTo>
                  <a:pt x="3701" y="5072"/>
                </a:lnTo>
                <a:lnTo>
                  <a:pt x="3619" y="5097"/>
                </a:lnTo>
                <a:lnTo>
                  <a:pt x="3536" y="5119"/>
                </a:lnTo>
                <a:lnTo>
                  <a:pt x="3452" y="5139"/>
                </a:lnTo>
                <a:lnTo>
                  <a:pt x="3368" y="5158"/>
                </a:lnTo>
                <a:lnTo>
                  <a:pt x="3286" y="5174"/>
                </a:lnTo>
                <a:lnTo>
                  <a:pt x="3206" y="5187"/>
                </a:lnTo>
                <a:lnTo>
                  <a:pt x="3129" y="5200"/>
                </a:lnTo>
                <a:lnTo>
                  <a:pt x="3056" y="5210"/>
                </a:lnTo>
                <a:lnTo>
                  <a:pt x="2988" y="5221"/>
                </a:lnTo>
                <a:lnTo>
                  <a:pt x="2925" y="5228"/>
                </a:lnTo>
                <a:lnTo>
                  <a:pt x="2868" y="5235"/>
                </a:lnTo>
                <a:lnTo>
                  <a:pt x="2819" y="5240"/>
                </a:lnTo>
                <a:lnTo>
                  <a:pt x="2733" y="5329"/>
                </a:lnTo>
                <a:lnTo>
                  <a:pt x="2643" y="5418"/>
                </a:lnTo>
                <a:lnTo>
                  <a:pt x="2545" y="5503"/>
                </a:lnTo>
                <a:lnTo>
                  <a:pt x="2439" y="5587"/>
                </a:lnTo>
                <a:lnTo>
                  <a:pt x="2325" y="5669"/>
                </a:lnTo>
                <a:lnTo>
                  <a:pt x="2205" y="5748"/>
                </a:lnTo>
                <a:lnTo>
                  <a:pt x="2184" y="5757"/>
                </a:lnTo>
                <a:lnTo>
                  <a:pt x="2163" y="5760"/>
                </a:lnTo>
                <a:lnTo>
                  <a:pt x="2163" y="5760"/>
                </a:lnTo>
                <a:lnTo>
                  <a:pt x="2140" y="5757"/>
                </a:lnTo>
                <a:lnTo>
                  <a:pt x="2121" y="5748"/>
                </a:lnTo>
                <a:lnTo>
                  <a:pt x="2001" y="5671"/>
                </a:lnTo>
                <a:lnTo>
                  <a:pt x="1887" y="5589"/>
                </a:lnTo>
                <a:lnTo>
                  <a:pt x="1783" y="5507"/>
                </a:lnTo>
                <a:lnTo>
                  <a:pt x="1683" y="5421"/>
                </a:lnTo>
                <a:lnTo>
                  <a:pt x="1593" y="5334"/>
                </a:lnTo>
                <a:lnTo>
                  <a:pt x="1509" y="5245"/>
                </a:lnTo>
                <a:lnTo>
                  <a:pt x="1504" y="5243"/>
                </a:lnTo>
                <a:lnTo>
                  <a:pt x="1397" y="5233"/>
                </a:lnTo>
                <a:lnTo>
                  <a:pt x="1289" y="5221"/>
                </a:lnTo>
                <a:lnTo>
                  <a:pt x="1183" y="5207"/>
                </a:lnTo>
                <a:lnTo>
                  <a:pt x="1076" y="5189"/>
                </a:lnTo>
                <a:lnTo>
                  <a:pt x="970" y="5170"/>
                </a:lnTo>
                <a:lnTo>
                  <a:pt x="867" y="5149"/>
                </a:lnTo>
                <a:lnTo>
                  <a:pt x="767" y="5126"/>
                </a:lnTo>
                <a:lnTo>
                  <a:pt x="670" y="5102"/>
                </a:lnTo>
                <a:lnTo>
                  <a:pt x="576" y="5074"/>
                </a:lnTo>
                <a:lnTo>
                  <a:pt x="488" y="5044"/>
                </a:lnTo>
                <a:lnTo>
                  <a:pt x="405" y="5011"/>
                </a:lnTo>
                <a:lnTo>
                  <a:pt x="326" y="4978"/>
                </a:lnTo>
                <a:lnTo>
                  <a:pt x="256" y="4941"/>
                </a:lnTo>
                <a:lnTo>
                  <a:pt x="192" y="4901"/>
                </a:lnTo>
                <a:lnTo>
                  <a:pt x="136" y="4861"/>
                </a:lnTo>
                <a:lnTo>
                  <a:pt x="89" y="4817"/>
                </a:lnTo>
                <a:lnTo>
                  <a:pt x="51" y="4770"/>
                </a:lnTo>
                <a:lnTo>
                  <a:pt x="21" y="4723"/>
                </a:lnTo>
                <a:lnTo>
                  <a:pt x="3" y="4671"/>
                </a:lnTo>
                <a:lnTo>
                  <a:pt x="3" y="4669"/>
                </a:lnTo>
                <a:lnTo>
                  <a:pt x="2" y="4667"/>
                </a:lnTo>
                <a:lnTo>
                  <a:pt x="2" y="4662"/>
                </a:lnTo>
                <a:lnTo>
                  <a:pt x="2" y="4657"/>
                </a:lnTo>
                <a:lnTo>
                  <a:pt x="2" y="4646"/>
                </a:lnTo>
                <a:lnTo>
                  <a:pt x="0" y="4634"/>
                </a:lnTo>
                <a:lnTo>
                  <a:pt x="0" y="4617"/>
                </a:lnTo>
                <a:lnTo>
                  <a:pt x="0" y="4596"/>
                </a:lnTo>
                <a:lnTo>
                  <a:pt x="0" y="4568"/>
                </a:lnTo>
                <a:lnTo>
                  <a:pt x="0" y="4533"/>
                </a:lnTo>
                <a:lnTo>
                  <a:pt x="0" y="4491"/>
                </a:lnTo>
                <a:lnTo>
                  <a:pt x="0" y="4442"/>
                </a:lnTo>
                <a:lnTo>
                  <a:pt x="0" y="4385"/>
                </a:lnTo>
                <a:lnTo>
                  <a:pt x="0" y="4317"/>
                </a:lnTo>
                <a:lnTo>
                  <a:pt x="0" y="4240"/>
                </a:lnTo>
                <a:lnTo>
                  <a:pt x="0" y="4151"/>
                </a:lnTo>
                <a:lnTo>
                  <a:pt x="0" y="4051"/>
                </a:lnTo>
                <a:lnTo>
                  <a:pt x="0" y="3939"/>
                </a:lnTo>
                <a:lnTo>
                  <a:pt x="2" y="3814"/>
                </a:lnTo>
                <a:lnTo>
                  <a:pt x="5" y="3791"/>
                </a:lnTo>
                <a:lnTo>
                  <a:pt x="14" y="3772"/>
                </a:lnTo>
                <a:lnTo>
                  <a:pt x="30" y="3754"/>
                </a:lnTo>
                <a:lnTo>
                  <a:pt x="47" y="3742"/>
                </a:lnTo>
                <a:lnTo>
                  <a:pt x="70" y="3737"/>
                </a:lnTo>
                <a:lnTo>
                  <a:pt x="94" y="3737"/>
                </a:lnTo>
                <a:lnTo>
                  <a:pt x="115" y="3746"/>
                </a:lnTo>
                <a:lnTo>
                  <a:pt x="133" y="3758"/>
                </a:lnTo>
                <a:lnTo>
                  <a:pt x="147" y="3775"/>
                </a:lnTo>
                <a:lnTo>
                  <a:pt x="155" y="3796"/>
                </a:lnTo>
                <a:lnTo>
                  <a:pt x="159" y="3807"/>
                </a:lnTo>
                <a:lnTo>
                  <a:pt x="164" y="3821"/>
                </a:lnTo>
                <a:lnTo>
                  <a:pt x="174" y="3837"/>
                </a:lnTo>
                <a:lnTo>
                  <a:pt x="188" y="3856"/>
                </a:lnTo>
                <a:lnTo>
                  <a:pt x="206" y="3877"/>
                </a:lnTo>
                <a:lnTo>
                  <a:pt x="230" y="3899"/>
                </a:lnTo>
                <a:lnTo>
                  <a:pt x="262" y="3922"/>
                </a:lnTo>
                <a:lnTo>
                  <a:pt x="300" y="3948"/>
                </a:lnTo>
                <a:lnTo>
                  <a:pt x="347" y="3976"/>
                </a:lnTo>
                <a:lnTo>
                  <a:pt x="403" y="4002"/>
                </a:lnTo>
                <a:lnTo>
                  <a:pt x="467" y="4032"/>
                </a:lnTo>
                <a:lnTo>
                  <a:pt x="542" y="4060"/>
                </a:lnTo>
                <a:lnTo>
                  <a:pt x="630" y="4090"/>
                </a:lnTo>
                <a:lnTo>
                  <a:pt x="729" y="4118"/>
                </a:lnTo>
                <a:lnTo>
                  <a:pt x="797" y="4135"/>
                </a:lnTo>
                <a:lnTo>
                  <a:pt x="863" y="4151"/>
                </a:lnTo>
                <a:lnTo>
                  <a:pt x="928" y="4165"/>
                </a:lnTo>
                <a:lnTo>
                  <a:pt x="904" y="4065"/>
                </a:lnTo>
                <a:lnTo>
                  <a:pt x="884" y="3971"/>
                </a:lnTo>
                <a:lnTo>
                  <a:pt x="870" y="3882"/>
                </a:lnTo>
                <a:lnTo>
                  <a:pt x="860" y="3800"/>
                </a:lnTo>
                <a:lnTo>
                  <a:pt x="851" y="3723"/>
                </a:lnTo>
                <a:lnTo>
                  <a:pt x="848" y="3655"/>
                </a:lnTo>
                <a:lnTo>
                  <a:pt x="774" y="3639"/>
                </a:lnTo>
                <a:lnTo>
                  <a:pt x="701" y="3620"/>
                </a:lnTo>
                <a:lnTo>
                  <a:pt x="626" y="3599"/>
                </a:lnTo>
                <a:lnTo>
                  <a:pt x="553" y="3576"/>
                </a:lnTo>
                <a:lnTo>
                  <a:pt x="481" y="3552"/>
                </a:lnTo>
                <a:lnTo>
                  <a:pt x="412" y="3526"/>
                </a:lnTo>
                <a:lnTo>
                  <a:pt x="345" y="3498"/>
                </a:lnTo>
                <a:lnTo>
                  <a:pt x="283" y="3466"/>
                </a:lnTo>
                <a:lnTo>
                  <a:pt x="223" y="3433"/>
                </a:lnTo>
                <a:lnTo>
                  <a:pt x="169" y="3397"/>
                </a:lnTo>
                <a:lnTo>
                  <a:pt x="120" y="3360"/>
                </a:lnTo>
                <a:lnTo>
                  <a:pt x="80" y="3318"/>
                </a:lnTo>
                <a:lnTo>
                  <a:pt x="45" y="3276"/>
                </a:lnTo>
                <a:lnTo>
                  <a:pt x="21" y="3229"/>
                </a:lnTo>
                <a:lnTo>
                  <a:pt x="3" y="3180"/>
                </a:lnTo>
                <a:lnTo>
                  <a:pt x="3" y="3178"/>
                </a:lnTo>
                <a:lnTo>
                  <a:pt x="2" y="3177"/>
                </a:lnTo>
                <a:lnTo>
                  <a:pt x="2" y="3171"/>
                </a:lnTo>
                <a:lnTo>
                  <a:pt x="2" y="3166"/>
                </a:lnTo>
                <a:lnTo>
                  <a:pt x="2" y="3158"/>
                </a:lnTo>
                <a:lnTo>
                  <a:pt x="0" y="3144"/>
                </a:lnTo>
                <a:lnTo>
                  <a:pt x="0" y="3126"/>
                </a:lnTo>
                <a:lnTo>
                  <a:pt x="0" y="3105"/>
                </a:lnTo>
                <a:lnTo>
                  <a:pt x="0" y="3077"/>
                </a:lnTo>
                <a:lnTo>
                  <a:pt x="0" y="3042"/>
                </a:lnTo>
                <a:lnTo>
                  <a:pt x="0" y="3002"/>
                </a:lnTo>
                <a:lnTo>
                  <a:pt x="0" y="2952"/>
                </a:lnTo>
                <a:lnTo>
                  <a:pt x="0" y="2894"/>
                </a:lnTo>
                <a:lnTo>
                  <a:pt x="0" y="2826"/>
                </a:lnTo>
                <a:lnTo>
                  <a:pt x="0" y="2749"/>
                </a:lnTo>
                <a:lnTo>
                  <a:pt x="0" y="2660"/>
                </a:lnTo>
                <a:lnTo>
                  <a:pt x="0" y="2561"/>
                </a:lnTo>
                <a:lnTo>
                  <a:pt x="0" y="2449"/>
                </a:lnTo>
                <a:lnTo>
                  <a:pt x="2" y="2323"/>
                </a:lnTo>
                <a:lnTo>
                  <a:pt x="5" y="2301"/>
                </a:lnTo>
                <a:lnTo>
                  <a:pt x="14" y="2281"/>
                </a:lnTo>
                <a:lnTo>
                  <a:pt x="30" y="2264"/>
                </a:lnTo>
                <a:lnTo>
                  <a:pt x="47" y="2252"/>
                </a:lnTo>
                <a:lnTo>
                  <a:pt x="70" y="2246"/>
                </a:lnTo>
                <a:close/>
                <a:moveTo>
                  <a:pt x="157" y="916"/>
                </a:moveTo>
                <a:lnTo>
                  <a:pt x="157" y="995"/>
                </a:lnTo>
                <a:lnTo>
                  <a:pt x="157" y="1073"/>
                </a:lnTo>
                <a:lnTo>
                  <a:pt x="157" y="1152"/>
                </a:lnTo>
                <a:lnTo>
                  <a:pt x="157" y="1225"/>
                </a:lnTo>
                <a:lnTo>
                  <a:pt x="157" y="1297"/>
                </a:lnTo>
                <a:lnTo>
                  <a:pt x="157" y="1361"/>
                </a:lnTo>
                <a:lnTo>
                  <a:pt x="157" y="1421"/>
                </a:lnTo>
                <a:lnTo>
                  <a:pt x="157" y="1473"/>
                </a:lnTo>
                <a:lnTo>
                  <a:pt x="157" y="1515"/>
                </a:lnTo>
                <a:lnTo>
                  <a:pt x="157" y="1546"/>
                </a:lnTo>
                <a:lnTo>
                  <a:pt x="157" y="1567"/>
                </a:lnTo>
                <a:lnTo>
                  <a:pt x="176" y="1606"/>
                </a:lnTo>
                <a:lnTo>
                  <a:pt x="208" y="1644"/>
                </a:lnTo>
                <a:lnTo>
                  <a:pt x="251" y="1683"/>
                </a:lnTo>
                <a:lnTo>
                  <a:pt x="307" y="1719"/>
                </a:lnTo>
                <a:lnTo>
                  <a:pt x="375" y="1756"/>
                </a:lnTo>
                <a:lnTo>
                  <a:pt x="455" y="1793"/>
                </a:lnTo>
                <a:lnTo>
                  <a:pt x="546" y="1827"/>
                </a:lnTo>
                <a:lnTo>
                  <a:pt x="647" y="1859"/>
                </a:lnTo>
                <a:lnTo>
                  <a:pt x="759" y="1890"/>
                </a:lnTo>
                <a:lnTo>
                  <a:pt x="879" y="1920"/>
                </a:lnTo>
                <a:lnTo>
                  <a:pt x="1008" y="1946"/>
                </a:lnTo>
                <a:lnTo>
                  <a:pt x="1148" y="1969"/>
                </a:lnTo>
                <a:lnTo>
                  <a:pt x="1294" y="1990"/>
                </a:lnTo>
                <a:lnTo>
                  <a:pt x="1448" y="2007"/>
                </a:lnTo>
                <a:lnTo>
                  <a:pt x="1610" y="2023"/>
                </a:lnTo>
                <a:lnTo>
                  <a:pt x="1779" y="2033"/>
                </a:lnTo>
                <a:lnTo>
                  <a:pt x="1954" y="2039"/>
                </a:lnTo>
                <a:lnTo>
                  <a:pt x="2135" y="2040"/>
                </a:lnTo>
                <a:lnTo>
                  <a:pt x="2304" y="2039"/>
                </a:lnTo>
                <a:lnTo>
                  <a:pt x="2470" y="2033"/>
                </a:lnTo>
                <a:lnTo>
                  <a:pt x="2630" y="2025"/>
                </a:lnTo>
                <a:lnTo>
                  <a:pt x="2784" y="2011"/>
                </a:lnTo>
                <a:lnTo>
                  <a:pt x="2930" y="1995"/>
                </a:lnTo>
                <a:lnTo>
                  <a:pt x="3072" y="1976"/>
                </a:lnTo>
                <a:lnTo>
                  <a:pt x="3206" y="1955"/>
                </a:lnTo>
                <a:lnTo>
                  <a:pt x="3332" y="1930"/>
                </a:lnTo>
                <a:lnTo>
                  <a:pt x="3450" y="1904"/>
                </a:lnTo>
                <a:lnTo>
                  <a:pt x="3560" y="1876"/>
                </a:lnTo>
                <a:lnTo>
                  <a:pt x="3661" y="1845"/>
                </a:lnTo>
                <a:lnTo>
                  <a:pt x="3754" y="1814"/>
                </a:lnTo>
                <a:lnTo>
                  <a:pt x="3837" y="1780"/>
                </a:lnTo>
                <a:lnTo>
                  <a:pt x="3911" y="1747"/>
                </a:lnTo>
                <a:lnTo>
                  <a:pt x="3972" y="1712"/>
                </a:lnTo>
                <a:lnTo>
                  <a:pt x="4024" y="1676"/>
                </a:lnTo>
                <a:lnTo>
                  <a:pt x="4066" y="1641"/>
                </a:lnTo>
                <a:lnTo>
                  <a:pt x="4094" y="1604"/>
                </a:lnTo>
                <a:lnTo>
                  <a:pt x="4111" y="1567"/>
                </a:lnTo>
                <a:lnTo>
                  <a:pt x="4117" y="1553"/>
                </a:lnTo>
                <a:lnTo>
                  <a:pt x="4117" y="1539"/>
                </a:lnTo>
                <a:lnTo>
                  <a:pt x="4117" y="918"/>
                </a:lnTo>
                <a:lnTo>
                  <a:pt x="4052" y="963"/>
                </a:lnTo>
                <a:lnTo>
                  <a:pt x="3977" y="1005"/>
                </a:lnTo>
                <a:lnTo>
                  <a:pt x="3893" y="1044"/>
                </a:lnTo>
                <a:lnTo>
                  <a:pt x="3801" y="1080"/>
                </a:lnTo>
                <a:lnTo>
                  <a:pt x="3701" y="1115"/>
                </a:lnTo>
                <a:lnTo>
                  <a:pt x="3595" y="1147"/>
                </a:lnTo>
                <a:lnTo>
                  <a:pt x="3482" y="1176"/>
                </a:lnTo>
                <a:lnTo>
                  <a:pt x="3361" y="1203"/>
                </a:lnTo>
                <a:lnTo>
                  <a:pt x="3237" y="1227"/>
                </a:lnTo>
                <a:lnTo>
                  <a:pt x="3108" y="1248"/>
                </a:lnTo>
                <a:lnTo>
                  <a:pt x="2976" y="1265"/>
                </a:lnTo>
                <a:lnTo>
                  <a:pt x="2841" y="1281"/>
                </a:lnTo>
                <a:lnTo>
                  <a:pt x="2702" y="1293"/>
                </a:lnTo>
                <a:lnTo>
                  <a:pt x="2562" y="1304"/>
                </a:lnTo>
                <a:lnTo>
                  <a:pt x="2421" y="1311"/>
                </a:lnTo>
                <a:lnTo>
                  <a:pt x="2280" y="1314"/>
                </a:lnTo>
                <a:lnTo>
                  <a:pt x="2139" y="1316"/>
                </a:lnTo>
                <a:lnTo>
                  <a:pt x="1995" y="1314"/>
                </a:lnTo>
                <a:lnTo>
                  <a:pt x="1854" y="1311"/>
                </a:lnTo>
                <a:lnTo>
                  <a:pt x="1713" y="1304"/>
                </a:lnTo>
                <a:lnTo>
                  <a:pt x="1573" y="1293"/>
                </a:lnTo>
                <a:lnTo>
                  <a:pt x="1434" y="1281"/>
                </a:lnTo>
                <a:lnTo>
                  <a:pt x="1298" y="1265"/>
                </a:lnTo>
                <a:lnTo>
                  <a:pt x="1165" y="1246"/>
                </a:lnTo>
                <a:lnTo>
                  <a:pt x="1036" y="1225"/>
                </a:lnTo>
                <a:lnTo>
                  <a:pt x="912" y="1203"/>
                </a:lnTo>
                <a:lnTo>
                  <a:pt x="794" y="1176"/>
                </a:lnTo>
                <a:lnTo>
                  <a:pt x="679" y="1147"/>
                </a:lnTo>
                <a:lnTo>
                  <a:pt x="572" y="1115"/>
                </a:lnTo>
                <a:lnTo>
                  <a:pt x="473" y="1080"/>
                </a:lnTo>
                <a:lnTo>
                  <a:pt x="380" y="1044"/>
                </a:lnTo>
                <a:lnTo>
                  <a:pt x="297" y="1004"/>
                </a:lnTo>
                <a:lnTo>
                  <a:pt x="222" y="962"/>
                </a:lnTo>
                <a:lnTo>
                  <a:pt x="157" y="916"/>
                </a:lnTo>
                <a:close/>
                <a:moveTo>
                  <a:pt x="2139" y="157"/>
                </a:moveTo>
                <a:lnTo>
                  <a:pt x="1948" y="159"/>
                </a:lnTo>
                <a:lnTo>
                  <a:pt x="1767" y="166"/>
                </a:lnTo>
                <a:lnTo>
                  <a:pt x="1594" y="178"/>
                </a:lnTo>
                <a:lnTo>
                  <a:pt x="1429" y="192"/>
                </a:lnTo>
                <a:lnTo>
                  <a:pt x="1273" y="211"/>
                </a:lnTo>
                <a:lnTo>
                  <a:pt x="1127" y="232"/>
                </a:lnTo>
                <a:lnTo>
                  <a:pt x="989" y="257"/>
                </a:lnTo>
                <a:lnTo>
                  <a:pt x="862" y="285"/>
                </a:lnTo>
                <a:lnTo>
                  <a:pt x="743" y="314"/>
                </a:lnTo>
                <a:lnTo>
                  <a:pt x="637" y="346"/>
                </a:lnTo>
                <a:lnTo>
                  <a:pt x="539" y="377"/>
                </a:lnTo>
                <a:lnTo>
                  <a:pt x="452" y="412"/>
                </a:lnTo>
                <a:lnTo>
                  <a:pt x="375" y="447"/>
                </a:lnTo>
                <a:lnTo>
                  <a:pt x="310" y="483"/>
                </a:lnTo>
                <a:lnTo>
                  <a:pt x="256" y="518"/>
                </a:lnTo>
                <a:lnTo>
                  <a:pt x="215" y="555"/>
                </a:lnTo>
                <a:lnTo>
                  <a:pt x="183" y="590"/>
                </a:lnTo>
                <a:lnTo>
                  <a:pt x="166" y="625"/>
                </a:lnTo>
                <a:lnTo>
                  <a:pt x="159" y="658"/>
                </a:lnTo>
                <a:lnTo>
                  <a:pt x="166" y="691"/>
                </a:lnTo>
                <a:lnTo>
                  <a:pt x="183" y="726"/>
                </a:lnTo>
                <a:lnTo>
                  <a:pt x="215" y="763"/>
                </a:lnTo>
                <a:lnTo>
                  <a:pt x="256" y="798"/>
                </a:lnTo>
                <a:lnTo>
                  <a:pt x="310" y="834"/>
                </a:lnTo>
                <a:lnTo>
                  <a:pt x="375" y="869"/>
                </a:lnTo>
                <a:lnTo>
                  <a:pt x="452" y="904"/>
                </a:lnTo>
                <a:lnTo>
                  <a:pt x="539" y="939"/>
                </a:lnTo>
                <a:lnTo>
                  <a:pt x="637" y="972"/>
                </a:lnTo>
                <a:lnTo>
                  <a:pt x="743" y="1004"/>
                </a:lnTo>
                <a:lnTo>
                  <a:pt x="862" y="1032"/>
                </a:lnTo>
                <a:lnTo>
                  <a:pt x="989" y="1059"/>
                </a:lnTo>
                <a:lnTo>
                  <a:pt x="1127" y="1084"/>
                </a:lnTo>
                <a:lnTo>
                  <a:pt x="1273" y="1105"/>
                </a:lnTo>
                <a:lnTo>
                  <a:pt x="1429" y="1124"/>
                </a:lnTo>
                <a:lnTo>
                  <a:pt x="1594" y="1140"/>
                </a:lnTo>
                <a:lnTo>
                  <a:pt x="1767" y="1150"/>
                </a:lnTo>
                <a:lnTo>
                  <a:pt x="1948" y="1157"/>
                </a:lnTo>
                <a:lnTo>
                  <a:pt x="2139" y="1159"/>
                </a:lnTo>
                <a:lnTo>
                  <a:pt x="2327" y="1157"/>
                </a:lnTo>
                <a:lnTo>
                  <a:pt x="2508" y="1150"/>
                </a:lnTo>
                <a:lnTo>
                  <a:pt x="2683" y="1140"/>
                </a:lnTo>
                <a:lnTo>
                  <a:pt x="2847" y="1124"/>
                </a:lnTo>
                <a:lnTo>
                  <a:pt x="3002" y="1105"/>
                </a:lnTo>
                <a:lnTo>
                  <a:pt x="3148" y="1084"/>
                </a:lnTo>
                <a:lnTo>
                  <a:pt x="3286" y="1059"/>
                </a:lnTo>
                <a:lnTo>
                  <a:pt x="3414" y="1032"/>
                </a:lnTo>
                <a:lnTo>
                  <a:pt x="3532" y="1004"/>
                </a:lnTo>
                <a:lnTo>
                  <a:pt x="3640" y="972"/>
                </a:lnTo>
                <a:lnTo>
                  <a:pt x="3738" y="939"/>
                </a:lnTo>
                <a:lnTo>
                  <a:pt x="3824" y="904"/>
                </a:lnTo>
                <a:lnTo>
                  <a:pt x="3900" y="869"/>
                </a:lnTo>
                <a:lnTo>
                  <a:pt x="3965" y="834"/>
                </a:lnTo>
                <a:lnTo>
                  <a:pt x="4019" y="798"/>
                </a:lnTo>
                <a:lnTo>
                  <a:pt x="4062" y="763"/>
                </a:lnTo>
                <a:lnTo>
                  <a:pt x="4092" y="726"/>
                </a:lnTo>
                <a:lnTo>
                  <a:pt x="4111" y="691"/>
                </a:lnTo>
                <a:lnTo>
                  <a:pt x="4117" y="658"/>
                </a:lnTo>
                <a:lnTo>
                  <a:pt x="4111" y="625"/>
                </a:lnTo>
                <a:lnTo>
                  <a:pt x="4092" y="590"/>
                </a:lnTo>
                <a:lnTo>
                  <a:pt x="4062" y="555"/>
                </a:lnTo>
                <a:lnTo>
                  <a:pt x="4019" y="518"/>
                </a:lnTo>
                <a:lnTo>
                  <a:pt x="3965" y="483"/>
                </a:lnTo>
                <a:lnTo>
                  <a:pt x="3900" y="447"/>
                </a:lnTo>
                <a:lnTo>
                  <a:pt x="3824" y="412"/>
                </a:lnTo>
                <a:lnTo>
                  <a:pt x="3738" y="377"/>
                </a:lnTo>
                <a:lnTo>
                  <a:pt x="3640" y="346"/>
                </a:lnTo>
                <a:lnTo>
                  <a:pt x="3532" y="314"/>
                </a:lnTo>
                <a:lnTo>
                  <a:pt x="3414" y="285"/>
                </a:lnTo>
                <a:lnTo>
                  <a:pt x="3286" y="257"/>
                </a:lnTo>
                <a:lnTo>
                  <a:pt x="3148" y="232"/>
                </a:lnTo>
                <a:lnTo>
                  <a:pt x="3002" y="211"/>
                </a:lnTo>
                <a:lnTo>
                  <a:pt x="2847" y="192"/>
                </a:lnTo>
                <a:lnTo>
                  <a:pt x="2683" y="178"/>
                </a:lnTo>
                <a:lnTo>
                  <a:pt x="2508" y="166"/>
                </a:lnTo>
                <a:lnTo>
                  <a:pt x="2327" y="159"/>
                </a:lnTo>
                <a:lnTo>
                  <a:pt x="2139" y="157"/>
                </a:lnTo>
                <a:close/>
                <a:moveTo>
                  <a:pt x="2139" y="0"/>
                </a:moveTo>
                <a:lnTo>
                  <a:pt x="2268" y="2"/>
                </a:lnTo>
                <a:lnTo>
                  <a:pt x="2397" y="5"/>
                </a:lnTo>
                <a:lnTo>
                  <a:pt x="2527" y="10"/>
                </a:lnTo>
                <a:lnTo>
                  <a:pt x="2655" y="19"/>
                </a:lnTo>
                <a:lnTo>
                  <a:pt x="2782" y="30"/>
                </a:lnTo>
                <a:lnTo>
                  <a:pt x="2908" y="42"/>
                </a:lnTo>
                <a:lnTo>
                  <a:pt x="3032" y="58"/>
                </a:lnTo>
                <a:lnTo>
                  <a:pt x="3152" y="75"/>
                </a:lnTo>
                <a:lnTo>
                  <a:pt x="3269" y="96"/>
                </a:lnTo>
                <a:lnTo>
                  <a:pt x="3382" y="117"/>
                </a:lnTo>
                <a:lnTo>
                  <a:pt x="3490" y="141"/>
                </a:lnTo>
                <a:lnTo>
                  <a:pt x="3593" y="169"/>
                </a:lnTo>
                <a:lnTo>
                  <a:pt x="3693" y="197"/>
                </a:lnTo>
                <a:lnTo>
                  <a:pt x="3785" y="229"/>
                </a:lnTo>
                <a:lnTo>
                  <a:pt x="3871" y="262"/>
                </a:lnTo>
                <a:lnTo>
                  <a:pt x="3951" y="297"/>
                </a:lnTo>
                <a:lnTo>
                  <a:pt x="4022" y="335"/>
                </a:lnTo>
                <a:lnTo>
                  <a:pt x="4085" y="375"/>
                </a:lnTo>
                <a:lnTo>
                  <a:pt x="4141" y="417"/>
                </a:lnTo>
                <a:lnTo>
                  <a:pt x="4188" y="461"/>
                </a:lnTo>
                <a:lnTo>
                  <a:pt x="4225" y="508"/>
                </a:lnTo>
                <a:lnTo>
                  <a:pt x="4251" y="555"/>
                </a:lnTo>
                <a:lnTo>
                  <a:pt x="4268" y="606"/>
                </a:lnTo>
                <a:lnTo>
                  <a:pt x="4274" y="658"/>
                </a:lnTo>
                <a:lnTo>
                  <a:pt x="4274" y="663"/>
                </a:lnTo>
                <a:lnTo>
                  <a:pt x="4274" y="669"/>
                </a:lnTo>
                <a:lnTo>
                  <a:pt x="4274" y="672"/>
                </a:lnTo>
                <a:lnTo>
                  <a:pt x="4274" y="675"/>
                </a:lnTo>
                <a:lnTo>
                  <a:pt x="4274" y="1539"/>
                </a:lnTo>
                <a:lnTo>
                  <a:pt x="4270" y="1576"/>
                </a:lnTo>
                <a:lnTo>
                  <a:pt x="4261" y="1615"/>
                </a:lnTo>
                <a:lnTo>
                  <a:pt x="4240" y="1665"/>
                </a:lnTo>
                <a:lnTo>
                  <a:pt x="4207" y="1714"/>
                </a:lnTo>
                <a:lnTo>
                  <a:pt x="4164" y="1761"/>
                </a:lnTo>
                <a:lnTo>
                  <a:pt x="4111" y="1805"/>
                </a:lnTo>
                <a:lnTo>
                  <a:pt x="4049" y="1847"/>
                </a:lnTo>
                <a:lnTo>
                  <a:pt x="3977" y="1887"/>
                </a:lnTo>
                <a:lnTo>
                  <a:pt x="3899" y="1925"/>
                </a:lnTo>
                <a:lnTo>
                  <a:pt x="3813" y="1960"/>
                </a:lnTo>
                <a:lnTo>
                  <a:pt x="3719" y="1992"/>
                </a:lnTo>
                <a:lnTo>
                  <a:pt x="3619" y="2023"/>
                </a:lnTo>
                <a:lnTo>
                  <a:pt x="3515" y="2051"/>
                </a:lnTo>
                <a:lnTo>
                  <a:pt x="3405" y="2075"/>
                </a:lnTo>
                <a:lnTo>
                  <a:pt x="3290" y="2098"/>
                </a:lnTo>
                <a:lnTo>
                  <a:pt x="3169" y="2119"/>
                </a:lnTo>
                <a:lnTo>
                  <a:pt x="3047" y="2138"/>
                </a:lnTo>
                <a:lnTo>
                  <a:pt x="2922" y="2154"/>
                </a:lnTo>
                <a:lnTo>
                  <a:pt x="2793" y="2168"/>
                </a:lnTo>
                <a:lnTo>
                  <a:pt x="2664" y="2178"/>
                </a:lnTo>
                <a:lnTo>
                  <a:pt x="2531" y="2187"/>
                </a:lnTo>
                <a:lnTo>
                  <a:pt x="2398" y="2194"/>
                </a:lnTo>
                <a:lnTo>
                  <a:pt x="2268" y="2198"/>
                </a:lnTo>
                <a:lnTo>
                  <a:pt x="2135" y="2198"/>
                </a:lnTo>
                <a:lnTo>
                  <a:pt x="2006" y="2198"/>
                </a:lnTo>
                <a:lnTo>
                  <a:pt x="1877" y="2194"/>
                </a:lnTo>
                <a:lnTo>
                  <a:pt x="1748" y="2187"/>
                </a:lnTo>
                <a:lnTo>
                  <a:pt x="1620" y="2180"/>
                </a:lnTo>
                <a:lnTo>
                  <a:pt x="1493" y="2170"/>
                </a:lnTo>
                <a:lnTo>
                  <a:pt x="1368" y="2156"/>
                </a:lnTo>
                <a:lnTo>
                  <a:pt x="1245" y="2142"/>
                </a:lnTo>
                <a:lnTo>
                  <a:pt x="1125" y="2124"/>
                </a:lnTo>
                <a:lnTo>
                  <a:pt x="1008" y="2105"/>
                </a:lnTo>
                <a:lnTo>
                  <a:pt x="897" y="2082"/>
                </a:lnTo>
                <a:lnTo>
                  <a:pt x="788" y="2060"/>
                </a:lnTo>
                <a:lnTo>
                  <a:pt x="684" y="2032"/>
                </a:lnTo>
                <a:lnTo>
                  <a:pt x="586" y="2004"/>
                </a:lnTo>
                <a:lnTo>
                  <a:pt x="494" y="1974"/>
                </a:lnTo>
                <a:lnTo>
                  <a:pt x="406" y="1941"/>
                </a:lnTo>
                <a:lnTo>
                  <a:pt x="328" y="1906"/>
                </a:lnTo>
                <a:lnTo>
                  <a:pt x="255" y="1868"/>
                </a:lnTo>
                <a:lnTo>
                  <a:pt x="190" y="1827"/>
                </a:lnTo>
                <a:lnTo>
                  <a:pt x="134" y="1787"/>
                </a:lnTo>
                <a:lnTo>
                  <a:pt x="87" y="1742"/>
                </a:lnTo>
                <a:lnTo>
                  <a:pt x="49" y="1697"/>
                </a:lnTo>
                <a:lnTo>
                  <a:pt x="21" y="1648"/>
                </a:lnTo>
                <a:lnTo>
                  <a:pt x="3" y="1599"/>
                </a:lnTo>
                <a:lnTo>
                  <a:pt x="3" y="1597"/>
                </a:lnTo>
                <a:lnTo>
                  <a:pt x="2" y="1594"/>
                </a:lnTo>
                <a:lnTo>
                  <a:pt x="2" y="1590"/>
                </a:lnTo>
                <a:lnTo>
                  <a:pt x="2" y="1585"/>
                </a:lnTo>
                <a:lnTo>
                  <a:pt x="2" y="1576"/>
                </a:lnTo>
                <a:lnTo>
                  <a:pt x="0" y="1564"/>
                </a:lnTo>
                <a:lnTo>
                  <a:pt x="0" y="1548"/>
                </a:lnTo>
                <a:lnTo>
                  <a:pt x="0" y="1529"/>
                </a:lnTo>
                <a:lnTo>
                  <a:pt x="0" y="1503"/>
                </a:lnTo>
                <a:lnTo>
                  <a:pt x="0" y="1471"/>
                </a:lnTo>
                <a:lnTo>
                  <a:pt x="0" y="1435"/>
                </a:lnTo>
                <a:lnTo>
                  <a:pt x="0" y="1389"/>
                </a:lnTo>
                <a:lnTo>
                  <a:pt x="0" y="1337"/>
                </a:lnTo>
                <a:lnTo>
                  <a:pt x="0" y="1276"/>
                </a:lnTo>
                <a:lnTo>
                  <a:pt x="0" y="1206"/>
                </a:lnTo>
                <a:lnTo>
                  <a:pt x="0" y="1126"/>
                </a:lnTo>
                <a:lnTo>
                  <a:pt x="0" y="1035"/>
                </a:lnTo>
                <a:lnTo>
                  <a:pt x="0" y="934"/>
                </a:lnTo>
                <a:lnTo>
                  <a:pt x="0" y="820"/>
                </a:lnTo>
                <a:lnTo>
                  <a:pt x="2" y="695"/>
                </a:lnTo>
                <a:lnTo>
                  <a:pt x="2" y="689"/>
                </a:lnTo>
                <a:lnTo>
                  <a:pt x="3" y="684"/>
                </a:lnTo>
                <a:lnTo>
                  <a:pt x="3" y="681"/>
                </a:lnTo>
                <a:lnTo>
                  <a:pt x="3" y="669"/>
                </a:lnTo>
                <a:lnTo>
                  <a:pt x="2" y="658"/>
                </a:lnTo>
                <a:lnTo>
                  <a:pt x="7" y="606"/>
                </a:lnTo>
                <a:lnTo>
                  <a:pt x="24" y="555"/>
                </a:lnTo>
                <a:lnTo>
                  <a:pt x="51" y="508"/>
                </a:lnTo>
                <a:lnTo>
                  <a:pt x="89" y="461"/>
                </a:lnTo>
                <a:lnTo>
                  <a:pt x="134" y="417"/>
                </a:lnTo>
                <a:lnTo>
                  <a:pt x="190" y="375"/>
                </a:lnTo>
                <a:lnTo>
                  <a:pt x="255" y="335"/>
                </a:lnTo>
                <a:lnTo>
                  <a:pt x="326" y="297"/>
                </a:lnTo>
                <a:lnTo>
                  <a:pt x="405" y="262"/>
                </a:lnTo>
                <a:lnTo>
                  <a:pt x="490" y="229"/>
                </a:lnTo>
                <a:lnTo>
                  <a:pt x="583" y="197"/>
                </a:lnTo>
                <a:lnTo>
                  <a:pt x="682" y="169"/>
                </a:lnTo>
                <a:lnTo>
                  <a:pt x="785" y="141"/>
                </a:lnTo>
                <a:lnTo>
                  <a:pt x="895" y="117"/>
                </a:lnTo>
                <a:lnTo>
                  <a:pt x="1006" y="96"/>
                </a:lnTo>
                <a:lnTo>
                  <a:pt x="1123" y="75"/>
                </a:lnTo>
                <a:lnTo>
                  <a:pt x="1244" y="58"/>
                </a:lnTo>
                <a:lnTo>
                  <a:pt x="1368" y="42"/>
                </a:lnTo>
                <a:lnTo>
                  <a:pt x="1493" y="30"/>
                </a:lnTo>
                <a:lnTo>
                  <a:pt x="1620" y="19"/>
                </a:lnTo>
                <a:lnTo>
                  <a:pt x="1750" y="10"/>
                </a:lnTo>
                <a:lnTo>
                  <a:pt x="1879" y="5"/>
                </a:lnTo>
                <a:lnTo>
                  <a:pt x="2008" y="2"/>
                </a:lnTo>
                <a:lnTo>
                  <a:pt x="2139" y="0"/>
                </a:lnTo>
                <a:close/>
              </a:path>
            </a:pathLst>
          </a:custGeom>
          <a:solidFill>
            <a:srgbClr val="6D69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012036"/>
              </a:solidFill>
              <a:effectLst/>
              <a:uLnTx/>
              <a:uFillTx/>
              <a:latin typeface="Calibri" panose="020F0502020204030204"/>
              <a:ea typeface="+mn-ea"/>
              <a:cs typeface="+mn-cs"/>
            </a:endParaRPr>
          </a:p>
        </p:txBody>
      </p:sp>
      <p:grpSp>
        <p:nvGrpSpPr>
          <p:cNvPr id="111" name="Group 133">
            <a:extLst>
              <a:ext uri="{FF2B5EF4-FFF2-40B4-BE49-F238E27FC236}">
                <a16:creationId xmlns:a16="http://schemas.microsoft.com/office/drawing/2014/main" id="{610172B9-E94D-EDA4-7AEF-7FD54D495C68}"/>
              </a:ext>
            </a:extLst>
          </p:cNvPr>
          <p:cNvGrpSpPr/>
          <p:nvPr>
            <p:custDataLst>
              <p:tags r:id="rId21"/>
            </p:custDataLst>
          </p:nvPr>
        </p:nvGrpSpPr>
        <p:grpSpPr>
          <a:xfrm>
            <a:off x="3876584" y="1473138"/>
            <a:ext cx="1214986" cy="812443"/>
            <a:chOff x="3849756" y="2145103"/>
            <a:chExt cx="1470132" cy="983057"/>
          </a:xfrm>
        </p:grpSpPr>
        <p:sp>
          <p:nvSpPr>
            <p:cNvPr id="112" name="TextBox 134">
              <a:extLst>
                <a:ext uri="{FF2B5EF4-FFF2-40B4-BE49-F238E27FC236}">
                  <a16:creationId xmlns:a16="http://schemas.microsoft.com/office/drawing/2014/main" id="{F5C6D6B7-CBDD-AF30-1F56-258CFD309758}"/>
                </a:ext>
              </a:extLst>
            </p:cNvPr>
            <p:cNvSpPr txBox="1"/>
            <p:nvPr/>
          </p:nvSpPr>
          <p:spPr>
            <a:xfrm>
              <a:off x="3849756" y="2681268"/>
              <a:ext cx="1470132" cy="446892"/>
            </a:xfrm>
            <a:prstGeom prst="rect">
              <a:avLst/>
            </a:prstGeom>
            <a:noFill/>
          </p:spPr>
          <p:txBody>
            <a:bodyPr wrap="square" rtlCol="0">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fr-CA" sz="900" b="1" i="0" u="none" strike="noStrike" kern="0" cap="none" spc="0" normalizeH="0" baseline="0" noProof="0">
                  <a:ln>
                    <a:noFill/>
                  </a:ln>
                  <a:solidFill>
                    <a:srgbClr val="29D6CD"/>
                  </a:solidFill>
                  <a:effectLst/>
                  <a:uLnTx/>
                  <a:uFillTx/>
                  <a:latin typeface="Avenir Next LT Pro" panose="020B0504020202020204" pitchFamily="34" charset="0"/>
                  <a:ea typeface="+mn-ea"/>
                  <a:cs typeface="Calibri" panose="020F0502020204030204" pitchFamily="34" charset="0"/>
                </a:rPr>
                <a:t>DÉVELOPPEMENT DE MODÈLES</a:t>
              </a:r>
            </a:p>
          </p:txBody>
        </p:sp>
        <p:sp>
          <p:nvSpPr>
            <p:cNvPr id="113" name="Freeform 9">
              <a:extLst>
                <a:ext uri="{FF2B5EF4-FFF2-40B4-BE49-F238E27FC236}">
                  <a16:creationId xmlns:a16="http://schemas.microsoft.com/office/drawing/2014/main" id="{E4B80165-F8A5-2109-09D6-FC3DED8EB192}"/>
                </a:ext>
              </a:extLst>
            </p:cNvPr>
            <p:cNvSpPr>
              <a:spLocks noChangeAspect="1" noEditPoints="1"/>
            </p:cNvSpPr>
            <p:nvPr/>
          </p:nvSpPr>
          <p:spPr bwMode="auto">
            <a:xfrm>
              <a:off x="4238085" y="2145103"/>
              <a:ext cx="675895" cy="591155"/>
            </a:xfrm>
            <a:custGeom>
              <a:avLst/>
              <a:gdLst>
                <a:gd name="T0" fmla="*/ 3221 w 4800"/>
                <a:gd name="T1" fmla="*/ 2938 h 4192"/>
                <a:gd name="T2" fmla="*/ 1970 w 4800"/>
                <a:gd name="T3" fmla="*/ 3507 h 4192"/>
                <a:gd name="T4" fmla="*/ 2056 w 4800"/>
                <a:gd name="T5" fmla="*/ 3741 h 4192"/>
                <a:gd name="T6" fmla="*/ 2853 w 4800"/>
                <a:gd name="T7" fmla="*/ 1386 h 4192"/>
                <a:gd name="T8" fmla="*/ 3277 w 4800"/>
                <a:gd name="T9" fmla="*/ 891 h 4192"/>
                <a:gd name="T10" fmla="*/ 1735 w 4800"/>
                <a:gd name="T11" fmla="*/ 1152 h 4192"/>
                <a:gd name="T12" fmla="*/ 1785 w 4800"/>
                <a:gd name="T13" fmla="*/ 590 h 4192"/>
                <a:gd name="T14" fmla="*/ 1817 w 4800"/>
                <a:gd name="T15" fmla="*/ 1033 h 4192"/>
                <a:gd name="T16" fmla="*/ 1692 w 4800"/>
                <a:gd name="T17" fmla="*/ 1333 h 4192"/>
                <a:gd name="T18" fmla="*/ 2688 w 4800"/>
                <a:gd name="T19" fmla="*/ 670 h 4192"/>
                <a:gd name="T20" fmla="*/ 2929 w 4800"/>
                <a:gd name="T21" fmla="*/ 458 h 4192"/>
                <a:gd name="T22" fmla="*/ 3741 w 4800"/>
                <a:gd name="T23" fmla="*/ 3166 h 4192"/>
                <a:gd name="T24" fmla="*/ 2435 w 4800"/>
                <a:gd name="T25" fmla="*/ 4132 h 4192"/>
                <a:gd name="T26" fmla="*/ 917 w 4800"/>
                <a:gd name="T27" fmla="*/ 2686 h 4192"/>
                <a:gd name="T28" fmla="*/ 1756 w 4800"/>
                <a:gd name="T29" fmla="*/ 3554 h 4192"/>
                <a:gd name="T30" fmla="*/ 2496 w 4800"/>
                <a:gd name="T31" fmla="*/ 4025 h 4192"/>
                <a:gd name="T32" fmla="*/ 3626 w 4800"/>
                <a:gd name="T33" fmla="*/ 3115 h 4192"/>
                <a:gd name="T34" fmla="*/ 3668 w 4800"/>
                <a:gd name="T35" fmla="*/ 2876 h 4192"/>
                <a:gd name="T36" fmla="*/ 1123 w 4800"/>
                <a:gd name="T37" fmla="*/ 1065 h 4192"/>
                <a:gd name="T38" fmla="*/ 4077 w 4800"/>
                <a:gd name="T39" fmla="*/ 1602 h 4192"/>
                <a:gd name="T40" fmla="*/ 2979 w 4800"/>
                <a:gd name="T41" fmla="*/ 210 h 4192"/>
                <a:gd name="T42" fmla="*/ 1853 w 4800"/>
                <a:gd name="T43" fmla="*/ 175 h 4192"/>
                <a:gd name="T44" fmla="*/ 738 w 4800"/>
                <a:gd name="T45" fmla="*/ 1618 h 4192"/>
                <a:gd name="T46" fmla="*/ 2156 w 4800"/>
                <a:gd name="T47" fmla="*/ 2512 h 4192"/>
                <a:gd name="T48" fmla="*/ 149 w 4800"/>
                <a:gd name="T49" fmla="*/ 2130 h 4192"/>
                <a:gd name="T50" fmla="*/ 201 w 4800"/>
                <a:gd name="T51" fmla="*/ 2078 h 4192"/>
                <a:gd name="T52" fmla="*/ 149 w 4800"/>
                <a:gd name="T53" fmla="*/ 1929 h 4192"/>
                <a:gd name="T54" fmla="*/ 1581 w 4800"/>
                <a:gd name="T55" fmla="*/ 2123 h 4192"/>
                <a:gd name="T56" fmla="*/ 431 w 4800"/>
                <a:gd name="T57" fmla="*/ 2758 h 4192"/>
                <a:gd name="T58" fmla="*/ 1535 w 4800"/>
                <a:gd name="T59" fmla="*/ 2504 h 4192"/>
                <a:gd name="T60" fmla="*/ 282 w 4800"/>
                <a:gd name="T61" fmla="*/ 2809 h 4192"/>
                <a:gd name="T62" fmla="*/ 4289 w 4800"/>
                <a:gd name="T63" fmla="*/ 1278 h 4192"/>
                <a:gd name="T64" fmla="*/ 4289 w 4800"/>
                <a:gd name="T65" fmla="*/ 1286 h 4192"/>
                <a:gd name="T66" fmla="*/ 3262 w 4800"/>
                <a:gd name="T67" fmla="*/ 1739 h 4192"/>
                <a:gd name="T68" fmla="*/ 4490 w 4800"/>
                <a:gd name="T69" fmla="*/ 1278 h 4192"/>
                <a:gd name="T70" fmla="*/ 4368 w 4800"/>
                <a:gd name="T71" fmla="*/ 2837 h 4192"/>
                <a:gd name="T72" fmla="*/ 4368 w 4800"/>
                <a:gd name="T73" fmla="*/ 2837 h 4192"/>
                <a:gd name="T74" fmla="*/ 3145 w 4800"/>
                <a:gd name="T75" fmla="*/ 2476 h 4192"/>
                <a:gd name="T76" fmla="*/ 4309 w 4800"/>
                <a:gd name="T77" fmla="*/ 2979 h 4192"/>
                <a:gd name="T78" fmla="*/ 4658 w 4800"/>
                <a:gd name="T79" fmla="*/ 2211 h 4192"/>
                <a:gd name="T80" fmla="*/ 4709 w 4800"/>
                <a:gd name="T81" fmla="*/ 2159 h 4192"/>
                <a:gd name="T82" fmla="*/ 3105 w 4800"/>
                <a:gd name="T83" fmla="*/ 2273 h 4192"/>
                <a:gd name="T84" fmla="*/ 4658 w 4800"/>
                <a:gd name="T85" fmla="*/ 2010 h 4192"/>
                <a:gd name="T86" fmla="*/ 360 w 4800"/>
                <a:gd name="T87" fmla="*/ 1864 h 4192"/>
                <a:gd name="T88" fmla="*/ 1474 w 4800"/>
                <a:gd name="T89" fmla="*/ 1857 h 4192"/>
                <a:gd name="T90" fmla="*/ 218 w 4800"/>
                <a:gd name="T91" fmla="*/ 1805 h 4192"/>
                <a:gd name="T92" fmla="*/ 2181 w 4800"/>
                <a:gd name="T93" fmla="*/ 1191 h 4192"/>
                <a:gd name="T94" fmla="*/ 2450 w 4800"/>
                <a:gd name="T95" fmla="*/ 1153 h 4192"/>
                <a:gd name="T96" fmla="*/ 2368 w 4800"/>
                <a:gd name="T97" fmla="*/ 1250 h 4192"/>
                <a:gd name="T98" fmla="*/ 2565 w 4800"/>
                <a:gd name="T99" fmla="*/ 1269 h 4192"/>
                <a:gd name="T100" fmla="*/ 1396 w 4800"/>
                <a:gd name="T101" fmla="*/ 3043 h 4192"/>
                <a:gd name="T102" fmla="*/ 1715 w 4800"/>
                <a:gd name="T103" fmla="*/ 2998 h 4192"/>
                <a:gd name="T104" fmla="*/ 1589 w 4800"/>
                <a:gd name="T105" fmla="*/ 3095 h 4192"/>
                <a:gd name="T106" fmla="*/ 1734 w 4800"/>
                <a:gd name="T107" fmla="*/ 2979 h 4192"/>
                <a:gd name="T108" fmla="*/ 2832 w 4800"/>
                <a:gd name="T109" fmla="*/ 1791 h 4192"/>
                <a:gd name="T110" fmla="*/ 2946 w 4800"/>
                <a:gd name="T111" fmla="*/ 1791 h 4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00" h="4192">
                  <a:moveTo>
                    <a:pt x="2924" y="3359"/>
                  </a:moveTo>
                  <a:lnTo>
                    <a:pt x="2924" y="3359"/>
                  </a:lnTo>
                  <a:cubicBezTo>
                    <a:pt x="2929" y="3393"/>
                    <a:pt x="2905" y="3425"/>
                    <a:pt x="2871" y="3430"/>
                  </a:cubicBezTo>
                  <a:cubicBezTo>
                    <a:pt x="2868" y="3430"/>
                    <a:pt x="2865" y="3430"/>
                    <a:pt x="2862" y="3430"/>
                  </a:cubicBezTo>
                  <a:cubicBezTo>
                    <a:pt x="2831" y="3430"/>
                    <a:pt x="2804" y="3407"/>
                    <a:pt x="2800" y="3376"/>
                  </a:cubicBezTo>
                  <a:cubicBezTo>
                    <a:pt x="2775" y="3195"/>
                    <a:pt x="2839" y="3028"/>
                    <a:pt x="2967" y="2941"/>
                  </a:cubicBezTo>
                  <a:cubicBezTo>
                    <a:pt x="3021" y="2905"/>
                    <a:pt x="3084" y="2884"/>
                    <a:pt x="3155" y="2879"/>
                  </a:cubicBezTo>
                  <a:cubicBezTo>
                    <a:pt x="3188" y="2877"/>
                    <a:pt x="3219" y="2903"/>
                    <a:pt x="3221" y="2938"/>
                  </a:cubicBezTo>
                  <a:cubicBezTo>
                    <a:pt x="3223" y="2972"/>
                    <a:pt x="3197" y="3002"/>
                    <a:pt x="3163" y="3004"/>
                  </a:cubicBezTo>
                  <a:cubicBezTo>
                    <a:pt x="3115" y="3007"/>
                    <a:pt x="3073" y="3021"/>
                    <a:pt x="3037" y="3045"/>
                  </a:cubicBezTo>
                  <a:cubicBezTo>
                    <a:pt x="2949" y="3105"/>
                    <a:pt x="2906" y="3225"/>
                    <a:pt x="2924" y="3359"/>
                  </a:cubicBezTo>
                  <a:lnTo>
                    <a:pt x="2924" y="3359"/>
                  </a:lnTo>
                  <a:close/>
                  <a:moveTo>
                    <a:pt x="2090" y="3684"/>
                  </a:moveTo>
                  <a:lnTo>
                    <a:pt x="2090" y="3684"/>
                  </a:lnTo>
                  <a:cubicBezTo>
                    <a:pt x="2112" y="3612"/>
                    <a:pt x="2071" y="3535"/>
                    <a:pt x="1998" y="3512"/>
                  </a:cubicBezTo>
                  <a:cubicBezTo>
                    <a:pt x="1989" y="3510"/>
                    <a:pt x="1979" y="3508"/>
                    <a:pt x="1970" y="3507"/>
                  </a:cubicBezTo>
                  <a:cubicBezTo>
                    <a:pt x="1935" y="3504"/>
                    <a:pt x="1910" y="3474"/>
                    <a:pt x="1913" y="3439"/>
                  </a:cubicBezTo>
                  <a:cubicBezTo>
                    <a:pt x="1916" y="3405"/>
                    <a:pt x="1946" y="3380"/>
                    <a:pt x="1981" y="3382"/>
                  </a:cubicBezTo>
                  <a:cubicBezTo>
                    <a:pt x="1999" y="3384"/>
                    <a:pt x="2017" y="3388"/>
                    <a:pt x="2034" y="3393"/>
                  </a:cubicBezTo>
                  <a:cubicBezTo>
                    <a:pt x="2173" y="3435"/>
                    <a:pt x="2252" y="3582"/>
                    <a:pt x="2210" y="3721"/>
                  </a:cubicBezTo>
                  <a:cubicBezTo>
                    <a:pt x="2197" y="3761"/>
                    <a:pt x="2175" y="3799"/>
                    <a:pt x="2145" y="3829"/>
                  </a:cubicBezTo>
                  <a:cubicBezTo>
                    <a:pt x="2133" y="3841"/>
                    <a:pt x="2117" y="3847"/>
                    <a:pt x="2101" y="3847"/>
                  </a:cubicBezTo>
                  <a:cubicBezTo>
                    <a:pt x="2085" y="3847"/>
                    <a:pt x="2069" y="3841"/>
                    <a:pt x="2057" y="3829"/>
                  </a:cubicBezTo>
                  <a:cubicBezTo>
                    <a:pt x="2032" y="3805"/>
                    <a:pt x="2032" y="3766"/>
                    <a:pt x="2056" y="3741"/>
                  </a:cubicBezTo>
                  <a:cubicBezTo>
                    <a:pt x="2072" y="3725"/>
                    <a:pt x="2083" y="3706"/>
                    <a:pt x="2090" y="3684"/>
                  </a:cubicBezTo>
                  <a:lnTo>
                    <a:pt x="2090" y="3684"/>
                  </a:lnTo>
                  <a:close/>
                  <a:moveTo>
                    <a:pt x="3049" y="1449"/>
                  </a:moveTo>
                  <a:lnTo>
                    <a:pt x="3049" y="1449"/>
                  </a:lnTo>
                  <a:cubicBezTo>
                    <a:pt x="2995" y="1485"/>
                    <a:pt x="2932" y="1506"/>
                    <a:pt x="2861" y="1511"/>
                  </a:cubicBezTo>
                  <a:cubicBezTo>
                    <a:pt x="2860" y="1511"/>
                    <a:pt x="2859" y="1511"/>
                    <a:pt x="2857" y="1511"/>
                  </a:cubicBezTo>
                  <a:cubicBezTo>
                    <a:pt x="2825" y="1511"/>
                    <a:pt x="2797" y="1485"/>
                    <a:pt x="2795" y="1452"/>
                  </a:cubicBezTo>
                  <a:cubicBezTo>
                    <a:pt x="2793" y="1418"/>
                    <a:pt x="2819" y="1388"/>
                    <a:pt x="2853" y="1386"/>
                  </a:cubicBezTo>
                  <a:cubicBezTo>
                    <a:pt x="2901" y="1383"/>
                    <a:pt x="2943" y="1369"/>
                    <a:pt x="2979" y="1345"/>
                  </a:cubicBezTo>
                  <a:cubicBezTo>
                    <a:pt x="3062" y="1289"/>
                    <a:pt x="3105" y="1178"/>
                    <a:pt x="3094" y="1052"/>
                  </a:cubicBezTo>
                  <a:cubicBezTo>
                    <a:pt x="3061" y="1042"/>
                    <a:pt x="3030" y="1026"/>
                    <a:pt x="3002" y="1003"/>
                  </a:cubicBezTo>
                  <a:cubicBezTo>
                    <a:pt x="2988" y="991"/>
                    <a:pt x="2976" y="978"/>
                    <a:pt x="2964" y="964"/>
                  </a:cubicBezTo>
                  <a:cubicBezTo>
                    <a:pt x="2943" y="936"/>
                    <a:pt x="2948" y="897"/>
                    <a:pt x="2975" y="876"/>
                  </a:cubicBezTo>
                  <a:cubicBezTo>
                    <a:pt x="3002" y="855"/>
                    <a:pt x="3042" y="859"/>
                    <a:pt x="3063" y="887"/>
                  </a:cubicBezTo>
                  <a:cubicBezTo>
                    <a:pt x="3069" y="894"/>
                    <a:pt x="3076" y="901"/>
                    <a:pt x="3083" y="908"/>
                  </a:cubicBezTo>
                  <a:cubicBezTo>
                    <a:pt x="3141" y="956"/>
                    <a:pt x="3228" y="949"/>
                    <a:pt x="3277" y="891"/>
                  </a:cubicBezTo>
                  <a:cubicBezTo>
                    <a:pt x="3292" y="874"/>
                    <a:pt x="3302" y="854"/>
                    <a:pt x="3307" y="832"/>
                  </a:cubicBezTo>
                  <a:cubicBezTo>
                    <a:pt x="3314" y="799"/>
                    <a:pt x="3347" y="777"/>
                    <a:pt x="3381" y="785"/>
                  </a:cubicBezTo>
                  <a:cubicBezTo>
                    <a:pt x="3415" y="792"/>
                    <a:pt x="3436" y="826"/>
                    <a:pt x="3429" y="859"/>
                  </a:cubicBezTo>
                  <a:cubicBezTo>
                    <a:pt x="3419" y="901"/>
                    <a:pt x="3400" y="939"/>
                    <a:pt x="3373" y="972"/>
                  </a:cubicBezTo>
                  <a:cubicBezTo>
                    <a:pt x="3332" y="1020"/>
                    <a:pt x="3277" y="1049"/>
                    <a:pt x="3220" y="1060"/>
                  </a:cubicBezTo>
                  <a:cubicBezTo>
                    <a:pt x="3229" y="1223"/>
                    <a:pt x="3166" y="1369"/>
                    <a:pt x="3049" y="1449"/>
                  </a:cubicBezTo>
                  <a:lnTo>
                    <a:pt x="3049" y="1449"/>
                  </a:lnTo>
                  <a:close/>
                  <a:moveTo>
                    <a:pt x="1735" y="1152"/>
                  </a:moveTo>
                  <a:lnTo>
                    <a:pt x="1735" y="1152"/>
                  </a:lnTo>
                  <a:cubicBezTo>
                    <a:pt x="1718" y="1126"/>
                    <a:pt x="1703" y="1096"/>
                    <a:pt x="1695" y="1062"/>
                  </a:cubicBezTo>
                  <a:cubicBezTo>
                    <a:pt x="1673" y="969"/>
                    <a:pt x="1694" y="859"/>
                    <a:pt x="1751" y="766"/>
                  </a:cubicBezTo>
                  <a:cubicBezTo>
                    <a:pt x="1706" y="728"/>
                    <a:pt x="1673" y="675"/>
                    <a:pt x="1662" y="613"/>
                  </a:cubicBezTo>
                  <a:cubicBezTo>
                    <a:pt x="1654" y="571"/>
                    <a:pt x="1657" y="527"/>
                    <a:pt x="1669" y="487"/>
                  </a:cubicBezTo>
                  <a:cubicBezTo>
                    <a:pt x="1679" y="454"/>
                    <a:pt x="1714" y="436"/>
                    <a:pt x="1747" y="446"/>
                  </a:cubicBezTo>
                  <a:cubicBezTo>
                    <a:pt x="1780" y="456"/>
                    <a:pt x="1799" y="491"/>
                    <a:pt x="1789" y="524"/>
                  </a:cubicBezTo>
                  <a:cubicBezTo>
                    <a:pt x="1782" y="546"/>
                    <a:pt x="1781" y="568"/>
                    <a:pt x="1785" y="590"/>
                  </a:cubicBezTo>
                  <a:cubicBezTo>
                    <a:pt x="1798" y="665"/>
                    <a:pt x="1870" y="715"/>
                    <a:pt x="1945" y="701"/>
                  </a:cubicBezTo>
                  <a:cubicBezTo>
                    <a:pt x="1955" y="699"/>
                    <a:pt x="1964" y="696"/>
                    <a:pt x="1973" y="693"/>
                  </a:cubicBezTo>
                  <a:cubicBezTo>
                    <a:pt x="2005" y="680"/>
                    <a:pt x="2041" y="695"/>
                    <a:pt x="2054" y="727"/>
                  </a:cubicBezTo>
                  <a:cubicBezTo>
                    <a:pt x="2067" y="759"/>
                    <a:pt x="2052" y="796"/>
                    <a:pt x="2020" y="809"/>
                  </a:cubicBezTo>
                  <a:cubicBezTo>
                    <a:pt x="2003" y="815"/>
                    <a:pt x="1986" y="821"/>
                    <a:pt x="1968" y="824"/>
                  </a:cubicBezTo>
                  <a:cubicBezTo>
                    <a:pt x="1952" y="827"/>
                    <a:pt x="1936" y="828"/>
                    <a:pt x="1920" y="828"/>
                  </a:cubicBezTo>
                  <a:cubicBezTo>
                    <a:pt x="1901" y="828"/>
                    <a:pt x="1882" y="825"/>
                    <a:pt x="1864" y="821"/>
                  </a:cubicBezTo>
                  <a:cubicBezTo>
                    <a:pt x="1820" y="888"/>
                    <a:pt x="1802" y="969"/>
                    <a:pt x="1817" y="1033"/>
                  </a:cubicBezTo>
                  <a:cubicBezTo>
                    <a:pt x="1827" y="1079"/>
                    <a:pt x="1860" y="1118"/>
                    <a:pt x="1885" y="1134"/>
                  </a:cubicBezTo>
                  <a:cubicBezTo>
                    <a:pt x="1894" y="1140"/>
                    <a:pt x="1900" y="1148"/>
                    <a:pt x="1905" y="1157"/>
                  </a:cubicBezTo>
                  <a:cubicBezTo>
                    <a:pt x="1918" y="1162"/>
                    <a:pt x="1931" y="1168"/>
                    <a:pt x="1944" y="1175"/>
                  </a:cubicBezTo>
                  <a:cubicBezTo>
                    <a:pt x="1980" y="1196"/>
                    <a:pt x="2012" y="1226"/>
                    <a:pt x="2034" y="1262"/>
                  </a:cubicBezTo>
                  <a:cubicBezTo>
                    <a:pt x="2053" y="1291"/>
                    <a:pt x="2044" y="1330"/>
                    <a:pt x="2015" y="1348"/>
                  </a:cubicBezTo>
                  <a:cubicBezTo>
                    <a:pt x="1985" y="1367"/>
                    <a:pt x="1947" y="1358"/>
                    <a:pt x="1928" y="1329"/>
                  </a:cubicBezTo>
                  <a:cubicBezTo>
                    <a:pt x="1917" y="1310"/>
                    <a:pt x="1901" y="1294"/>
                    <a:pt x="1881" y="1283"/>
                  </a:cubicBezTo>
                  <a:cubicBezTo>
                    <a:pt x="1815" y="1245"/>
                    <a:pt x="1731" y="1267"/>
                    <a:pt x="1692" y="1333"/>
                  </a:cubicBezTo>
                  <a:cubicBezTo>
                    <a:pt x="1688" y="1342"/>
                    <a:pt x="1684" y="1350"/>
                    <a:pt x="1681" y="1359"/>
                  </a:cubicBezTo>
                  <a:cubicBezTo>
                    <a:pt x="1672" y="1386"/>
                    <a:pt x="1648" y="1402"/>
                    <a:pt x="1621" y="1402"/>
                  </a:cubicBezTo>
                  <a:cubicBezTo>
                    <a:pt x="1615" y="1402"/>
                    <a:pt x="1608" y="1401"/>
                    <a:pt x="1602" y="1399"/>
                  </a:cubicBezTo>
                  <a:cubicBezTo>
                    <a:pt x="1569" y="1389"/>
                    <a:pt x="1551" y="1353"/>
                    <a:pt x="1562" y="1320"/>
                  </a:cubicBezTo>
                  <a:cubicBezTo>
                    <a:pt x="1568" y="1303"/>
                    <a:pt x="1575" y="1287"/>
                    <a:pt x="1584" y="1271"/>
                  </a:cubicBezTo>
                  <a:cubicBezTo>
                    <a:pt x="1619" y="1211"/>
                    <a:pt x="1674" y="1171"/>
                    <a:pt x="1735" y="1152"/>
                  </a:cubicBezTo>
                  <a:lnTo>
                    <a:pt x="1735" y="1152"/>
                  </a:lnTo>
                  <a:close/>
                  <a:moveTo>
                    <a:pt x="2688" y="670"/>
                  </a:moveTo>
                  <a:lnTo>
                    <a:pt x="2688" y="670"/>
                  </a:lnTo>
                  <a:cubicBezTo>
                    <a:pt x="2684" y="692"/>
                    <a:pt x="2684" y="715"/>
                    <a:pt x="2691" y="736"/>
                  </a:cubicBezTo>
                  <a:cubicBezTo>
                    <a:pt x="2700" y="769"/>
                    <a:pt x="2681" y="804"/>
                    <a:pt x="2647" y="813"/>
                  </a:cubicBezTo>
                  <a:cubicBezTo>
                    <a:pt x="2642" y="815"/>
                    <a:pt x="2636" y="816"/>
                    <a:pt x="2630" y="816"/>
                  </a:cubicBezTo>
                  <a:cubicBezTo>
                    <a:pt x="2603" y="816"/>
                    <a:pt x="2578" y="798"/>
                    <a:pt x="2570" y="770"/>
                  </a:cubicBezTo>
                  <a:cubicBezTo>
                    <a:pt x="2559" y="730"/>
                    <a:pt x="2557" y="686"/>
                    <a:pt x="2566" y="645"/>
                  </a:cubicBezTo>
                  <a:cubicBezTo>
                    <a:pt x="2596" y="503"/>
                    <a:pt x="2735" y="412"/>
                    <a:pt x="2877" y="441"/>
                  </a:cubicBezTo>
                  <a:cubicBezTo>
                    <a:pt x="2895" y="445"/>
                    <a:pt x="2912" y="450"/>
                    <a:pt x="2929" y="458"/>
                  </a:cubicBezTo>
                  <a:cubicBezTo>
                    <a:pt x="2961" y="472"/>
                    <a:pt x="2975" y="509"/>
                    <a:pt x="2961" y="540"/>
                  </a:cubicBezTo>
                  <a:cubicBezTo>
                    <a:pt x="2947" y="572"/>
                    <a:pt x="2910" y="586"/>
                    <a:pt x="2879" y="572"/>
                  </a:cubicBezTo>
                  <a:cubicBezTo>
                    <a:pt x="2870" y="568"/>
                    <a:pt x="2861" y="565"/>
                    <a:pt x="2851" y="564"/>
                  </a:cubicBezTo>
                  <a:cubicBezTo>
                    <a:pt x="2777" y="548"/>
                    <a:pt x="2704" y="596"/>
                    <a:pt x="2688" y="670"/>
                  </a:cubicBezTo>
                  <a:lnTo>
                    <a:pt x="2688" y="670"/>
                  </a:lnTo>
                  <a:close/>
                  <a:moveTo>
                    <a:pt x="3867" y="2836"/>
                  </a:moveTo>
                  <a:lnTo>
                    <a:pt x="3867" y="2836"/>
                  </a:lnTo>
                  <a:cubicBezTo>
                    <a:pt x="3842" y="2954"/>
                    <a:pt x="3799" y="3065"/>
                    <a:pt x="3741" y="3166"/>
                  </a:cubicBezTo>
                  <a:cubicBezTo>
                    <a:pt x="3740" y="3171"/>
                    <a:pt x="3738" y="3175"/>
                    <a:pt x="3737" y="3180"/>
                  </a:cubicBezTo>
                  <a:cubicBezTo>
                    <a:pt x="3733" y="3188"/>
                    <a:pt x="3727" y="3194"/>
                    <a:pt x="3721" y="3200"/>
                  </a:cubicBezTo>
                  <a:cubicBezTo>
                    <a:pt x="3606" y="3387"/>
                    <a:pt x="3437" y="3539"/>
                    <a:pt x="3233" y="3634"/>
                  </a:cubicBezTo>
                  <a:cubicBezTo>
                    <a:pt x="3229" y="3747"/>
                    <a:pt x="3192" y="3856"/>
                    <a:pt x="3124" y="3949"/>
                  </a:cubicBezTo>
                  <a:cubicBezTo>
                    <a:pt x="3034" y="4072"/>
                    <a:pt x="2902" y="4153"/>
                    <a:pt x="2752" y="4176"/>
                  </a:cubicBezTo>
                  <a:cubicBezTo>
                    <a:pt x="2723" y="4181"/>
                    <a:pt x="2693" y="4183"/>
                    <a:pt x="2664" y="4183"/>
                  </a:cubicBezTo>
                  <a:cubicBezTo>
                    <a:pt x="2590" y="4183"/>
                    <a:pt x="2516" y="4168"/>
                    <a:pt x="2447" y="4140"/>
                  </a:cubicBezTo>
                  <a:cubicBezTo>
                    <a:pt x="2442" y="4138"/>
                    <a:pt x="2439" y="4135"/>
                    <a:pt x="2435" y="4132"/>
                  </a:cubicBezTo>
                  <a:cubicBezTo>
                    <a:pt x="2429" y="4139"/>
                    <a:pt x="2422" y="4145"/>
                    <a:pt x="2412" y="4148"/>
                  </a:cubicBezTo>
                  <a:cubicBezTo>
                    <a:pt x="2343" y="4177"/>
                    <a:pt x="2270" y="4192"/>
                    <a:pt x="2195" y="4192"/>
                  </a:cubicBezTo>
                  <a:cubicBezTo>
                    <a:pt x="2166" y="4192"/>
                    <a:pt x="2137" y="4189"/>
                    <a:pt x="2108" y="4185"/>
                  </a:cubicBezTo>
                  <a:cubicBezTo>
                    <a:pt x="1957" y="4161"/>
                    <a:pt x="1825" y="4081"/>
                    <a:pt x="1735" y="3958"/>
                  </a:cubicBezTo>
                  <a:cubicBezTo>
                    <a:pt x="1669" y="3867"/>
                    <a:pt x="1631" y="3760"/>
                    <a:pt x="1626" y="3649"/>
                  </a:cubicBezTo>
                  <a:cubicBezTo>
                    <a:pt x="1626" y="3649"/>
                    <a:pt x="1625" y="3649"/>
                    <a:pt x="1625" y="3649"/>
                  </a:cubicBezTo>
                  <a:lnTo>
                    <a:pt x="1399" y="3525"/>
                  </a:lnTo>
                  <a:cubicBezTo>
                    <a:pt x="1090" y="3364"/>
                    <a:pt x="901" y="3035"/>
                    <a:pt x="917" y="2686"/>
                  </a:cubicBezTo>
                  <a:cubicBezTo>
                    <a:pt x="918" y="2651"/>
                    <a:pt x="947" y="2625"/>
                    <a:pt x="982" y="2626"/>
                  </a:cubicBezTo>
                  <a:cubicBezTo>
                    <a:pt x="1016" y="2628"/>
                    <a:pt x="1043" y="2657"/>
                    <a:pt x="1042" y="2692"/>
                  </a:cubicBezTo>
                  <a:cubicBezTo>
                    <a:pt x="1028" y="2992"/>
                    <a:pt x="1191" y="3276"/>
                    <a:pt x="1458" y="3415"/>
                  </a:cubicBezTo>
                  <a:lnTo>
                    <a:pt x="1637" y="3513"/>
                  </a:lnTo>
                  <a:cubicBezTo>
                    <a:pt x="1650" y="3445"/>
                    <a:pt x="1675" y="3381"/>
                    <a:pt x="1711" y="3322"/>
                  </a:cubicBezTo>
                  <a:cubicBezTo>
                    <a:pt x="1729" y="3293"/>
                    <a:pt x="1768" y="3284"/>
                    <a:pt x="1797" y="3302"/>
                  </a:cubicBezTo>
                  <a:cubicBezTo>
                    <a:pt x="1826" y="3320"/>
                    <a:pt x="1835" y="3359"/>
                    <a:pt x="1817" y="3388"/>
                  </a:cubicBezTo>
                  <a:cubicBezTo>
                    <a:pt x="1786" y="3439"/>
                    <a:pt x="1765" y="3494"/>
                    <a:pt x="1756" y="3554"/>
                  </a:cubicBezTo>
                  <a:cubicBezTo>
                    <a:pt x="1738" y="3671"/>
                    <a:pt x="1766" y="3788"/>
                    <a:pt x="1836" y="3884"/>
                  </a:cubicBezTo>
                  <a:cubicBezTo>
                    <a:pt x="1906" y="3980"/>
                    <a:pt x="2010" y="4043"/>
                    <a:pt x="2127" y="4061"/>
                  </a:cubicBezTo>
                  <a:cubicBezTo>
                    <a:pt x="2208" y="4074"/>
                    <a:pt x="2290" y="4064"/>
                    <a:pt x="2365" y="4033"/>
                  </a:cubicBezTo>
                  <a:cubicBezTo>
                    <a:pt x="2367" y="4032"/>
                    <a:pt x="2369" y="4032"/>
                    <a:pt x="2371" y="4032"/>
                  </a:cubicBezTo>
                  <a:lnTo>
                    <a:pt x="2371" y="3014"/>
                  </a:lnTo>
                  <a:cubicBezTo>
                    <a:pt x="2371" y="2980"/>
                    <a:pt x="2399" y="2952"/>
                    <a:pt x="2434" y="2952"/>
                  </a:cubicBezTo>
                  <a:cubicBezTo>
                    <a:pt x="2468" y="2952"/>
                    <a:pt x="2496" y="2980"/>
                    <a:pt x="2496" y="3014"/>
                  </a:cubicBezTo>
                  <a:lnTo>
                    <a:pt x="2496" y="4025"/>
                  </a:lnTo>
                  <a:cubicBezTo>
                    <a:pt x="2571" y="4055"/>
                    <a:pt x="2652" y="4065"/>
                    <a:pt x="2733" y="4053"/>
                  </a:cubicBezTo>
                  <a:cubicBezTo>
                    <a:pt x="2850" y="4034"/>
                    <a:pt x="2953" y="3971"/>
                    <a:pt x="3023" y="3876"/>
                  </a:cubicBezTo>
                  <a:cubicBezTo>
                    <a:pt x="3093" y="3780"/>
                    <a:pt x="3122" y="3662"/>
                    <a:pt x="3103" y="3545"/>
                  </a:cubicBezTo>
                  <a:cubicBezTo>
                    <a:pt x="3094" y="3486"/>
                    <a:pt x="3074" y="3430"/>
                    <a:pt x="3042" y="3380"/>
                  </a:cubicBezTo>
                  <a:cubicBezTo>
                    <a:pt x="3024" y="3350"/>
                    <a:pt x="3033" y="3312"/>
                    <a:pt x="3063" y="3294"/>
                  </a:cubicBezTo>
                  <a:cubicBezTo>
                    <a:pt x="3092" y="3275"/>
                    <a:pt x="3130" y="3284"/>
                    <a:pt x="3149" y="3314"/>
                  </a:cubicBezTo>
                  <a:cubicBezTo>
                    <a:pt x="3184" y="3371"/>
                    <a:pt x="3208" y="3434"/>
                    <a:pt x="3222" y="3501"/>
                  </a:cubicBezTo>
                  <a:cubicBezTo>
                    <a:pt x="3391" y="3412"/>
                    <a:pt x="3531" y="3278"/>
                    <a:pt x="3626" y="3115"/>
                  </a:cubicBezTo>
                  <a:cubicBezTo>
                    <a:pt x="3631" y="3099"/>
                    <a:pt x="3634" y="3082"/>
                    <a:pt x="3633" y="3065"/>
                  </a:cubicBezTo>
                  <a:cubicBezTo>
                    <a:pt x="3631" y="3028"/>
                    <a:pt x="3614" y="2994"/>
                    <a:pt x="3586" y="2970"/>
                  </a:cubicBezTo>
                  <a:cubicBezTo>
                    <a:pt x="3558" y="2946"/>
                    <a:pt x="3522" y="2935"/>
                    <a:pt x="3486" y="2937"/>
                  </a:cubicBezTo>
                  <a:cubicBezTo>
                    <a:pt x="3476" y="2938"/>
                    <a:pt x="3467" y="2939"/>
                    <a:pt x="3458" y="2942"/>
                  </a:cubicBezTo>
                  <a:cubicBezTo>
                    <a:pt x="3425" y="2951"/>
                    <a:pt x="3390" y="2932"/>
                    <a:pt x="3380" y="2899"/>
                  </a:cubicBezTo>
                  <a:cubicBezTo>
                    <a:pt x="3371" y="2866"/>
                    <a:pt x="3390" y="2831"/>
                    <a:pt x="3423" y="2822"/>
                  </a:cubicBezTo>
                  <a:cubicBezTo>
                    <a:pt x="3441" y="2817"/>
                    <a:pt x="3459" y="2814"/>
                    <a:pt x="3477" y="2812"/>
                  </a:cubicBezTo>
                  <a:cubicBezTo>
                    <a:pt x="3547" y="2807"/>
                    <a:pt x="3615" y="2830"/>
                    <a:pt x="3668" y="2876"/>
                  </a:cubicBezTo>
                  <a:cubicBezTo>
                    <a:pt x="3685" y="2891"/>
                    <a:pt x="3700" y="2909"/>
                    <a:pt x="3712" y="2928"/>
                  </a:cubicBezTo>
                  <a:cubicBezTo>
                    <a:pt x="3725" y="2890"/>
                    <a:pt x="3736" y="2851"/>
                    <a:pt x="3744" y="2811"/>
                  </a:cubicBezTo>
                  <a:cubicBezTo>
                    <a:pt x="3751" y="2777"/>
                    <a:pt x="3784" y="2755"/>
                    <a:pt x="3818" y="2762"/>
                  </a:cubicBezTo>
                  <a:cubicBezTo>
                    <a:pt x="3852" y="2770"/>
                    <a:pt x="3874" y="2803"/>
                    <a:pt x="3867" y="2836"/>
                  </a:cubicBezTo>
                  <a:lnTo>
                    <a:pt x="3867" y="2836"/>
                  </a:lnTo>
                  <a:close/>
                  <a:moveTo>
                    <a:pt x="684" y="1549"/>
                  </a:moveTo>
                  <a:lnTo>
                    <a:pt x="684" y="1549"/>
                  </a:lnTo>
                  <a:cubicBezTo>
                    <a:pt x="714" y="1311"/>
                    <a:pt x="890" y="1118"/>
                    <a:pt x="1123" y="1065"/>
                  </a:cubicBezTo>
                  <a:cubicBezTo>
                    <a:pt x="1053" y="598"/>
                    <a:pt x="1359" y="150"/>
                    <a:pt x="1827" y="52"/>
                  </a:cubicBezTo>
                  <a:cubicBezTo>
                    <a:pt x="2018" y="13"/>
                    <a:pt x="2255" y="0"/>
                    <a:pt x="2440" y="224"/>
                  </a:cubicBezTo>
                  <a:cubicBezTo>
                    <a:pt x="2579" y="99"/>
                    <a:pt x="2797" y="44"/>
                    <a:pt x="3005" y="87"/>
                  </a:cubicBezTo>
                  <a:cubicBezTo>
                    <a:pt x="3240" y="136"/>
                    <a:pt x="3442" y="274"/>
                    <a:pt x="3573" y="475"/>
                  </a:cubicBezTo>
                  <a:cubicBezTo>
                    <a:pt x="3695" y="662"/>
                    <a:pt x="3742" y="882"/>
                    <a:pt x="3709" y="1100"/>
                  </a:cubicBezTo>
                  <a:cubicBezTo>
                    <a:pt x="3921" y="1148"/>
                    <a:pt x="4088" y="1314"/>
                    <a:pt x="4138" y="1526"/>
                  </a:cubicBezTo>
                  <a:cubicBezTo>
                    <a:pt x="4146" y="1559"/>
                    <a:pt x="4125" y="1593"/>
                    <a:pt x="4091" y="1601"/>
                  </a:cubicBezTo>
                  <a:cubicBezTo>
                    <a:pt x="4086" y="1602"/>
                    <a:pt x="4081" y="1602"/>
                    <a:pt x="4077" y="1602"/>
                  </a:cubicBezTo>
                  <a:cubicBezTo>
                    <a:pt x="4048" y="1603"/>
                    <a:pt x="4023" y="1583"/>
                    <a:pt x="4016" y="1554"/>
                  </a:cubicBezTo>
                  <a:cubicBezTo>
                    <a:pt x="3977" y="1386"/>
                    <a:pt x="3843" y="1255"/>
                    <a:pt x="3674" y="1220"/>
                  </a:cubicBezTo>
                  <a:cubicBezTo>
                    <a:pt x="3615" y="1207"/>
                    <a:pt x="3556" y="1207"/>
                    <a:pt x="3498" y="1218"/>
                  </a:cubicBezTo>
                  <a:cubicBezTo>
                    <a:pt x="3463" y="1225"/>
                    <a:pt x="3431" y="1203"/>
                    <a:pt x="3424" y="1169"/>
                  </a:cubicBezTo>
                  <a:cubicBezTo>
                    <a:pt x="3417" y="1135"/>
                    <a:pt x="3440" y="1102"/>
                    <a:pt x="3473" y="1096"/>
                  </a:cubicBezTo>
                  <a:cubicBezTo>
                    <a:pt x="3510" y="1089"/>
                    <a:pt x="3548" y="1085"/>
                    <a:pt x="3585" y="1085"/>
                  </a:cubicBezTo>
                  <a:cubicBezTo>
                    <a:pt x="3614" y="896"/>
                    <a:pt x="3574" y="705"/>
                    <a:pt x="3469" y="544"/>
                  </a:cubicBezTo>
                  <a:cubicBezTo>
                    <a:pt x="3355" y="371"/>
                    <a:pt x="3181" y="252"/>
                    <a:pt x="2979" y="210"/>
                  </a:cubicBezTo>
                  <a:cubicBezTo>
                    <a:pt x="2797" y="171"/>
                    <a:pt x="2600" y="227"/>
                    <a:pt x="2495" y="345"/>
                  </a:cubicBezTo>
                  <a:cubicBezTo>
                    <a:pt x="2495" y="346"/>
                    <a:pt x="2496" y="348"/>
                    <a:pt x="2496" y="349"/>
                  </a:cubicBezTo>
                  <a:lnTo>
                    <a:pt x="2496" y="954"/>
                  </a:lnTo>
                  <a:cubicBezTo>
                    <a:pt x="2496" y="988"/>
                    <a:pt x="2468" y="1016"/>
                    <a:pt x="2434" y="1016"/>
                  </a:cubicBezTo>
                  <a:cubicBezTo>
                    <a:pt x="2399" y="1016"/>
                    <a:pt x="2371" y="988"/>
                    <a:pt x="2371" y="954"/>
                  </a:cubicBezTo>
                  <a:lnTo>
                    <a:pt x="2371" y="349"/>
                  </a:lnTo>
                  <a:cubicBezTo>
                    <a:pt x="2371" y="347"/>
                    <a:pt x="2372" y="345"/>
                    <a:pt x="2372" y="342"/>
                  </a:cubicBezTo>
                  <a:cubicBezTo>
                    <a:pt x="2226" y="130"/>
                    <a:pt x="2036" y="136"/>
                    <a:pt x="1853" y="175"/>
                  </a:cubicBezTo>
                  <a:cubicBezTo>
                    <a:pt x="1449" y="259"/>
                    <a:pt x="1185" y="647"/>
                    <a:pt x="1247" y="1050"/>
                  </a:cubicBezTo>
                  <a:cubicBezTo>
                    <a:pt x="1284" y="1050"/>
                    <a:pt x="1322" y="1054"/>
                    <a:pt x="1359" y="1061"/>
                  </a:cubicBezTo>
                  <a:cubicBezTo>
                    <a:pt x="1392" y="1067"/>
                    <a:pt x="1415" y="1100"/>
                    <a:pt x="1408" y="1134"/>
                  </a:cubicBezTo>
                  <a:cubicBezTo>
                    <a:pt x="1401" y="1168"/>
                    <a:pt x="1369" y="1190"/>
                    <a:pt x="1334" y="1183"/>
                  </a:cubicBezTo>
                  <a:cubicBezTo>
                    <a:pt x="1276" y="1172"/>
                    <a:pt x="1217" y="1172"/>
                    <a:pt x="1158" y="1185"/>
                  </a:cubicBezTo>
                  <a:cubicBezTo>
                    <a:pt x="972" y="1223"/>
                    <a:pt x="832" y="1376"/>
                    <a:pt x="808" y="1564"/>
                  </a:cubicBezTo>
                  <a:cubicBezTo>
                    <a:pt x="804" y="1596"/>
                    <a:pt x="777" y="1619"/>
                    <a:pt x="746" y="1619"/>
                  </a:cubicBezTo>
                  <a:cubicBezTo>
                    <a:pt x="743" y="1619"/>
                    <a:pt x="741" y="1619"/>
                    <a:pt x="738" y="1618"/>
                  </a:cubicBezTo>
                  <a:cubicBezTo>
                    <a:pt x="704" y="1614"/>
                    <a:pt x="680" y="1583"/>
                    <a:pt x="684" y="1549"/>
                  </a:cubicBezTo>
                  <a:lnTo>
                    <a:pt x="684" y="1549"/>
                  </a:lnTo>
                  <a:close/>
                  <a:moveTo>
                    <a:pt x="2701" y="1921"/>
                  </a:moveTo>
                  <a:lnTo>
                    <a:pt x="2701" y="1921"/>
                  </a:lnTo>
                  <a:lnTo>
                    <a:pt x="2701" y="2512"/>
                  </a:lnTo>
                  <a:cubicBezTo>
                    <a:pt x="2701" y="2547"/>
                    <a:pt x="2673" y="2576"/>
                    <a:pt x="2638" y="2576"/>
                  </a:cubicBezTo>
                  <a:lnTo>
                    <a:pt x="2219" y="2576"/>
                  </a:lnTo>
                  <a:cubicBezTo>
                    <a:pt x="2184" y="2576"/>
                    <a:pt x="2156" y="2547"/>
                    <a:pt x="2156" y="2512"/>
                  </a:cubicBezTo>
                  <a:lnTo>
                    <a:pt x="2156" y="1921"/>
                  </a:lnTo>
                  <a:cubicBezTo>
                    <a:pt x="2156" y="1886"/>
                    <a:pt x="2184" y="1857"/>
                    <a:pt x="2219" y="1857"/>
                  </a:cubicBezTo>
                  <a:lnTo>
                    <a:pt x="2638" y="1857"/>
                  </a:lnTo>
                  <a:cubicBezTo>
                    <a:pt x="2673" y="1857"/>
                    <a:pt x="2701" y="1886"/>
                    <a:pt x="2701" y="1921"/>
                  </a:cubicBezTo>
                  <a:lnTo>
                    <a:pt x="2701" y="1921"/>
                  </a:lnTo>
                  <a:close/>
                  <a:moveTo>
                    <a:pt x="201" y="2078"/>
                  </a:moveTo>
                  <a:lnTo>
                    <a:pt x="201" y="2078"/>
                  </a:lnTo>
                  <a:cubicBezTo>
                    <a:pt x="201" y="2107"/>
                    <a:pt x="177" y="2130"/>
                    <a:pt x="149" y="2130"/>
                  </a:cubicBezTo>
                  <a:lnTo>
                    <a:pt x="141" y="2130"/>
                  </a:lnTo>
                  <a:cubicBezTo>
                    <a:pt x="113" y="2130"/>
                    <a:pt x="90" y="2107"/>
                    <a:pt x="90" y="2078"/>
                  </a:cubicBezTo>
                  <a:lnTo>
                    <a:pt x="90" y="2070"/>
                  </a:lnTo>
                  <a:cubicBezTo>
                    <a:pt x="90" y="2042"/>
                    <a:pt x="113" y="2019"/>
                    <a:pt x="141" y="2019"/>
                  </a:cubicBezTo>
                  <a:lnTo>
                    <a:pt x="149" y="2019"/>
                  </a:lnTo>
                  <a:cubicBezTo>
                    <a:pt x="177" y="2019"/>
                    <a:pt x="201" y="2042"/>
                    <a:pt x="201" y="2070"/>
                  </a:cubicBezTo>
                  <a:lnTo>
                    <a:pt x="201" y="2078"/>
                  </a:lnTo>
                  <a:lnTo>
                    <a:pt x="201" y="2078"/>
                  </a:lnTo>
                  <a:close/>
                  <a:moveTo>
                    <a:pt x="1581" y="2123"/>
                  </a:moveTo>
                  <a:lnTo>
                    <a:pt x="1581" y="2123"/>
                  </a:lnTo>
                  <a:cubicBezTo>
                    <a:pt x="1600" y="2164"/>
                    <a:pt x="1641" y="2192"/>
                    <a:pt x="1688" y="2192"/>
                  </a:cubicBezTo>
                  <a:cubicBezTo>
                    <a:pt x="1753" y="2192"/>
                    <a:pt x="1806" y="2139"/>
                    <a:pt x="1806" y="2074"/>
                  </a:cubicBezTo>
                  <a:cubicBezTo>
                    <a:pt x="1806" y="2009"/>
                    <a:pt x="1753" y="1957"/>
                    <a:pt x="1688" y="1957"/>
                  </a:cubicBezTo>
                  <a:cubicBezTo>
                    <a:pt x="1640" y="1957"/>
                    <a:pt x="1599" y="1985"/>
                    <a:pt x="1581" y="2027"/>
                  </a:cubicBezTo>
                  <a:lnTo>
                    <a:pt x="283" y="2027"/>
                  </a:lnTo>
                  <a:cubicBezTo>
                    <a:pt x="265" y="1970"/>
                    <a:pt x="212" y="1929"/>
                    <a:pt x="149" y="1929"/>
                  </a:cubicBezTo>
                  <a:lnTo>
                    <a:pt x="141" y="1929"/>
                  </a:lnTo>
                  <a:cubicBezTo>
                    <a:pt x="63" y="1929"/>
                    <a:pt x="0" y="1992"/>
                    <a:pt x="0" y="2070"/>
                  </a:cubicBezTo>
                  <a:lnTo>
                    <a:pt x="0" y="2078"/>
                  </a:lnTo>
                  <a:cubicBezTo>
                    <a:pt x="0" y="2157"/>
                    <a:pt x="63" y="2220"/>
                    <a:pt x="141" y="2220"/>
                  </a:cubicBezTo>
                  <a:lnTo>
                    <a:pt x="149" y="2220"/>
                  </a:lnTo>
                  <a:cubicBezTo>
                    <a:pt x="212" y="2220"/>
                    <a:pt x="264" y="2179"/>
                    <a:pt x="283" y="2123"/>
                  </a:cubicBezTo>
                  <a:lnTo>
                    <a:pt x="1581" y="2123"/>
                  </a:lnTo>
                  <a:lnTo>
                    <a:pt x="1581" y="2123"/>
                  </a:lnTo>
                  <a:close/>
                  <a:moveTo>
                    <a:pt x="483" y="2817"/>
                  </a:moveTo>
                  <a:lnTo>
                    <a:pt x="483" y="2817"/>
                  </a:lnTo>
                  <a:cubicBezTo>
                    <a:pt x="483" y="2845"/>
                    <a:pt x="460" y="2868"/>
                    <a:pt x="431" y="2868"/>
                  </a:cubicBezTo>
                  <a:lnTo>
                    <a:pt x="423" y="2868"/>
                  </a:lnTo>
                  <a:cubicBezTo>
                    <a:pt x="395" y="2868"/>
                    <a:pt x="372" y="2845"/>
                    <a:pt x="372" y="2817"/>
                  </a:cubicBezTo>
                  <a:lnTo>
                    <a:pt x="372" y="2809"/>
                  </a:lnTo>
                  <a:cubicBezTo>
                    <a:pt x="372" y="2781"/>
                    <a:pt x="395" y="2758"/>
                    <a:pt x="423" y="2758"/>
                  </a:cubicBezTo>
                  <a:lnTo>
                    <a:pt x="431" y="2758"/>
                  </a:lnTo>
                  <a:cubicBezTo>
                    <a:pt x="460" y="2758"/>
                    <a:pt x="483" y="2781"/>
                    <a:pt x="483" y="2809"/>
                  </a:cubicBezTo>
                  <a:lnTo>
                    <a:pt x="483" y="2817"/>
                  </a:lnTo>
                  <a:lnTo>
                    <a:pt x="483" y="2817"/>
                  </a:lnTo>
                  <a:close/>
                  <a:moveTo>
                    <a:pt x="476" y="2675"/>
                  </a:moveTo>
                  <a:lnTo>
                    <a:pt x="476" y="2675"/>
                  </a:lnTo>
                  <a:lnTo>
                    <a:pt x="476" y="2523"/>
                  </a:lnTo>
                  <a:cubicBezTo>
                    <a:pt x="476" y="2513"/>
                    <a:pt x="484" y="2504"/>
                    <a:pt x="495" y="2504"/>
                  </a:cubicBezTo>
                  <a:lnTo>
                    <a:pt x="1535" y="2504"/>
                  </a:lnTo>
                  <a:cubicBezTo>
                    <a:pt x="1554" y="2545"/>
                    <a:pt x="1595" y="2574"/>
                    <a:pt x="1643" y="2574"/>
                  </a:cubicBezTo>
                  <a:cubicBezTo>
                    <a:pt x="1708" y="2574"/>
                    <a:pt x="1760" y="2521"/>
                    <a:pt x="1760" y="2456"/>
                  </a:cubicBezTo>
                  <a:cubicBezTo>
                    <a:pt x="1760" y="2391"/>
                    <a:pt x="1708" y="2338"/>
                    <a:pt x="1643" y="2338"/>
                  </a:cubicBezTo>
                  <a:cubicBezTo>
                    <a:pt x="1595" y="2338"/>
                    <a:pt x="1554" y="2367"/>
                    <a:pt x="1535" y="2408"/>
                  </a:cubicBezTo>
                  <a:lnTo>
                    <a:pt x="495" y="2408"/>
                  </a:lnTo>
                  <a:cubicBezTo>
                    <a:pt x="431" y="2408"/>
                    <a:pt x="379" y="2460"/>
                    <a:pt x="379" y="2523"/>
                  </a:cubicBezTo>
                  <a:lnTo>
                    <a:pt x="379" y="2675"/>
                  </a:lnTo>
                  <a:cubicBezTo>
                    <a:pt x="323" y="2693"/>
                    <a:pt x="282" y="2746"/>
                    <a:pt x="282" y="2809"/>
                  </a:cubicBezTo>
                  <a:lnTo>
                    <a:pt x="282" y="2817"/>
                  </a:lnTo>
                  <a:cubicBezTo>
                    <a:pt x="282" y="2895"/>
                    <a:pt x="345" y="2959"/>
                    <a:pt x="423" y="2959"/>
                  </a:cubicBezTo>
                  <a:lnTo>
                    <a:pt x="431" y="2959"/>
                  </a:lnTo>
                  <a:cubicBezTo>
                    <a:pt x="509" y="2959"/>
                    <a:pt x="573" y="2895"/>
                    <a:pt x="573" y="2817"/>
                  </a:cubicBezTo>
                  <a:lnTo>
                    <a:pt x="573" y="2809"/>
                  </a:lnTo>
                  <a:cubicBezTo>
                    <a:pt x="573" y="2746"/>
                    <a:pt x="532" y="2693"/>
                    <a:pt x="476" y="2675"/>
                  </a:cubicBezTo>
                  <a:lnTo>
                    <a:pt x="476" y="2675"/>
                  </a:lnTo>
                  <a:close/>
                  <a:moveTo>
                    <a:pt x="4289" y="1278"/>
                  </a:moveTo>
                  <a:lnTo>
                    <a:pt x="4289" y="1278"/>
                  </a:lnTo>
                  <a:cubicBezTo>
                    <a:pt x="4289" y="1250"/>
                    <a:pt x="4312" y="1227"/>
                    <a:pt x="4340" y="1227"/>
                  </a:cubicBezTo>
                  <a:lnTo>
                    <a:pt x="4348" y="1227"/>
                  </a:lnTo>
                  <a:cubicBezTo>
                    <a:pt x="4376" y="1227"/>
                    <a:pt x="4399" y="1250"/>
                    <a:pt x="4399" y="1278"/>
                  </a:cubicBezTo>
                  <a:lnTo>
                    <a:pt x="4399" y="1286"/>
                  </a:lnTo>
                  <a:cubicBezTo>
                    <a:pt x="4399" y="1314"/>
                    <a:pt x="4376" y="1337"/>
                    <a:pt x="4348" y="1337"/>
                  </a:cubicBezTo>
                  <a:lnTo>
                    <a:pt x="4340" y="1337"/>
                  </a:lnTo>
                  <a:cubicBezTo>
                    <a:pt x="4312" y="1337"/>
                    <a:pt x="4289" y="1314"/>
                    <a:pt x="4289" y="1286"/>
                  </a:cubicBezTo>
                  <a:lnTo>
                    <a:pt x="4289" y="1278"/>
                  </a:lnTo>
                  <a:lnTo>
                    <a:pt x="4289" y="1278"/>
                  </a:lnTo>
                  <a:close/>
                  <a:moveTo>
                    <a:pt x="4295" y="1420"/>
                  </a:moveTo>
                  <a:lnTo>
                    <a:pt x="4295" y="1420"/>
                  </a:lnTo>
                  <a:lnTo>
                    <a:pt x="4295" y="1790"/>
                  </a:lnTo>
                  <a:cubicBezTo>
                    <a:pt x="4295" y="1800"/>
                    <a:pt x="4287" y="1809"/>
                    <a:pt x="4276" y="1809"/>
                  </a:cubicBezTo>
                  <a:lnTo>
                    <a:pt x="3370" y="1809"/>
                  </a:lnTo>
                  <a:cubicBezTo>
                    <a:pt x="3351" y="1768"/>
                    <a:pt x="3310" y="1739"/>
                    <a:pt x="3262" y="1739"/>
                  </a:cubicBezTo>
                  <a:cubicBezTo>
                    <a:pt x="3197" y="1739"/>
                    <a:pt x="3145" y="1792"/>
                    <a:pt x="3145" y="1857"/>
                  </a:cubicBezTo>
                  <a:cubicBezTo>
                    <a:pt x="3145" y="1922"/>
                    <a:pt x="3197" y="1975"/>
                    <a:pt x="3262" y="1975"/>
                  </a:cubicBezTo>
                  <a:cubicBezTo>
                    <a:pt x="3310" y="1975"/>
                    <a:pt x="3351" y="1946"/>
                    <a:pt x="3370" y="1905"/>
                  </a:cubicBezTo>
                  <a:lnTo>
                    <a:pt x="4276" y="1905"/>
                  </a:lnTo>
                  <a:cubicBezTo>
                    <a:pt x="4340" y="1905"/>
                    <a:pt x="4392" y="1854"/>
                    <a:pt x="4392" y="1790"/>
                  </a:cubicBezTo>
                  <a:lnTo>
                    <a:pt x="4392" y="1420"/>
                  </a:lnTo>
                  <a:cubicBezTo>
                    <a:pt x="4448" y="1402"/>
                    <a:pt x="4490" y="1349"/>
                    <a:pt x="4490" y="1286"/>
                  </a:cubicBezTo>
                  <a:lnTo>
                    <a:pt x="4490" y="1278"/>
                  </a:lnTo>
                  <a:cubicBezTo>
                    <a:pt x="4490" y="1200"/>
                    <a:pt x="4426" y="1136"/>
                    <a:pt x="4348" y="1136"/>
                  </a:cubicBezTo>
                  <a:lnTo>
                    <a:pt x="4340" y="1136"/>
                  </a:lnTo>
                  <a:cubicBezTo>
                    <a:pt x="4262" y="1136"/>
                    <a:pt x="4198" y="1200"/>
                    <a:pt x="4198" y="1278"/>
                  </a:cubicBezTo>
                  <a:lnTo>
                    <a:pt x="4198" y="1286"/>
                  </a:lnTo>
                  <a:cubicBezTo>
                    <a:pt x="4198" y="1349"/>
                    <a:pt x="4239" y="1402"/>
                    <a:pt x="4295" y="1420"/>
                  </a:cubicBezTo>
                  <a:lnTo>
                    <a:pt x="4295" y="1420"/>
                  </a:lnTo>
                  <a:close/>
                  <a:moveTo>
                    <a:pt x="4368" y="2837"/>
                  </a:moveTo>
                  <a:lnTo>
                    <a:pt x="4368" y="2837"/>
                  </a:lnTo>
                  <a:cubicBezTo>
                    <a:pt x="4368" y="2865"/>
                    <a:pt x="4345" y="2888"/>
                    <a:pt x="4317" y="2888"/>
                  </a:cubicBezTo>
                  <a:lnTo>
                    <a:pt x="4309" y="2888"/>
                  </a:lnTo>
                  <a:cubicBezTo>
                    <a:pt x="4281" y="2888"/>
                    <a:pt x="4258" y="2865"/>
                    <a:pt x="4258" y="2837"/>
                  </a:cubicBezTo>
                  <a:lnTo>
                    <a:pt x="4258" y="2829"/>
                  </a:lnTo>
                  <a:cubicBezTo>
                    <a:pt x="4258" y="2801"/>
                    <a:pt x="4281" y="2778"/>
                    <a:pt x="4309" y="2778"/>
                  </a:cubicBezTo>
                  <a:lnTo>
                    <a:pt x="4317" y="2778"/>
                  </a:lnTo>
                  <a:cubicBezTo>
                    <a:pt x="4345" y="2778"/>
                    <a:pt x="4368" y="2801"/>
                    <a:pt x="4368" y="2829"/>
                  </a:cubicBezTo>
                  <a:lnTo>
                    <a:pt x="4368" y="2837"/>
                  </a:lnTo>
                  <a:lnTo>
                    <a:pt x="4368" y="2837"/>
                  </a:lnTo>
                  <a:close/>
                  <a:moveTo>
                    <a:pt x="4361" y="2695"/>
                  </a:moveTo>
                  <a:lnTo>
                    <a:pt x="4361" y="2695"/>
                  </a:lnTo>
                  <a:lnTo>
                    <a:pt x="4361" y="2544"/>
                  </a:lnTo>
                  <a:cubicBezTo>
                    <a:pt x="4361" y="2480"/>
                    <a:pt x="4309" y="2428"/>
                    <a:pt x="4246" y="2428"/>
                  </a:cubicBezTo>
                  <a:lnTo>
                    <a:pt x="3370" y="2428"/>
                  </a:lnTo>
                  <a:cubicBezTo>
                    <a:pt x="3351" y="2387"/>
                    <a:pt x="3310" y="2358"/>
                    <a:pt x="3262" y="2358"/>
                  </a:cubicBezTo>
                  <a:cubicBezTo>
                    <a:pt x="3197" y="2358"/>
                    <a:pt x="3145" y="2411"/>
                    <a:pt x="3145" y="2476"/>
                  </a:cubicBezTo>
                  <a:cubicBezTo>
                    <a:pt x="3145" y="2541"/>
                    <a:pt x="3197" y="2594"/>
                    <a:pt x="3262" y="2594"/>
                  </a:cubicBezTo>
                  <a:cubicBezTo>
                    <a:pt x="3310" y="2594"/>
                    <a:pt x="3351" y="2566"/>
                    <a:pt x="3370" y="2525"/>
                  </a:cubicBezTo>
                  <a:lnTo>
                    <a:pt x="4246" y="2525"/>
                  </a:lnTo>
                  <a:cubicBezTo>
                    <a:pt x="4256" y="2525"/>
                    <a:pt x="4265" y="2533"/>
                    <a:pt x="4265" y="2544"/>
                  </a:cubicBezTo>
                  <a:lnTo>
                    <a:pt x="4265" y="2695"/>
                  </a:lnTo>
                  <a:cubicBezTo>
                    <a:pt x="4208" y="2714"/>
                    <a:pt x="4167" y="2766"/>
                    <a:pt x="4167" y="2829"/>
                  </a:cubicBezTo>
                  <a:lnTo>
                    <a:pt x="4167" y="2837"/>
                  </a:lnTo>
                  <a:cubicBezTo>
                    <a:pt x="4167" y="2915"/>
                    <a:pt x="4231" y="2979"/>
                    <a:pt x="4309" y="2979"/>
                  </a:cubicBezTo>
                  <a:lnTo>
                    <a:pt x="4317" y="2979"/>
                  </a:lnTo>
                  <a:cubicBezTo>
                    <a:pt x="4395" y="2979"/>
                    <a:pt x="4459" y="2915"/>
                    <a:pt x="4459" y="2837"/>
                  </a:cubicBezTo>
                  <a:lnTo>
                    <a:pt x="4459" y="2829"/>
                  </a:lnTo>
                  <a:cubicBezTo>
                    <a:pt x="4459" y="2766"/>
                    <a:pt x="4418" y="2714"/>
                    <a:pt x="4361" y="2695"/>
                  </a:cubicBezTo>
                  <a:lnTo>
                    <a:pt x="4361" y="2695"/>
                  </a:lnTo>
                  <a:close/>
                  <a:moveTo>
                    <a:pt x="4709" y="2159"/>
                  </a:moveTo>
                  <a:lnTo>
                    <a:pt x="4709" y="2159"/>
                  </a:lnTo>
                  <a:cubicBezTo>
                    <a:pt x="4709" y="2188"/>
                    <a:pt x="4686" y="2211"/>
                    <a:pt x="4658" y="2211"/>
                  </a:cubicBezTo>
                  <a:lnTo>
                    <a:pt x="4650" y="2211"/>
                  </a:lnTo>
                  <a:cubicBezTo>
                    <a:pt x="4622" y="2211"/>
                    <a:pt x="4599" y="2188"/>
                    <a:pt x="4599" y="2159"/>
                  </a:cubicBezTo>
                  <a:lnTo>
                    <a:pt x="4599" y="2151"/>
                  </a:lnTo>
                  <a:cubicBezTo>
                    <a:pt x="4599" y="2123"/>
                    <a:pt x="4622" y="2100"/>
                    <a:pt x="4650" y="2100"/>
                  </a:cubicBezTo>
                  <a:lnTo>
                    <a:pt x="4658" y="2100"/>
                  </a:lnTo>
                  <a:cubicBezTo>
                    <a:pt x="4686" y="2100"/>
                    <a:pt x="4709" y="2123"/>
                    <a:pt x="4709" y="2151"/>
                  </a:cubicBezTo>
                  <a:lnTo>
                    <a:pt x="4709" y="2159"/>
                  </a:lnTo>
                  <a:lnTo>
                    <a:pt x="4709" y="2159"/>
                  </a:lnTo>
                  <a:close/>
                  <a:moveTo>
                    <a:pt x="4658" y="2010"/>
                  </a:moveTo>
                  <a:lnTo>
                    <a:pt x="4658" y="2010"/>
                  </a:lnTo>
                  <a:lnTo>
                    <a:pt x="4650" y="2010"/>
                  </a:lnTo>
                  <a:cubicBezTo>
                    <a:pt x="4586" y="2010"/>
                    <a:pt x="4532" y="2053"/>
                    <a:pt x="4514" y="2111"/>
                  </a:cubicBezTo>
                  <a:lnTo>
                    <a:pt x="3214" y="2111"/>
                  </a:lnTo>
                  <a:cubicBezTo>
                    <a:pt x="3197" y="2068"/>
                    <a:pt x="3154" y="2037"/>
                    <a:pt x="3105" y="2037"/>
                  </a:cubicBezTo>
                  <a:cubicBezTo>
                    <a:pt x="3040" y="2037"/>
                    <a:pt x="2987" y="2090"/>
                    <a:pt x="2987" y="2155"/>
                  </a:cubicBezTo>
                  <a:cubicBezTo>
                    <a:pt x="2987" y="2220"/>
                    <a:pt x="3040" y="2273"/>
                    <a:pt x="3105" y="2273"/>
                  </a:cubicBezTo>
                  <a:cubicBezTo>
                    <a:pt x="3151" y="2273"/>
                    <a:pt x="3191" y="2246"/>
                    <a:pt x="3210" y="2208"/>
                  </a:cubicBezTo>
                  <a:lnTo>
                    <a:pt x="4517" y="2208"/>
                  </a:lnTo>
                  <a:cubicBezTo>
                    <a:pt x="4537" y="2262"/>
                    <a:pt x="4589" y="2301"/>
                    <a:pt x="4650" y="2301"/>
                  </a:cubicBezTo>
                  <a:lnTo>
                    <a:pt x="4658" y="2301"/>
                  </a:lnTo>
                  <a:cubicBezTo>
                    <a:pt x="4736" y="2301"/>
                    <a:pt x="4800" y="2238"/>
                    <a:pt x="4800" y="2159"/>
                  </a:cubicBezTo>
                  <a:lnTo>
                    <a:pt x="4800" y="2151"/>
                  </a:lnTo>
                  <a:cubicBezTo>
                    <a:pt x="4800" y="2073"/>
                    <a:pt x="4736" y="2010"/>
                    <a:pt x="4658" y="2010"/>
                  </a:cubicBezTo>
                  <a:lnTo>
                    <a:pt x="4658" y="2010"/>
                  </a:lnTo>
                  <a:close/>
                  <a:moveTo>
                    <a:pt x="309" y="1805"/>
                  </a:moveTo>
                  <a:lnTo>
                    <a:pt x="309" y="1805"/>
                  </a:lnTo>
                  <a:cubicBezTo>
                    <a:pt x="309" y="1777"/>
                    <a:pt x="332" y="1754"/>
                    <a:pt x="360" y="1754"/>
                  </a:cubicBezTo>
                  <a:lnTo>
                    <a:pt x="368" y="1754"/>
                  </a:lnTo>
                  <a:cubicBezTo>
                    <a:pt x="396" y="1754"/>
                    <a:pt x="419" y="1777"/>
                    <a:pt x="419" y="1805"/>
                  </a:cubicBezTo>
                  <a:lnTo>
                    <a:pt x="419" y="1813"/>
                  </a:lnTo>
                  <a:cubicBezTo>
                    <a:pt x="419" y="1841"/>
                    <a:pt x="396" y="1864"/>
                    <a:pt x="368" y="1864"/>
                  </a:cubicBezTo>
                  <a:lnTo>
                    <a:pt x="360" y="1864"/>
                  </a:lnTo>
                  <a:cubicBezTo>
                    <a:pt x="332" y="1864"/>
                    <a:pt x="309" y="1841"/>
                    <a:pt x="309" y="1813"/>
                  </a:cubicBezTo>
                  <a:lnTo>
                    <a:pt x="309" y="1805"/>
                  </a:lnTo>
                  <a:lnTo>
                    <a:pt x="309" y="1805"/>
                  </a:lnTo>
                  <a:close/>
                  <a:moveTo>
                    <a:pt x="360" y="1955"/>
                  </a:moveTo>
                  <a:lnTo>
                    <a:pt x="360" y="1955"/>
                  </a:lnTo>
                  <a:lnTo>
                    <a:pt x="368" y="1955"/>
                  </a:lnTo>
                  <a:cubicBezTo>
                    <a:pt x="431" y="1955"/>
                    <a:pt x="484" y="1914"/>
                    <a:pt x="502" y="1857"/>
                  </a:cubicBezTo>
                  <a:lnTo>
                    <a:pt x="1474" y="1857"/>
                  </a:lnTo>
                  <a:cubicBezTo>
                    <a:pt x="1492" y="1898"/>
                    <a:pt x="1533" y="1927"/>
                    <a:pt x="1581" y="1927"/>
                  </a:cubicBezTo>
                  <a:cubicBezTo>
                    <a:pt x="1646" y="1927"/>
                    <a:pt x="1699" y="1874"/>
                    <a:pt x="1699" y="1809"/>
                  </a:cubicBezTo>
                  <a:cubicBezTo>
                    <a:pt x="1699" y="1744"/>
                    <a:pt x="1646" y="1691"/>
                    <a:pt x="1581" y="1691"/>
                  </a:cubicBezTo>
                  <a:cubicBezTo>
                    <a:pt x="1533" y="1691"/>
                    <a:pt x="1492" y="1720"/>
                    <a:pt x="1473" y="1761"/>
                  </a:cubicBezTo>
                  <a:lnTo>
                    <a:pt x="502" y="1761"/>
                  </a:lnTo>
                  <a:cubicBezTo>
                    <a:pt x="484" y="1705"/>
                    <a:pt x="431" y="1663"/>
                    <a:pt x="368" y="1663"/>
                  </a:cubicBezTo>
                  <a:lnTo>
                    <a:pt x="360" y="1663"/>
                  </a:lnTo>
                  <a:cubicBezTo>
                    <a:pt x="282" y="1663"/>
                    <a:pt x="218" y="1727"/>
                    <a:pt x="218" y="1805"/>
                  </a:cubicBezTo>
                  <a:lnTo>
                    <a:pt x="218" y="1813"/>
                  </a:lnTo>
                  <a:cubicBezTo>
                    <a:pt x="218" y="1891"/>
                    <a:pt x="282" y="1955"/>
                    <a:pt x="360" y="1955"/>
                  </a:cubicBezTo>
                  <a:lnTo>
                    <a:pt x="360" y="1955"/>
                  </a:lnTo>
                  <a:close/>
                  <a:moveTo>
                    <a:pt x="2291" y="1191"/>
                  </a:moveTo>
                  <a:lnTo>
                    <a:pt x="2291" y="1191"/>
                  </a:lnTo>
                  <a:cubicBezTo>
                    <a:pt x="2291" y="1219"/>
                    <a:pt x="2268" y="1242"/>
                    <a:pt x="2240" y="1242"/>
                  </a:cubicBezTo>
                  <a:lnTo>
                    <a:pt x="2232" y="1242"/>
                  </a:lnTo>
                  <a:cubicBezTo>
                    <a:pt x="2204" y="1242"/>
                    <a:pt x="2181" y="1219"/>
                    <a:pt x="2181" y="1191"/>
                  </a:cubicBezTo>
                  <a:lnTo>
                    <a:pt x="2181" y="1183"/>
                  </a:lnTo>
                  <a:cubicBezTo>
                    <a:pt x="2181" y="1154"/>
                    <a:pt x="2204" y="1131"/>
                    <a:pt x="2232" y="1131"/>
                  </a:cubicBezTo>
                  <a:lnTo>
                    <a:pt x="2240" y="1131"/>
                  </a:lnTo>
                  <a:cubicBezTo>
                    <a:pt x="2268" y="1131"/>
                    <a:pt x="2291" y="1154"/>
                    <a:pt x="2291" y="1183"/>
                  </a:cubicBezTo>
                  <a:lnTo>
                    <a:pt x="2291" y="1191"/>
                  </a:lnTo>
                  <a:lnTo>
                    <a:pt x="2291" y="1191"/>
                  </a:lnTo>
                  <a:close/>
                  <a:moveTo>
                    <a:pt x="2450" y="1153"/>
                  </a:moveTo>
                  <a:lnTo>
                    <a:pt x="2450" y="1153"/>
                  </a:lnTo>
                  <a:lnTo>
                    <a:pt x="2379" y="1153"/>
                  </a:lnTo>
                  <a:cubicBezTo>
                    <a:pt x="2365" y="1089"/>
                    <a:pt x="2308" y="1041"/>
                    <a:pt x="2240" y="1041"/>
                  </a:cubicBezTo>
                  <a:lnTo>
                    <a:pt x="2232" y="1041"/>
                  </a:lnTo>
                  <a:cubicBezTo>
                    <a:pt x="2154" y="1041"/>
                    <a:pt x="2090" y="1104"/>
                    <a:pt x="2090" y="1183"/>
                  </a:cubicBezTo>
                  <a:lnTo>
                    <a:pt x="2090" y="1191"/>
                  </a:lnTo>
                  <a:cubicBezTo>
                    <a:pt x="2090" y="1269"/>
                    <a:pt x="2154" y="1332"/>
                    <a:pt x="2232" y="1332"/>
                  </a:cubicBezTo>
                  <a:lnTo>
                    <a:pt x="2240" y="1332"/>
                  </a:lnTo>
                  <a:cubicBezTo>
                    <a:pt x="2297" y="1332"/>
                    <a:pt x="2346" y="1298"/>
                    <a:pt x="2368" y="1250"/>
                  </a:cubicBezTo>
                  <a:lnTo>
                    <a:pt x="2450" y="1250"/>
                  </a:lnTo>
                  <a:cubicBezTo>
                    <a:pt x="2460" y="1250"/>
                    <a:pt x="2469" y="1259"/>
                    <a:pt x="2469" y="1269"/>
                  </a:cubicBezTo>
                  <a:lnTo>
                    <a:pt x="2469" y="1341"/>
                  </a:lnTo>
                  <a:cubicBezTo>
                    <a:pt x="2428" y="1359"/>
                    <a:pt x="2399" y="1400"/>
                    <a:pt x="2399" y="1448"/>
                  </a:cubicBezTo>
                  <a:cubicBezTo>
                    <a:pt x="2399" y="1513"/>
                    <a:pt x="2452" y="1566"/>
                    <a:pt x="2517" y="1566"/>
                  </a:cubicBezTo>
                  <a:cubicBezTo>
                    <a:pt x="2582" y="1566"/>
                    <a:pt x="2635" y="1513"/>
                    <a:pt x="2635" y="1448"/>
                  </a:cubicBezTo>
                  <a:cubicBezTo>
                    <a:pt x="2635" y="1400"/>
                    <a:pt x="2606" y="1359"/>
                    <a:pt x="2565" y="1341"/>
                  </a:cubicBezTo>
                  <a:lnTo>
                    <a:pt x="2565" y="1269"/>
                  </a:lnTo>
                  <a:cubicBezTo>
                    <a:pt x="2565" y="1205"/>
                    <a:pt x="2514" y="1153"/>
                    <a:pt x="2450" y="1153"/>
                  </a:cubicBezTo>
                  <a:lnTo>
                    <a:pt x="2450" y="1153"/>
                  </a:lnTo>
                  <a:close/>
                  <a:moveTo>
                    <a:pt x="1505" y="3056"/>
                  </a:moveTo>
                  <a:lnTo>
                    <a:pt x="1505" y="3056"/>
                  </a:lnTo>
                  <a:cubicBezTo>
                    <a:pt x="1502" y="3081"/>
                    <a:pt x="1481" y="3102"/>
                    <a:pt x="1455" y="3102"/>
                  </a:cubicBezTo>
                  <a:lnTo>
                    <a:pt x="1447" y="3102"/>
                  </a:lnTo>
                  <a:cubicBezTo>
                    <a:pt x="1419" y="3102"/>
                    <a:pt x="1396" y="3079"/>
                    <a:pt x="1396" y="3050"/>
                  </a:cubicBezTo>
                  <a:lnTo>
                    <a:pt x="1396" y="3043"/>
                  </a:lnTo>
                  <a:cubicBezTo>
                    <a:pt x="1396" y="3014"/>
                    <a:pt x="1419" y="2991"/>
                    <a:pt x="1447" y="2991"/>
                  </a:cubicBezTo>
                  <a:lnTo>
                    <a:pt x="1455" y="2991"/>
                  </a:lnTo>
                  <a:cubicBezTo>
                    <a:pt x="1481" y="2991"/>
                    <a:pt x="1502" y="3012"/>
                    <a:pt x="1505" y="3037"/>
                  </a:cubicBezTo>
                  <a:cubicBezTo>
                    <a:pt x="1504" y="3040"/>
                    <a:pt x="1503" y="3043"/>
                    <a:pt x="1503" y="3046"/>
                  </a:cubicBezTo>
                  <a:cubicBezTo>
                    <a:pt x="1503" y="3050"/>
                    <a:pt x="1504" y="3053"/>
                    <a:pt x="1505" y="3056"/>
                  </a:cubicBezTo>
                  <a:lnTo>
                    <a:pt x="1505" y="3056"/>
                  </a:lnTo>
                  <a:close/>
                  <a:moveTo>
                    <a:pt x="1715" y="2998"/>
                  </a:moveTo>
                  <a:lnTo>
                    <a:pt x="1715" y="2998"/>
                  </a:lnTo>
                  <a:lnTo>
                    <a:pt x="1589" y="2998"/>
                  </a:lnTo>
                  <a:cubicBezTo>
                    <a:pt x="1570" y="2942"/>
                    <a:pt x="1517" y="2901"/>
                    <a:pt x="1455" y="2901"/>
                  </a:cubicBezTo>
                  <a:lnTo>
                    <a:pt x="1447" y="2901"/>
                  </a:lnTo>
                  <a:cubicBezTo>
                    <a:pt x="1369" y="2901"/>
                    <a:pt x="1305" y="2964"/>
                    <a:pt x="1305" y="3043"/>
                  </a:cubicBezTo>
                  <a:lnTo>
                    <a:pt x="1305" y="3050"/>
                  </a:lnTo>
                  <a:cubicBezTo>
                    <a:pt x="1305" y="3129"/>
                    <a:pt x="1369" y="3192"/>
                    <a:pt x="1447" y="3192"/>
                  </a:cubicBezTo>
                  <a:lnTo>
                    <a:pt x="1455" y="3192"/>
                  </a:lnTo>
                  <a:cubicBezTo>
                    <a:pt x="1517" y="3192"/>
                    <a:pt x="1570" y="3151"/>
                    <a:pt x="1589" y="3095"/>
                  </a:cubicBezTo>
                  <a:lnTo>
                    <a:pt x="1715" y="3095"/>
                  </a:lnTo>
                  <a:cubicBezTo>
                    <a:pt x="1779" y="3095"/>
                    <a:pt x="1831" y="3043"/>
                    <a:pt x="1831" y="2979"/>
                  </a:cubicBezTo>
                  <a:lnTo>
                    <a:pt x="1831" y="2918"/>
                  </a:lnTo>
                  <a:cubicBezTo>
                    <a:pt x="1870" y="2899"/>
                    <a:pt x="1897" y="2859"/>
                    <a:pt x="1897" y="2813"/>
                  </a:cubicBezTo>
                  <a:cubicBezTo>
                    <a:pt x="1897" y="2748"/>
                    <a:pt x="1844" y="2695"/>
                    <a:pt x="1779" y="2695"/>
                  </a:cubicBezTo>
                  <a:cubicBezTo>
                    <a:pt x="1714" y="2695"/>
                    <a:pt x="1662" y="2748"/>
                    <a:pt x="1662" y="2813"/>
                  </a:cubicBezTo>
                  <a:cubicBezTo>
                    <a:pt x="1662" y="2862"/>
                    <a:pt x="1692" y="2904"/>
                    <a:pt x="1734" y="2922"/>
                  </a:cubicBezTo>
                  <a:lnTo>
                    <a:pt x="1734" y="2979"/>
                  </a:lnTo>
                  <a:cubicBezTo>
                    <a:pt x="1734" y="2990"/>
                    <a:pt x="1726" y="2998"/>
                    <a:pt x="1715" y="2998"/>
                  </a:cubicBezTo>
                  <a:lnTo>
                    <a:pt x="1715" y="2998"/>
                  </a:lnTo>
                  <a:close/>
                  <a:moveTo>
                    <a:pt x="2009" y="2652"/>
                  </a:moveTo>
                  <a:lnTo>
                    <a:pt x="2009" y="2652"/>
                  </a:lnTo>
                  <a:lnTo>
                    <a:pt x="2009" y="1791"/>
                  </a:lnTo>
                  <a:cubicBezTo>
                    <a:pt x="2009" y="1749"/>
                    <a:pt x="2043" y="1715"/>
                    <a:pt x="2084" y="1715"/>
                  </a:cubicBezTo>
                  <a:lnTo>
                    <a:pt x="2757" y="1715"/>
                  </a:lnTo>
                  <a:cubicBezTo>
                    <a:pt x="2799" y="1715"/>
                    <a:pt x="2832" y="1749"/>
                    <a:pt x="2832" y="1791"/>
                  </a:cubicBezTo>
                  <a:lnTo>
                    <a:pt x="2832" y="2652"/>
                  </a:lnTo>
                  <a:cubicBezTo>
                    <a:pt x="2832" y="2693"/>
                    <a:pt x="2799" y="2727"/>
                    <a:pt x="2757" y="2727"/>
                  </a:cubicBezTo>
                  <a:lnTo>
                    <a:pt x="2084" y="2727"/>
                  </a:lnTo>
                  <a:cubicBezTo>
                    <a:pt x="2043" y="2727"/>
                    <a:pt x="2009" y="2693"/>
                    <a:pt x="2009" y="2652"/>
                  </a:cubicBezTo>
                  <a:lnTo>
                    <a:pt x="2009" y="2652"/>
                  </a:lnTo>
                  <a:close/>
                  <a:moveTo>
                    <a:pt x="2946" y="2652"/>
                  </a:moveTo>
                  <a:lnTo>
                    <a:pt x="2946" y="2652"/>
                  </a:lnTo>
                  <a:lnTo>
                    <a:pt x="2946" y="1791"/>
                  </a:lnTo>
                  <a:cubicBezTo>
                    <a:pt x="2946" y="1686"/>
                    <a:pt x="2861" y="1601"/>
                    <a:pt x="2757" y="1601"/>
                  </a:cubicBezTo>
                  <a:lnTo>
                    <a:pt x="2084" y="1601"/>
                  </a:lnTo>
                  <a:cubicBezTo>
                    <a:pt x="1980" y="1601"/>
                    <a:pt x="1895" y="1686"/>
                    <a:pt x="1895" y="1791"/>
                  </a:cubicBezTo>
                  <a:lnTo>
                    <a:pt x="1895" y="2652"/>
                  </a:lnTo>
                  <a:cubicBezTo>
                    <a:pt x="1895" y="2756"/>
                    <a:pt x="1980" y="2841"/>
                    <a:pt x="2084" y="2841"/>
                  </a:cubicBezTo>
                  <a:lnTo>
                    <a:pt x="2757" y="2841"/>
                  </a:lnTo>
                  <a:cubicBezTo>
                    <a:pt x="2861" y="2841"/>
                    <a:pt x="2946" y="2756"/>
                    <a:pt x="2946" y="2652"/>
                  </a:cubicBezTo>
                  <a:close/>
                </a:path>
              </a:pathLst>
            </a:custGeom>
            <a:solidFill>
              <a:srgbClr val="29D6CD"/>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fr-CA" sz="1800" b="0" i="0" u="none" strike="noStrike" kern="0" cap="none" spc="0" normalizeH="0" baseline="0" noProof="0">
                <a:ln>
                  <a:noFill/>
                </a:ln>
                <a:solidFill>
                  <a:srgbClr val="012036"/>
                </a:solidFill>
                <a:effectLst/>
                <a:uLnTx/>
                <a:uFillTx/>
                <a:latin typeface="Calibri" panose="020F0502020204030204"/>
                <a:ea typeface="+mn-ea"/>
                <a:cs typeface="+mn-cs"/>
              </a:endParaRPr>
            </a:p>
          </p:txBody>
        </p:sp>
      </p:grpSp>
      <p:sp>
        <p:nvSpPr>
          <p:cNvPr id="114" name="TextBox 150">
            <a:extLst>
              <a:ext uri="{FF2B5EF4-FFF2-40B4-BE49-F238E27FC236}">
                <a16:creationId xmlns:a16="http://schemas.microsoft.com/office/drawing/2014/main" id="{CD272C0E-2F86-7F48-B411-1B1F08C76EBD}"/>
              </a:ext>
            </a:extLst>
          </p:cNvPr>
          <p:cNvSpPr txBox="1"/>
          <p:nvPr>
            <p:custDataLst>
              <p:tags r:id="rId22"/>
            </p:custDataLst>
          </p:nvPr>
        </p:nvSpPr>
        <p:spPr>
          <a:xfrm>
            <a:off x="2640950" y="1760385"/>
            <a:ext cx="1013731" cy="732042"/>
          </a:xfrm>
          <a:prstGeom prst="rect">
            <a:avLst/>
          </a:prstGeom>
          <a:noFill/>
        </p:spPr>
        <p:txBody>
          <a:bodyPr wrap="square" rtlCol="0">
            <a:prstTxWarp prst="textArchDown">
              <a:avLst>
                <a:gd name="adj" fmla="val 20748890"/>
              </a:avLst>
            </a:prstTxWarp>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 DataOps</a:t>
            </a:r>
          </a:p>
        </p:txBody>
      </p:sp>
      <p:sp>
        <p:nvSpPr>
          <p:cNvPr id="115" name="TextBox 154">
            <a:extLst>
              <a:ext uri="{FF2B5EF4-FFF2-40B4-BE49-F238E27FC236}">
                <a16:creationId xmlns:a16="http://schemas.microsoft.com/office/drawing/2014/main" id="{EDB8D4C5-8CA9-D89E-CFBB-018AB66ADB61}"/>
              </a:ext>
            </a:extLst>
          </p:cNvPr>
          <p:cNvSpPr txBox="1"/>
          <p:nvPr>
            <p:custDataLst>
              <p:tags r:id="rId23"/>
            </p:custDataLst>
          </p:nvPr>
        </p:nvSpPr>
        <p:spPr>
          <a:xfrm rot="21409353">
            <a:off x="5324314" y="1768004"/>
            <a:ext cx="1013731" cy="735330"/>
          </a:xfrm>
          <a:prstGeom prst="rect">
            <a:avLst/>
          </a:prstGeom>
          <a:noFill/>
        </p:spPr>
        <p:txBody>
          <a:bodyPr spcFirstLastPara="1" wrap="square" lIns="0" rIns="0" numCol="1" rtlCol="0">
            <a:prstTxWarp prst="textArchDown">
              <a:avLst>
                <a:gd name="adj" fmla="val 20528225"/>
              </a:avLst>
            </a:prstTxWarp>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a:ln>
                  <a:noFill/>
                </a:ln>
                <a:solidFill>
                  <a:srgbClr val="FFFFFF"/>
                </a:solidFill>
                <a:effectLst/>
                <a:uLnTx/>
                <a:uFillTx/>
                <a:latin typeface="Avenir Next LT Pro" panose="020B0504020202020204" pitchFamily="34" charset="77"/>
                <a:ea typeface="+mn-ea"/>
                <a:cs typeface="+mn-cs"/>
              </a:rPr>
              <a:t>ModelOps</a:t>
            </a:r>
          </a:p>
        </p:txBody>
      </p:sp>
      <p:sp>
        <p:nvSpPr>
          <p:cNvPr id="116" name="Block Arc 155" title="sfgsdfgsdfg">
            <a:extLst>
              <a:ext uri="{FF2B5EF4-FFF2-40B4-BE49-F238E27FC236}">
                <a16:creationId xmlns:a16="http://schemas.microsoft.com/office/drawing/2014/main" id="{8505754D-195C-74BF-B665-89B51482E344}"/>
              </a:ext>
            </a:extLst>
          </p:cNvPr>
          <p:cNvSpPr/>
          <p:nvPr>
            <p:custDataLst>
              <p:tags r:id="rId24"/>
            </p:custDataLst>
          </p:nvPr>
        </p:nvSpPr>
        <p:spPr>
          <a:xfrm rot="20727873">
            <a:off x="2491510" y="1124934"/>
            <a:ext cx="1318142" cy="1355543"/>
          </a:xfrm>
          <a:prstGeom prst="blockArc">
            <a:avLst>
              <a:gd name="adj1" fmla="val 12462166"/>
              <a:gd name="adj2" fmla="val 10812600"/>
              <a:gd name="adj3" fmla="val 1122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1440" tIns="45720" rIns="91440" bIns="45720" numCol="1" spcCol="0" rtlCol="0" fromWordArt="0" anchor="ctr" anchorCtr="0" forceAA="0" compatLnSpc="1">
            <a:prstTxWarp prst="textArchUp">
              <a:avLst>
                <a:gd name="adj" fmla="val 10215570"/>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Accéder | Préparer &amp; Transformer | Explorer&amp;Visualiser | Governer</a:t>
            </a:r>
          </a:p>
        </p:txBody>
      </p:sp>
      <p:sp>
        <p:nvSpPr>
          <p:cNvPr id="117" name="Block Arc 156" title="sfgsdfgsdfg">
            <a:extLst>
              <a:ext uri="{FF2B5EF4-FFF2-40B4-BE49-F238E27FC236}">
                <a16:creationId xmlns:a16="http://schemas.microsoft.com/office/drawing/2014/main" id="{0938D0BB-8A8E-FA36-C284-F6D9EF477A66}"/>
              </a:ext>
            </a:extLst>
          </p:cNvPr>
          <p:cNvSpPr/>
          <p:nvPr>
            <p:custDataLst>
              <p:tags r:id="rId25"/>
            </p:custDataLst>
          </p:nvPr>
        </p:nvSpPr>
        <p:spPr>
          <a:xfrm>
            <a:off x="3857134" y="1239108"/>
            <a:ext cx="1290069" cy="1250731"/>
          </a:xfrm>
          <a:prstGeom prst="blockArc">
            <a:avLst>
              <a:gd name="adj1" fmla="val 11167049"/>
              <a:gd name="adj2" fmla="val 9043638"/>
              <a:gd name="adj3" fmla="val 951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1440" tIns="45720" rIns="91440" bIns="45720" numCol="1" spcCol="0" rtlCol="0" fromWordArt="0" anchor="ctr" anchorCtr="0" forceAA="0" compatLnSpc="1">
            <a:prstTxWarp prst="textArchDown">
              <a:avLst>
                <a:gd name="adj" fmla="val 21076150"/>
              </a:avLst>
            </a:prstTxWarp>
            <a:noAutofit/>
          </a:bodyPr>
          <a:lstStyle/>
          <a:p>
            <a:pPr marL="0" marR="0" lvl="0" indent="0" algn="l" defTabSz="914355"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Auotmatiser | Développer | Prédire | Optimiser | Expliquer</a:t>
            </a:r>
          </a:p>
        </p:txBody>
      </p:sp>
      <p:sp>
        <p:nvSpPr>
          <p:cNvPr id="118" name="Block Arc 157" title="sfgsdfgsdfg">
            <a:extLst>
              <a:ext uri="{FF2B5EF4-FFF2-40B4-BE49-F238E27FC236}">
                <a16:creationId xmlns:a16="http://schemas.microsoft.com/office/drawing/2014/main" id="{CC766DB6-4C03-E9FD-D817-99C10EDA361E}"/>
              </a:ext>
            </a:extLst>
          </p:cNvPr>
          <p:cNvSpPr/>
          <p:nvPr>
            <p:custDataLst>
              <p:tags r:id="rId26"/>
            </p:custDataLst>
          </p:nvPr>
        </p:nvSpPr>
        <p:spPr>
          <a:xfrm rot="1120602">
            <a:off x="5173521" y="1159127"/>
            <a:ext cx="1335691" cy="1335691"/>
          </a:xfrm>
          <a:prstGeom prst="blockArc">
            <a:avLst>
              <a:gd name="adj1" fmla="val 13686497"/>
              <a:gd name="adj2" fmla="val 11818850"/>
              <a:gd name="adj3" fmla="val 1250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1440" tIns="45720" rIns="91440" bIns="45720" numCol="1" spcCol="0" rtlCol="0" fromWordArt="0" anchor="ctr" anchorCtr="0" forceAA="0" compatLnSpc="1">
            <a:prstTxWarp prst="textArchUp">
              <a:avLst>
                <a:gd name="adj" fmla="val 10801559"/>
              </a:avLst>
            </a:prstTxWarp>
            <a:noAutofit/>
          </a:bodyPr>
          <a:lstStyle/>
          <a:p>
            <a:pPr marL="0" marR="0" lvl="0" indent="0" algn="ctr" defTabSz="914355"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rPr>
              <a:t>Valider | Déployer | Monitorer | Intégrer | Gérer</a:t>
            </a:r>
          </a:p>
        </p:txBody>
      </p:sp>
      <p:sp>
        <p:nvSpPr>
          <p:cNvPr id="119" name="TextBox 158">
            <a:extLst>
              <a:ext uri="{FF2B5EF4-FFF2-40B4-BE49-F238E27FC236}">
                <a16:creationId xmlns:a16="http://schemas.microsoft.com/office/drawing/2014/main" id="{2594E4F9-E72C-482E-9EA9-41F2595BF6CB}"/>
              </a:ext>
            </a:extLst>
          </p:cNvPr>
          <p:cNvSpPr txBox="1"/>
          <p:nvPr>
            <p:custDataLst>
              <p:tags r:id="rId27"/>
            </p:custDataLst>
          </p:nvPr>
        </p:nvSpPr>
        <p:spPr>
          <a:xfrm>
            <a:off x="2610074" y="1952992"/>
            <a:ext cx="1084572"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6D69FF"/>
                </a:solidFill>
                <a:effectLst/>
                <a:uLnTx/>
                <a:uFillTx/>
                <a:latin typeface="Avenir Next LT Pro" panose="020B0504020202020204" pitchFamily="34" charset="0"/>
                <a:ea typeface="+mn-ea"/>
                <a:cs typeface="Calibri" panose="020F0502020204030204" pitchFamily="34" charset="0"/>
              </a:rPr>
              <a:t>GESTION DES DONNÉES</a:t>
            </a:r>
          </a:p>
        </p:txBody>
      </p:sp>
      <p:sp>
        <p:nvSpPr>
          <p:cNvPr id="120" name="TextBox 159">
            <a:extLst>
              <a:ext uri="{FF2B5EF4-FFF2-40B4-BE49-F238E27FC236}">
                <a16:creationId xmlns:a16="http://schemas.microsoft.com/office/drawing/2014/main" id="{6F2A2826-5E39-F12F-4AC1-D65B40004043}"/>
              </a:ext>
            </a:extLst>
          </p:cNvPr>
          <p:cNvSpPr txBox="1"/>
          <p:nvPr>
            <p:custDataLst>
              <p:tags r:id="rId28"/>
            </p:custDataLst>
          </p:nvPr>
        </p:nvSpPr>
        <p:spPr>
          <a:xfrm>
            <a:off x="5286519" y="1903361"/>
            <a:ext cx="1116296"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0070C0"/>
                </a:solidFill>
                <a:effectLst/>
                <a:uLnTx/>
                <a:uFillTx/>
                <a:latin typeface="Avenir Next LT Pro" panose="020B0504020202020204" pitchFamily="34" charset="0"/>
                <a:ea typeface="+mn-ea"/>
                <a:cs typeface="Calibri" panose="020F0502020204030204" pitchFamily="34" charset="0"/>
              </a:rPr>
              <a:t>DÉPLOIEMENT</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a:ln>
                  <a:noFill/>
                </a:ln>
                <a:solidFill>
                  <a:srgbClr val="0070C0"/>
                </a:solidFill>
                <a:effectLst/>
                <a:uLnTx/>
                <a:uFillTx/>
                <a:latin typeface="Avenir Next LT Pro" panose="020B0504020202020204" pitchFamily="34" charset="0"/>
                <a:ea typeface="+mn-ea"/>
                <a:cs typeface="Calibri" panose="020F0502020204030204" pitchFamily="34" charset="0"/>
              </a:rPr>
              <a:t>D’INSIGHTS</a:t>
            </a:r>
          </a:p>
        </p:txBody>
      </p:sp>
      <p:sp>
        <p:nvSpPr>
          <p:cNvPr id="121" name="Title 6">
            <a:extLst>
              <a:ext uri="{FF2B5EF4-FFF2-40B4-BE49-F238E27FC236}">
                <a16:creationId xmlns:a16="http://schemas.microsoft.com/office/drawing/2014/main" id="{6905F6C1-3DB2-9318-8FE0-A7158029735B}"/>
              </a:ext>
            </a:extLst>
          </p:cNvPr>
          <p:cNvSpPr txBox="1">
            <a:spLocks/>
          </p:cNvSpPr>
          <p:nvPr>
            <p:custDataLst>
              <p:tags r:id="rId29"/>
            </p:custDataLst>
          </p:nvPr>
        </p:nvSpPr>
        <p:spPr>
          <a:xfrm>
            <a:off x="558818" y="295462"/>
            <a:ext cx="7886700" cy="457200"/>
          </a:xfrm>
          <a:prstGeom prst="rect">
            <a:avLst/>
          </a:prstGeom>
        </p:spPr>
        <p:txBody>
          <a:bodyPr vert="horz" lIns="91440" tIns="45720" rIns="91440" bIns="45720" rtlCol="0" anchor="ctr">
            <a:normAutofit lnSpcReduction="10000"/>
          </a:bodyPr>
          <a:lstStyle>
            <a:lvl1pPr algn="ctr" defTabSz="685800" rtl="0" eaLnBrk="1" latinLnBrk="0" hangingPunct="1">
              <a:lnSpc>
                <a:spcPct val="90000"/>
              </a:lnSpc>
              <a:spcBef>
                <a:spcPct val="0"/>
              </a:spcBef>
              <a:buNone/>
              <a:defRPr sz="2800" b="1" kern="1200">
                <a:solidFill>
                  <a:schemeClr val="bg1"/>
                </a:solidFill>
                <a:latin typeface="+mn-lt"/>
                <a:ea typeface="+mj-ea"/>
                <a:cs typeface="+mj-cs"/>
              </a:defRPr>
            </a:lvl1pPr>
          </a:lstStyle>
          <a:p>
            <a:r>
              <a:rPr lang="fr-CA" dirty="0"/>
              <a:t>Qu’est ce que SAS amène comme fonctionnalités?</a:t>
            </a:r>
          </a:p>
        </p:txBody>
      </p:sp>
      <p:grpSp>
        <p:nvGrpSpPr>
          <p:cNvPr id="122" name="Group 162">
            <a:extLst>
              <a:ext uri="{FF2B5EF4-FFF2-40B4-BE49-F238E27FC236}">
                <a16:creationId xmlns:a16="http://schemas.microsoft.com/office/drawing/2014/main" id="{CF51488B-A450-A49B-96A8-00F261641C9E}"/>
              </a:ext>
            </a:extLst>
          </p:cNvPr>
          <p:cNvGrpSpPr/>
          <p:nvPr>
            <p:custDataLst>
              <p:tags r:id="rId30"/>
            </p:custDataLst>
          </p:nvPr>
        </p:nvGrpSpPr>
        <p:grpSpPr>
          <a:xfrm>
            <a:off x="7634867" y="2917336"/>
            <a:ext cx="1186092" cy="1086755"/>
            <a:chOff x="3240395" y="3832519"/>
            <a:chExt cx="1033273" cy="1086755"/>
          </a:xfrm>
        </p:grpSpPr>
        <p:sp>
          <p:nvSpPr>
            <p:cNvPr id="123" name="Rectangle 122">
              <a:extLst>
                <a:ext uri="{FF2B5EF4-FFF2-40B4-BE49-F238E27FC236}">
                  <a16:creationId xmlns:a16="http://schemas.microsoft.com/office/drawing/2014/main" id="{8648C287-E227-9126-221B-BBE53B7B7A3F}"/>
                </a:ext>
              </a:extLst>
            </p:cNvPr>
            <p:cNvSpPr/>
            <p:nvPr/>
          </p:nvSpPr>
          <p:spPr>
            <a:xfrm>
              <a:off x="3240396" y="4206687"/>
              <a:ext cx="1033272" cy="71258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4" name="Rectangle 123">
              <a:extLst>
                <a:ext uri="{FF2B5EF4-FFF2-40B4-BE49-F238E27FC236}">
                  <a16:creationId xmlns:a16="http://schemas.microsoft.com/office/drawing/2014/main" id="{B7906ADB-EE3A-123A-2A54-5CEA8AD336A0}"/>
                </a:ext>
              </a:extLst>
            </p:cNvPr>
            <p:cNvSpPr/>
            <p:nvPr/>
          </p:nvSpPr>
          <p:spPr>
            <a:xfrm>
              <a:off x="3240396" y="3832519"/>
              <a:ext cx="1033272" cy="393763"/>
            </a:xfrm>
            <a:prstGeom prst="rect">
              <a:avLst/>
            </a:prstGeom>
            <a:solidFill>
              <a:srgbClr val="C00000"/>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EFFORT TOTAL</a:t>
              </a:r>
            </a:p>
          </p:txBody>
        </p:sp>
        <p:sp>
          <p:nvSpPr>
            <p:cNvPr id="125" name="TextBox 165">
              <a:extLst>
                <a:ext uri="{FF2B5EF4-FFF2-40B4-BE49-F238E27FC236}">
                  <a16:creationId xmlns:a16="http://schemas.microsoft.com/office/drawing/2014/main" id="{0CDE3BB0-BBCA-4FD0-7203-3CF34AB842A0}"/>
                </a:ext>
              </a:extLst>
            </p:cNvPr>
            <p:cNvSpPr txBox="1"/>
            <p:nvPr/>
          </p:nvSpPr>
          <p:spPr>
            <a:xfrm>
              <a:off x="3240395" y="4226282"/>
              <a:ext cx="1033272" cy="630942"/>
            </a:xfrm>
            <a:prstGeom prst="rect">
              <a:avLst/>
            </a:prstGeom>
            <a:noFill/>
          </p:spPr>
          <p:txBody>
            <a:bodyPr wrap="square" lIns="91440" rIns="91440" rtlCol="0">
              <a:spAutoFit/>
            </a:bodyPr>
            <a:lstStyle/>
            <a:p>
              <a:pPr marL="0" marR="0" lvl="0" indent="0" algn="ctr" defTabSz="457189" rtl="0" eaLnBrk="1" fontAlgn="auto" latinLnBrk="0" hangingPunct="1">
                <a:lnSpc>
                  <a:spcPct val="100000"/>
                </a:lnSpc>
                <a:spcBef>
                  <a:spcPts val="0"/>
                </a:spcBef>
                <a:spcAft>
                  <a:spcPts val="0"/>
                </a:spcAft>
                <a:buClr>
                  <a:srgbClr val="3D61A7"/>
                </a:buClr>
                <a:buSzPct val="75000"/>
                <a:buFontTx/>
                <a:buNone/>
                <a:tabLst/>
                <a:defRPr/>
              </a:pPr>
              <a:r>
                <a:rPr kumimoji="0" lang="en-GB" sz="1100" b="1" i="0" u="none" strike="noStrike" kern="1200" cap="none" spc="0" normalizeH="0" baseline="0" noProof="0" dirty="0">
                  <a:ln>
                    <a:noFill/>
                  </a:ln>
                  <a:solidFill>
                    <a:schemeClr val="bg1"/>
                  </a:solidFill>
                  <a:effectLst/>
                  <a:uLnTx/>
                  <a:uFillTx/>
                  <a:latin typeface="Calibri" panose="020F0502020204030204"/>
                  <a:ea typeface="Calibri Light" charset="0"/>
                  <a:cs typeface="Calibri Light" charset="0"/>
                </a:rPr>
                <a:t>RÉDUCTION DE</a:t>
              </a:r>
            </a:p>
            <a:p>
              <a:pPr marL="0" marR="0" lvl="0" indent="0" algn="ctr" defTabSz="457189" rtl="0" eaLnBrk="1" fontAlgn="auto" latinLnBrk="0" hangingPunct="1">
                <a:lnSpc>
                  <a:spcPct val="100000"/>
                </a:lnSpc>
                <a:spcBef>
                  <a:spcPts val="0"/>
                </a:spcBef>
                <a:spcAft>
                  <a:spcPts val="0"/>
                </a:spcAft>
                <a:buClr>
                  <a:srgbClr val="3D61A7"/>
                </a:buClr>
                <a:buSzPct val="75000"/>
                <a:buFontTx/>
                <a:buNone/>
                <a:tabLst/>
                <a:defRPr/>
              </a:pPr>
              <a:r>
                <a:rPr kumimoji="0" lang="en-GB" sz="2400" b="1" i="0" u="none" strike="noStrike" kern="1200" cap="none" spc="0" normalizeH="0" baseline="0" noProof="0" dirty="0">
                  <a:ln>
                    <a:noFill/>
                  </a:ln>
                  <a:solidFill>
                    <a:schemeClr val="bg1"/>
                  </a:solidFill>
                  <a:effectLst/>
                  <a:uLnTx/>
                  <a:uFillTx/>
                  <a:latin typeface="Calibri" panose="020F0502020204030204"/>
                  <a:ea typeface="Calibri Light" charset="0"/>
                  <a:cs typeface="Calibri Light" charset="0"/>
                </a:rPr>
                <a:t>78%</a:t>
              </a:r>
              <a:r>
                <a:rPr kumimoji="0" lang="en-GB" sz="2400" b="1" i="0" u="none" strike="noStrike" kern="1200" cap="none" spc="0" normalizeH="0" baseline="30000" noProof="0" dirty="0">
                  <a:ln>
                    <a:noFill/>
                  </a:ln>
                  <a:solidFill>
                    <a:schemeClr val="bg1"/>
                  </a:solidFill>
                  <a:effectLst/>
                  <a:uLnTx/>
                  <a:uFillTx/>
                  <a:latin typeface="Calibri" panose="020F0502020204030204"/>
                  <a:ea typeface="Calibri Light" charset="0"/>
                  <a:cs typeface="Calibri Light" charset="0"/>
                </a:rPr>
                <a:t>**</a:t>
              </a:r>
              <a:r>
                <a:rPr kumimoji="0" lang="en-GB" sz="2400" b="1" i="0" u="none" strike="noStrike" kern="1200" cap="none" spc="0" normalizeH="0" baseline="0" noProof="0" dirty="0">
                  <a:ln>
                    <a:noFill/>
                  </a:ln>
                  <a:solidFill>
                    <a:schemeClr val="bg1"/>
                  </a:solidFill>
                  <a:effectLst/>
                  <a:uLnTx/>
                  <a:uFillTx/>
                  <a:latin typeface="Calibri" panose="020F0502020204030204"/>
                  <a:ea typeface="Calibri Light" charset="0"/>
                  <a:cs typeface="Calibri Light" charset="0"/>
                </a:rPr>
                <a:t> </a:t>
              </a:r>
            </a:p>
          </p:txBody>
        </p:sp>
      </p:grpSp>
      <p:sp>
        <p:nvSpPr>
          <p:cNvPr id="126" name="TextBox 108">
            <a:extLst>
              <a:ext uri="{FF2B5EF4-FFF2-40B4-BE49-F238E27FC236}">
                <a16:creationId xmlns:a16="http://schemas.microsoft.com/office/drawing/2014/main" id="{80A9DB56-620B-F314-AD6A-62C792BC363A}"/>
              </a:ext>
            </a:extLst>
          </p:cNvPr>
          <p:cNvSpPr txBox="1"/>
          <p:nvPr>
            <p:custDataLst>
              <p:tags r:id="rId31"/>
            </p:custDataLst>
          </p:nvPr>
        </p:nvSpPr>
        <p:spPr>
          <a:xfrm>
            <a:off x="38596" y="4201228"/>
            <a:ext cx="1405033" cy="461665"/>
          </a:xfrm>
          <a:prstGeom prst="rect">
            <a:avLst/>
          </a:prstGeom>
          <a:noFill/>
        </p:spPr>
        <p:txBody>
          <a:bodyPr wrap="square" rtlCol="0">
            <a:spAutoFit/>
          </a:bodyPr>
          <a:lstStyle/>
          <a:p>
            <a:pPr marL="57149" marR="0" lvl="0" indent="-57149" algn="l" defTabSz="685783" rtl="0" eaLnBrk="1" fontAlgn="auto" latinLnBrk="0" hangingPunct="1">
              <a:lnSpc>
                <a:spcPct val="100000"/>
              </a:lnSpc>
              <a:spcBef>
                <a:spcPts val="0"/>
              </a:spcBef>
              <a:spcAft>
                <a:spcPts val="0"/>
              </a:spcAft>
              <a:buClr>
                <a:srgbClr val="768396"/>
              </a:buClr>
              <a:buSzTx/>
              <a:buFontTx/>
              <a:buNone/>
              <a:tabLst/>
              <a:defRPr/>
            </a:pPr>
            <a:r>
              <a:rPr kumimoji="0" lang="fr-CA" sz="700" b="0" i="0" u="none" strike="noStrike" kern="1200" cap="none" spc="0" normalizeH="0" baseline="3000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 </a:t>
            </a:r>
            <a:r>
              <a:rPr kumimoji="0" lang="fr-CA" sz="800" b="0" i="0" u="none" strike="noStrike" kern="1200" cap="none" spc="0" normalizeH="0" baseline="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	Source: Benchmark </a:t>
            </a:r>
            <a:r>
              <a:rPr kumimoji="0" lang="fr-CA" sz="800" b="0" i="0" u="none" strike="noStrike" kern="1200" cap="none" spc="0" normalizeH="0" baseline="0" noProof="0" err="1">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Lab</a:t>
            </a:r>
            <a:r>
              <a:rPr kumimoji="0" lang="fr-CA" sz="800" b="0" i="0" u="none" strike="noStrike" kern="1200" cap="none" spc="0" normalizeH="0" baseline="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 trials run time </a:t>
            </a:r>
            <a:r>
              <a:rPr kumimoji="0" lang="fr-CA" sz="800" b="0" i="0" u="none" strike="noStrike" kern="1200" cap="none" spc="0" normalizeH="0" baseline="0" noProof="0" err="1">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results</a:t>
            </a:r>
            <a:r>
              <a:rPr kumimoji="0" lang="fr-CA" sz="800" b="0" i="0" u="none" strike="noStrike" kern="1200" cap="none" spc="0" normalizeH="0" baseline="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 </a:t>
            </a:r>
            <a:r>
              <a:rPr kumimoji="0" lang="fr-CA" sz="800" b="0" i="0" u="none" strike="noStrike" kern="1200" cap="none" spc="0" normalizeH="0" baseline="0" noProof="0" err="1">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with</a:t>
            </a:r>
            <a:r>
              <a:rPr kumimoji="0" lang="fr-CA" sz="800" b="0" i="0" u="none" strike="noStrike" kern="1200" cap="none" spc="0" normalizeH="0" baseline="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 </a:t>
            </a:r>
            <a:r>
              <a:rPr kumimoji="0" lang="fr-CA" sz="800" b="0" i="0" u="none" strike="noStrike" kern="1200" cap="none" spc="0" normalizeH="0" baseline="0" noProof="0" err="1">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Viya</a:t>
            </a:r>
            <a:r>
              <a:rPr kumimoji="0" lang="fr-CA" sz="800" b="0" i="0" u="none" strike="noStrike" kern="1200" cap="none" spc="0" normalizeH="0" baseline="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 CAS vs Spark.</a:t>
            </a:r>
            <a:endParaRPr kumimoji="0" lang="fr-CA" sz="700" b="0" i="0" u="none" strike="noStrike" kern="1200" cap="none" spc="0" normalizeH="0" baseline="3000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endParaRPr>
          </a:p>
        </p:txBody>
      </p:sp>
      <p:grpSp>
        <p:nvGrpSpPr>
          <p:cNvPr id="127" name="Group 109">
            <a:extLst>
              <a:ext uri="{FF2B5EF4-FFF2-40B4-BE49-F238E27FC236}">
                <a16:creationId xmlns:a16="http://schemas.microsoft.com/office/drawing/2014/main" id="{71B9EA1F-4A6D-456E-5A7F-DA7B203A5886}"/>
              </a:ext>
            </a:extLst>
          </p:cNvPr>
          <p:cNvGrpSpPr/>
          <p:nvPr>
            <p:custDataLst>
              <p:tags r:id="rId32"/>
            </p:custDataLst>
          </p:nvPr>
        </p:nvGrpSpPr>
        <p:grpSpPr>
          <a:xfrm>
            <a:off x="152686" y="2917336"/>
            <a:ext cx="1186091" cy="1274685"/>
            <a:chOff x="3240396" y="3832519"/>
            <a:chExt cx="1033272" cy="1086755"/>
          </a:xfrm>
        </p:grpSpPr>
        <p:sp>
          <p:nvSpPr>
            <p:cNvPr id="128" name="Rectangle 127">
              <a:extLst>
                <a:ext uri="{FF2B5EF4-FFF2-40B4-BE49-F238E27FC236}">
                  <a16:creationId xmlns:a16="http://schemas.microsoft.com/office/drawing/2014/main" id="{5BC893EE-5B5A-C4AA-48EC-3866B2B44A4D}"/>
                </a:ext>
              </a:extLst>
            </p:cNvPr>
            <p:cNvSpPr/>
            <p:nvPr/>
          </p:nvSpPr>
          <p:spPr>
            <a:xfrm>
              <a:off x="3240396" y="4206687"/>
              <a:ext cx="1033272" cy="712587"/>
            </a:xfrm>
            <a:prstGeom prst="rect">
              <a:avLst/>
            </a:prstGeom>
            <a:no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9" name="Rectangle 128">
              <a:extLst>
                <a:ext uri="{FF2B5EF4-FFF2-40B4-BE49-F238E27FC236}">
                  <a16:creationId xmlns:a16="http://schemas.microsoft.com/office/drawing/2014/main" id="{EE9EE8EB-6185-980F-F162-E03B6C439D3B}"/>
                </a:ext>
              </a:extLst>
            </p:cNvPr>
            <p:cNvSpPr/>
            <p:nvPr/>
          </p:nvSpPr>
          <p:spPr>
            <a:xfrm>
              <a:off x="3240396" y="3832519"/>
              <a:ext cx="1033272" cy="393763"/>
            </a:xfrm>
            <a:prstGeom prst="rect">
              <a:avLst/>
            </a:prstGeom>
            <a:solidFill>
              <a:srgbClr val="C00000"/>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a:ln>
                    <a:noFill/>
                  </a:ln>
                  <a:solidFill>
                    <a:srgbClr val="FFFFFF"/>
                  </a:solidFill>
                  <a:effectLst/>
                  <a:uLnTx/>
                  <a:uFillTx/>
                  <a:latin typeface="Calibri" panose="020F0502020204030204"/>
                  <a:ea typeface="+mn-ea"/>
                  <a:cs typeface="+mn-cs"/>
                </a:rPr>
                <a:t>TEMPS D’EXÉCUTION</a:t>
              </a:r>
            </a:p>
          </p:txBody>
        </p:sp>
        <p:sp>
          <p:nvSpPr>
            <p:cNvPr id="130" name="TextBox 112">
              <a:extLst>
                <a:ext uri="{FF2B5EF4-FFF2-40B4-BE49-F238E27FC236}">
                  <a16:creationId xmlns:a16="http://schemas.microsoft.com/office/drawing/2014/main" id="{1DA23C3F-C8D0-92EE-E0EA-AF8568DAA43D}"/>
                </a:ext>
              </a:extLst>
            </p:cNvPr>
            <p:cNvSpPr txBox="1"/>
            <p:nvPr/>
          </p:nvSpPr>
          <p:spPr>
            <a:xfrm>
              <a:off x="3240396" y="4226282"/>
              <a:ext cx="1033272" cy="603521"/>
            </a:xfrm>
            <a:prstGeom prst="rect">
              <a:avLst/>
            </a:prstGeom>
            <a:noFill/>
          </p:spPr>
          <p:txBody>
            <a:bodyPr wrap="square" lIns="91440" rIns="91440" rtlCol="0">
              <a:spAutoFit/>
            </a:bodyPr>
            <a:lstStyle/>
            <a:p>
              <a:pPr marL="0" marR="0" lvl="0" indent="0" algn="ctr" defTabSz="457189" rtl="0" eaLnBrk="1" fontAlgn="auto" latinLnBrk="0" hangingPunct="1">
                <a:lnSpc>
                  <a:spcPct val="100000"/>
                </a:lnSpc>
                <a:spcBef>
                  <a:spcPts val="0"/>
                </a:spcBef>
                <a:spcAft>
                  <a:spcPts val="0"/>
                </a:spcAft>
                <a:buClr>
                  <a:srgbClr val="3D61A7"/>
                </a:buClr>
                <a:buSzPct val="75000"/>
                <a:buFontTx/>
                <a:buNone/>
                <a:tabLst/>
                <a:defRPr/>
              </a:pPr>
              <a:r>
                <a:rPr kumimoji="0" lang="fr-CA" sz="1100" b="1" i="0" u="none" strike="noStrike" kern="1200" cap="none" spc="0" normalizeH="0" baseline="0" noProof="0" dirty="0">
                  <a:ln>
                    <a:noFill/>
                  </a:ln>
                  <a:solidFill>
                    <a:schemeClr val="bg1"/>
                  </a:solidFill>
                  <a:effectLst/>
                  <a:uLnTx/>
                  <a:uFillTx/>
                  <a:latin typeface="Calibri" panose="020F0502020204030204"/>
                  <a:ea typeface="Calibri Light" charset="0"/>
                  <a:cs typeface="Calibri Light" charset="0"/>
                </a:rPr>
                <a:t>RÉDUCTION de</a:t>
              </a:r>
              <a:r>
                <a:rPr kumimoji="0" lang="fr-CA" sz="2400" b="1" i="0" u="none" strike="noStrike" kern="1200" cap="none" spc="0" normalizeH="0" baseline="0" noProof="0" dirty="0">
                  <a:ln>
                    <a:noFill/>
                  </a:ln>
                  <a:solidFill>
                    <a:schemeClr val="bg1"/>
                  </a:solidFill>
                  <a:effectLst/>
                  <a:uLnTx/>
                  <a:uFillTx/>
                  <a:latin typeface="Calibri" panose="020F0502020204030204"/>
                  <a:ea typeface="Calibri Light" charset="0"/>
                  <a:cs typeface="Calibri Light" charset="0"/>
                </a:rPr>
                <a:t> </a:t>
              </a:r>
              <a:r>
                <a:rPr kumimoji="0" lang="fr-CA" sz="1600" b="1" i="0" u="none" strike="noStrike" kern="1200" cap="none" spc="0" normalizeH="0" baseline="0" noProof="0" dirty="0">
                  <a:ln>
                    <a:noFill/>
                  </a:ln>
                  <a:solidFill>
                    <a:schemeClr val="bg1"/>
                  </a:solidFill>
                  <a:effectLst/>
                  <a:uLnTx/>
                  <a:uFillTx/>
                  <a:latin typeface="Calibri" panose="020F0502020204030204"/>
                  <a:ea typeface="Calibri Light" charset="0"/>
                  <a:cs typeface="Calibri Light" charset="0"/>
                </a:rPr>
                <a:t>1.5 à 14.5x</a:t>
              </a:r>
              <a:r>
                <a:rPr kumimoji="0" lang="fr-CA" sz="1600" b="1" i="0" u="none" strike="noStrike" kern="1200" cap="none" spc="0" normalizeH="0" baseline="30000" noProof="0" dirty="0">
                  <a:ln>
                    <a:noFill/>
                  </a:ln>
                  <a:solidFill>
                    <a:schemeClr val="bg1"/>
                  </a:solidFill>
                  <a:effectLst/>
                  <a:uLnTx/>
                  <a:uFillTx/>
                  <a:latin typeface="Calibri" panose="020F0502020204030204"/>
                  <a:ea typeface="Calibri Light" charset="0"/>
                  <a:cs typeface="Calibri Light" charset="0"/>
                </a:rPr>
                <a:t>*</a:t>
              </a:r>
              <a:endParaRPr kumimoji="0" lang="fr-CA" sz="2400" b="1" i="0" u="none" strike="noStrike" kern="1200" cap="none" spc="0" normalizeH="0" baseline="30000" noProof="0" dirty="0">
                <a:ln>
                  <a:noFill/>
                </a:ln>
                <a:solidFill>
                  <a:schemeClr val="bg1"/>
                </a:solidFill>
                <a:effectLst/>
                <a:uLnTx/>
                <a:uFillTx/>
                <a:latin typeface="Calibri" panose="020F0502020204030204"/>
                <a:ea typeface="Calibri Light" charset="0"/>
                <a:cs typeface="Calibri Light" charset="0"/>
              </a:endParaRPr>
            </a:p>
          </p:txBody>
        </p:sp>
      </p:grpSp>
      <p:sp>
        <p:nvSpPr>
          <p:cNvPr id="131" name="TextBox 113">
            <a:extLst>
              <a:ext uri="{FF2B5EF4-FFF2-40B4-BE49-F238E27FC236}">
                <a16:creationId xmlns:a16="http://schemas.microsoft.com/office/drawing/2014/main" id="{5CC6B7C1-5664-4C44-44D7-F5E45EBC903B}"/>
              </a:ext>
            </a:extLst>
          </p:cNvPr>
          <p:cNvSpPr txBox="1"/>
          <p:nvPr>
            <p:custDataLst>
              <p:tags r:id="rId33"/>
            </p:custDataLst>
          </p:nvPr>
        </p:nvSpPr>
        <p:spPr>
          <a:xfrm>
            <a:off x="7599117" y="4061612"/>
            <a:ext cx="1376682" cy="338554"/>
          </a:xfrm>
          <a:prstGeom prst="rect">
            <a:avLst/>
          </a:prstGeom>
          <a:noFill/>
        </p:spPr>
        <p:txBody>
          <a:bodyPr wrap="square" rtlCol="0">
            <a:spAutoFit/>
          </a:bodyPr>
          <a:lstStyle/>
          <a:p>
            <a:pPr marL="58736" marR="0" lvl="0" indent="-58736" algn="l" defTabSz="685783" rtl="0" eaLnBrk="1" fontAlgn="auto" latinLnBrk="0" hangingPunct="1">
              <a:lnSpc>
                <a:spcPct val="100000"/>
              </a:lnSpc>
              <a:spcBef>
                <a:spcPts val="0"/>
              </a:spcBef>
              <a:spcAft>
                <a:spcPts val="0"/>
              </a:spcAft>
              <a:buClr>
                <a:srgbClr val="768396"/>
              </a:buClr>
              <a:buSzTx/>
              <a:buFontTx/>
              <a:buNone/>
              <a:tabLst/>
              <a:defRPr/>
            </a:pPr>
            <a:r>
              <a:rPr kumimoji="0" lang="en-US" sz="800" b="0" i="0" u="none" strike="noStrike" kern="1200" cap="none" spc="0" normalizeH="0" baseline="3000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 </a:t>
            </a:r>
            <a:r>
              <a:rPr kumimoji="0" lang="en-US" sz="800" b="0" i="0" u="none" strike="noStrike" kern="1200" cap="none" spc="0" normalizeH="0" baseline="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rPr>
              <a:t>Source: Results from SAS customer Proof of Concept</a:t>
            </a:r>
            <a:endParaRPr kumimoji="0" lang="en-US" sz="800" b="0" i="0" u="none" strike="noStrike" kern="1200" cap="none" spc="0" normalizeH="0" baseline="30000" noProof="0">
              <a:ln>
                <a:noFill/>
              </a:ln>
              <a:solidFill>
                <a:srgbClr val="000000">
                  <a:lumMod val="50000"/>
                  <a:lumOff val="50000"/>
                </a:srgbClr>
              </a:solidFill>
              <a:effectLst/>
              <a:uLnTx/>
              <a:uFillTx/>
              <a:latin typeface="Calibri Light" panose="020F0302020204030204" pitchFamily="34" charset="0"/>
              <a:ea typeface="+mn-ea"/>
              <a:cs typeface="Calibri Light" panose="020F0302020204030204" pitchFamily="34" charset="0"/>
            </a:endParaRPr>
          </a:p>
        </p:txBody>
      </p:sp>
    </p:spTree>
    <p:extLst>
      <p:ext uri="{BB962C8B-B14F-4D97-AF65-F5344CB8AC3E}">
        <p14:creationId xmlns:p14="http://schemas.microsoft.com/office/powerpoint/2010/main" val="8915569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ppt_x"/>
                                          </p:val>
                                        </p:tav>
                                        <p:tav tm="100000">
                                          <p:val>
                                            <p:strVal val="#ppt_x"/>
                                          </p:val>
                                        </p:tav>
                                      </p:tavLst>
                                    </p:anim>
                                    <p:anim calcmode="lin" valueType="num">
                                      <p:cBhvr additive="base">
                                        <p:cTn id="12" dur="500" fill="hold"/>
                                        <p:tgtEl>
                                          <p:spTgt spid="10"/>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42" presetClass="entr" presetSubtype="0"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1000"/>
                                        <p:tgtEl>
                                          <p:spTgt spid="30"/>
                                        </p:tgtEl>
                                      </p:cBhvr>
                                    </p:animEffect>
                                    <p:anim calcmode="lin" valueType="num">
                                      <p:cBhvr>
                                        <p:cTn id="17" dur="1000" fill="hold"/>
                                        <p:tgtEl>
                                          <p:spTgt spid="30"/>
                                        </p:tgtEl>
                                        <p:attrNameLst>
                                          <p:attrName>ppt_x</p:attrName>
                                        </p:attrNameLst>
                                      </p:cBhvr>
                                      <p:tavLst>
                                        <p:tav tm="0">
                                          <p:val>
                                            <p:strVal val="#ppt_x"/>
                                          </p:val>
                                        </p:tav>
                                        <p:tav tm="100000">
                                          <p:val>
                                            <p:strVal val="#ppt_x"/>
                                          </p:val>
                                        </p:tav>
                                      </p:tavLst>
                                    </p:anim>
                                    <p:anim calcmode="lin" valueType="num">
                                      <p:cBhvr>
                                        <p:cTn id="18" dur="1000" fill="hold"/>
                                        <p:tgtEl>
                                          <p:spTgt spid="30"/>
                                        </p:tgtEl>
                                        <p:attrNameLst>
                                          <p:attrName>ppt_y</p:attrName>
                                        </p:attrNameLst>
                                      </p:cBhvr>
                                      <p:tavLst>
                                        <p:tav tm="0">
                                          <p:val>
                                            <p:strVal val="#ppt_y+.1"/>
                                          </p:val>
                                        </p:tav>
                                        <p:tav tm="100000">
                                          <p:val>
                                            <p:strVal val="#ppt_y"/>
                                          </p:val>
                                        </p:tav>
                                      </p:tavLst>
                                    </p:anim>
                                  </p:childTnLst>
                                </p:cTn>
                              </p:par>
                            </p:childTnLst>
                          </p:cTn>
                        </p:par>
                        <p:par>
                          <p:cTn id="19" fill="hold">
                            <p:stCondLst>
                              <p:cond delay="1500"/>
                            </p:stCondLst>
                            <p:childTnLst>
                              <p:par>
                                <p:cTn id="20" presetID="2" presetClass="entr" presetSubtype="4" fill="hold" nodeType="afterEffect">
                                  <p:stCondLst>
                                    <p:cond delay="0"/>
                                  </p:stCondLst>
                                  <p:childTnLst>
                                    <p:set>
                                      <p:cBhvr>
                                        <p:cTn id="21" dur="1" fill="hold">
                                          <p:stCondLst>
                                            <p:cond delay="0"/>
                                          </p:stCondLst>
                                        </p:cTn>
                                        <p:tgtEl>
                                          <p:spTgt spid="67"/>
                                        </p:tgtEl>
                                        <p:attrNameLst>
                                          <p:attrName>style.visibility</p:attrName>
                                        </p:attrNameLst>
                                      </p:cBhvr>
                                      <p:to>
                                        <p:strVal val="visible"/>
                                      </p:to>
                                    </p:set>
                                    <p:anim calcmode="lin" valueType="num">
                                      <p:cBhvr additive="base">
                                        <p:cTn id="22" dur="500" fill="hold"/>
                                        <p:tgtEl>
                                          <p:spTgt spid="67"/>
                                        </p:tgtEl>
                                        <p:attrNameLst>
                                          <p:attrName>ppt_x</p:attrName>
                                        </p:attrNameLst>
                                      </p:cBhvr>
                                      <p:tavLst>
                                        <p:tav tm="0">
                                          <p:val>
                                            <p:strVal val="#ppt_x"/>
                                          </p:val>
                                        </p:tav>
                                        <p:tav tm="100000">
                                          <p:val>
                                            <p:strVal val="#ppt_x"/>
                                          </p:val>
                                        </p:tav>
                                      </p:tavLst>
                                    </p:anim>
                                    <p:anim calcmode="lin" valueType="num">
                                      <p:cBhvr additive="base">
                                        <p:cTn id="23" dur="500" fill="hold"/>
                                        <p:tgtEl>
                                          <p:spTgt spid="67"/>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4"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additive="base">
                                        <p:cTn id="27" dur="500" fill="hold"/>
                                        <p:tgtEl>
                                          <p:spTgt spid="45"/>
                                        </p:tgtEl>
                                        <p:attrNameLst>
                                          <p:attrName>ppt_x</p:attrName>
                                        </p:attrNameLst>
                                      </p:cBhvr>
                                      <p:tavLst>
                                        <p:tav tm="0">
                                          <p:val>
                                            <p:strVal val="#ppt_x"/>
                                          </p:val>
                                        </p:tav>
                                        <p:tav tm="100000">
                                          <p:val>
                                            <p:strVal val="#ppt_x"/>
                                          </p:val>
                                        </p:tav>
                                      </p:tavLst>
                                    </p:anim>
                                    <p:anim calcmode="lin" valueType="num">
                                      <p:cBhvr additive="base">
                                        <p:cTn id="28" dur="500" fill="hold"/>
                                        <p:tgtEl>
                                          <p:spTgt spid="45"/>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 presetClass="entr" presetSubtype="4" fill="hold" nodeType="after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additive="base">
                                        <p:cTn id="32" dur="500" fill="hold"/>
                                        <p:tgtEl>
                                          <p:spTgt spid="17"/>
                                        </p:tgtEl>
                                        <p:attrNameLst>
                                          <p:attrName>ppt_x</p:attrName>
                                        </p:attrNameLst>
                                      </p:cBhvr>
                                      <p:tavLst>
                                        <p:tav tm="0">
                                          <p:val>
                                            <p:strVal val="#ppt_x"/>
                                          </p:val>
                                        </p:tav>
                                        <p:tav tm="100000">
                                          <p:val>
                                            <p:strVal val="#ppt_x"/>
                                          </p:val>
                                        </p:tav>
                                      </p:tavLst>
                                    </p:anim>
                                    <p:anim calcmode="lin" valueType="num">
                                      <p:cBhvr additive="base">
                                        <p:cTn id="33" dur="500" fill="hold"/>
                                        <p:tgtEl>
                                          <p:spTgt spid="17"/>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 calcmode="lin" valueType="num">
                                      <p:cBhvr additive="base">
                                        <p:cTn id="36" dur="500" fill="hold"/>
                                        <p:tgtEl>
                                          <p:spTgt spid="11"/>
                                        </p:tgtEl>
                                        <p:attrNameLst>
                                          <p:attrName>ppt_x</p:attrName>
                                        </p:attrNameLst>
                                      </p:cBhvr>
                                      <p:tavLst>
                                        <p:tav tm="0">
                                          <p:val>
                                            <p:strVal val="#ppt_x"/>
                                          </p:val>
                                        </p:tav>
                                        <p:tav tm="100000">
                                          <p:val>
                                            <p:strVal val="#ppt_x"/>
                                          </p:val>
                                        </p:tav>
                                      </p:tavLst>
                                    </p:anim>
                                    <p:anim calcmode="lin" valueType="num">
                                      <p:cBhvr additive="base">
                                        <p:cTn id="37" dur="500" fill="hold"/>
                                        <p:tgtEl>
                                          <p:spTgt spid="11"/>
                                        </p:tgtEl>
                                        <p:attrNameLst>
                                          <p:attrName>ppt_y</p:attrName>
                                        </p:attrNameLst>
                                      </p:cBhvr>
                                      <p:tavLst>
                                        <p:tav tm="0">
                                          <p:val>
                                            <p:strVal val="1+#ppt_h/2"/>
                                          </p:val>
                                        </p:tav>
                                        <p:tav tm="100000">
                                          <p:val>
                                            <p:strVal val="#ppt_y"/>
                                          </p:val>
                                        </p:tav>
                                      </p:tavLst>
                                    </p:anim>
                                  </p:childTnLst>
                                </p:cTn>
                              </p:par>
                            </p:childTnLst>
                          </p:cTn>
                        </p:par>
                        <p:par>
                          <p:cTn id="38" fill="hold">
                            <p:stCondLst>
                              <p:cond delay="3000"/>
                            </p:stCondLst>
                            <p:childTnLst>
                              <p:par>
                                <p:cTn id="39" presetID="2" presetClass="entr" presetSubtype="4" fill="hold" nodeType="afterEffect">
                                  <p:stCondLst>
                                    <p:cond delay="0"/>
                                  </p:stCondLst>
                                  <p:childTnLst>
                                    <p:set>
                                      <p:cBhvr>
                                        <p:cTn id="40" dur="1" fill="hold">
                                          <p:stCondLst>
                                            <p:cond delay="0"/>
                                          </p:stCondLst>
                                        </p:cTn>
                                        <p:tgtEl>
                                          <p:spTgt spid="35"/>
                                        </p:tgtEl>
                                        <p:attrNameLst>
                                          <p:attrName>style.visibility</p:attrName>
                                        </p:attrNameLst>
                                      </p:cBhvr>
                                      <p:to>
                                        <p:strVal val="visible"/>
                                      </p:to>
                                    </p:set>
                                    <p:anim calcmode="lin" valueType="num">
                                      <p:cBhvr additive="base">
                                        <p:cTn id="41" dur="500" fill="hold"/>
                                        <p:tgtEl>
                                          <p:spTgt spid="35"/>
                                        </p:tgtEl>
                                        <p:attrNameLst>
                                          <p:attrName>ppt_x</p:attrName>
                                        </p:attrNameLst>
                                      </p:cBhvr>
                                      <p:tavLst>
                                        <p:tav tm="0">
                                          <p:val>
                                            <p:strVal val="#ppt_x"/>
                                          </p:val>
                                        </p:tav>
                                        <p:tav tm="100000">
                                          <p:val>
                                            <p:strVal val="#ppt_x"/>
                                          </p:val>
                                        </p:tav>
                                      </p:tavLst>
                                    </p:anim>
                                    <p:anim calcmode="lin" valueType="num">
                                      <p:cBhvr additive="base">
                                        <p:cTn id="42" dur="500" fill="hold"/>
                                        <p:tgtEl>
                                          <p:spTgt spid="35"/>
                                        </p:tgtEl>
                                        <p:attrNameLst>
                                          <p:attrName>ppt_y</p:attrName>
                                        </p:attrNameLst>
                                      </p:cBhvr>
                                      <p:tavLst>
                                        <p:tav tm="0">
                                          <p:val>
                                            <p:strVal val="1+#ppt_h/2"/>
                                          </p:val>
                                        </p:tav>
                                        <p:tav tm="100000">
                                          <p:val>
                                            <p:strVal val="#ppt_y"/>
                                          </p:val>
                                        </p:tav>
                                      </p:tavLst>
                                    </p:anim>
                                  </p:childTnLst>
                                </p:cTn>
                              </p:par>
                            </p:childTnLst>
                          </p:cTn>
                        </p:par>
                        <p:par>
                          <p:cTn id="43" fill="hold">
                            <p:stCondLst>
                              <p:cond delay="3500"/>
                            </p:stCondLst>
                            <p:childTnLst>
                              <p:par>
                                <p:cTn id="44" presetID="2" presetClass="entr" presetSubtype="4" fill="hold" nodeType="afterEffect">
                                  <p:stCondLst>
                                    <p:cond delay="0"/>
                                  </p:stCondLst>
                                  <p:childTnLst>
                                    <p:set>
                                      <p:cBhvr>
                                        <p:cTn id="45" dur="1" fill="hold">
                                          <p:stCondLst>
                                            <p:cond delay="0"/>
                                          </p:stCondLst>
                                        </p:cTn>
                                        <p:tgtEl>
                                          <p:spTgt spid="84"/>
                                        </p:tgtEl>
                                        <p:attrNameLst>
                                          <p:attrName>style.visibility</p:attrName>
                                        </p:attrNameLst>
                                      </p:cBhvr>
                                      <p:to>
                                        <p:strVal val="visible"/>
                                      </p:to>
                                    </p:set>
                                    <p:anim calcmode="lin" valueType="num">
                                      <p:cBhvr additive="base">
                                        <p:cTn id="46" dur="500" fill="hold"/>
                                        <p:tgtEl>
                                          <p:spTgt spid="84"/>
                                        </p:tgtEl>
                                        <p:attrNameLst>
                                          <p:attrName>ppt_x</p:attrName>
                                        </p:attrNameLst>
                                      </p:cBhvr>
                                      <p:tavLst>
                                        <p:tav tm="0">
                                          <p:val>
                                            <p:strVal val="#ppt_x"/>
                                          </p:val>
                                        </p:tav>
                                        <p:tav tm="100000">
                                          <p:val>
                                            <p:strVal val="#ppt_x"/>
                                          </p:val>
                                        </p:tav>
                                      </p:tavLst>
                                    </p:anim>
                                    <p:anim calcmode="lin" valueType="num">
                                      <p:cBhvr additive="base">
                                        <p:cTn id="47" dur="500" fill="hold"/>
                                        <p:tgtEl>
                                          <p:spTgt spid="84"/>
                                        </p:tgtEl>
                                        <p:attrNameLst>
                                          <p:attrName>ppt_y</p:attrName>
                                        </p:attrNameLst>
                                      </p:cBhvr>
                                      <p:tavLst>
                                        <p:tav tm="0">
                                          <p:val>
                                            <p:strVal val="1+#ppt_h/2"/>
                                          </p:val>
                                        </p:tav>
                                        <p:tav tm="100000">
                                          <p:val>
                                            <p:strVal val="#ppt_y"/>
                                          </p:val>
                                        </p:tav>
                                      </p:tavLst>
                                    </p:anim>
                                  </p:childTnLst>
                                </p:cTn>
                              </p:par>
                            </p:childTnLst>
                          </p:cTn>
                        </p:par>
                        <p:par>
                          <p:cTn id="48" fill="hold">
                            <p:stCondLst>
                              <p:cond delay="4000"/>
                            </p:stCondLst>
                            <p:childTnLst>
                              <p:par>
                                <p:cTn id="49" presetID="2" presetClass="entr" presetSubtype="4"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 calcmode="lin" valueType="num">
                                      <p:cBhvr additive="base">
                                        <p:cTn id="51" dur="500" fill="hold"/>
                                        <p:tgtEl>
                                          <p:spTgt spid="50"/>
                                        </p:tgtEl>
                                        <p:attrNameLst>
                                          <p:attrName>ppt_x</p:attrName>
                                        </p:attrNameLst>
                                      </p:cBhvr>
                                      <p:tavLst>
                                        <p:tav tm="0">
                                          <p:val>
                                            <p:strVal val="#ppt_x"/>
                                          </p:val>
                                        </p:tav>
                                        <p:tav tm="100000">
                                          <p:val>
                                            <p:strVal val="#ppt_x"/>
                                          </p:val>
                                        </p:tav>
                                      </p:tavLst>
                                    </p:anim>
                                    <p:anim calcmode="lin" valueType="num">
                                      <p:cBhvr additive="base">
                                        <p:cTn id="52" dur="500" fill="hold"/>
                                        <p:tgtEl>
                                          <p:spTgt spid="50"/>
                                        </p:tgtEl>
                                        <p:attrNameLst>
                                          <p:attrName>ppt_y</p:attrName>
                                        </p:attrNameLst>
                                      </p:cBhvr>
                                      <p:tavLst>
                                        <p:tav tm="0">
                                          <p:val>
                                            <p:strVal val="1+#ppt_h/2"/>
                                          </p:val>
                                        </p:tav>
                                        <p:tav tm="100000">
                                          <p:val>
                                            <p:strVal val="#ppt_y"/>
                                          </p:val>
                                        </p:tav>
                                      </p:tavLst>
                                    </p:anim>
                                  </p:childTnLst>
                                </p:cTn>
                              </p:par>
                              <p:par>
                                <p:cTn id="53" presetID="26" presetClass="emph" presetSubtype="0" fill="hold" grpId="1" nodeType="withEffect">
                                  <p:stCondLst>
                                    <p:cond delay="0"/>
                                  </p:stCondLst>
                                  <p:childTnLst>
                                    <p:animEffect transition="out" filter="fade">
                                      <p:cBhvr>
                                        <p:cTn id="54" dur="500" tmFilter="0, 0; .2, .5; .8, .5; 1, 0"/>
                                        <p:tgtEl>
                                          <p:spTgt spid="10"/>
                                        </p:tgtEl>
                                      </p:cBhvr>
                                    </p:animEffect>
                                    <p:animScale>
                                      <p:cBhvr>
                                        <p:cTn id="55" dur="250" autoRev="1" fill="hold"/>
                                        <p:tgtEl>
                                          <p:spTgt spid="10"/>
                                        </p:tgtEl>
                                      </p:cBhvr>
                                      <p:by x="105000" y="105000"/>
                                    </p:animScale>
                                  </p:childTnLst>
                                </p:cTn>
                              </p:par>
                              <p:par>
                                <p:cTn id="56" presetID="26" presetClass="emph" presetSubtype="0" fill="hold" grpId="1" nodeType="withEffect">
                                  <p:stCondLst>
                                    <p:cond delay="0"/>
                                  </p:stCondLst>
                                  <p:childTnLst>
                                    <p:animEffect transition="out" filter="fade">
                                      <p:cBhvr>
                                        <p:cTn id="57" dur="500" tmFilter="0, 0; .2, .5; .8, .5; 1, 0"/>
                                        <p:tgtEl>
                                          <p:spTgt spid="11"/>
                                        </p:tgtEl>
                                      </p:cBhvr>
                                    </p:animEffect>
                                    <p:animScale>
                                      <p:cBhvr>
                                        <p:cTn id="58" dur="250" autoRev="1" fill="hold"/>
                                        <p:tgtEl>
                                          <p:spTgt spid="11"/>
                                        </p:tgtEl>
                                      </p:cBhvr>
                                      <p:by x="105000" y="105000"/>
                                    </p:animScale>
                                  </p:childTnLst>
                                </p:cTn>
                              </p:par>
                            </p:childTnLst>
                          </p:cTn>
                        </p:par>
                        <p:par>
                          <p:cTn id="59" fill="hold">
                            <p:stCondLst>
                              <p:cond delay="4500"/>
                            </p:stCondLst>
                            <p:childTnLst>
                              <p:par>
                                <p:cTn id="60" presetID="2" presetClass="entr" presetSubtype="4" fill="hold" nodeType="afterEffect">
                                  <p:stCondLst>
                                    <p:cond delay="0"/>
                                  </p:stCondLst>
                                  <p:childTnLst>
                                    <p:set>
                                      <p:cBhvr>
                                        <p:cTn id="61" dur="1" fill="hold">
                                          <p:stCondLst>
                                            <p:cond delay="0"/>
                                          </p:stCondLst>
                                        </p:cTn>
                                        <p:tgtEl>
                                          <p:spTgt spid="22"/>
                                        </p:tgtEl>
                                        <p:attrNameLst>
                                          <p:attrName>style.visibility</p:attrName>
                                        </p:attrNameLst>
                                      </p:cBhvr>
                                      <p:to>
                                        <p:strVal val="visible"/>
                                      </p:to>
                                    </p:set>
                                    <p:anim calcmode="lin" valueType="num">
                                      <p:cBhvr additive="base">
                                        <p:cTn id="62" dur="500" fill="hold"/>
                                        <p:tgtEl>
                                          <p:spTgt spid="22"/>
                                        </p:tgtEl>
                                        <p:attrNameLst>
                                          <p:attrName>ppt_x</p:attrName>
                                        </p:attrNameLst>
                                      </p:cBhvr>
                                      <p:tavLst>
                                        <p:tav tm="0">
                                          <p:val>
                                            <p:strVal val="#ppt_x"/>
                                          </p:val>
                                        </p:tav>
                                        <p:tav tm="100000">
                                          <p:val>
                                            <p:strVal val="#ppt_x"/>
                                          </p:val>
                                        </p:tav>
                                      </p:tavLst>
                                    </p:anim>
                                    <p:anim calcmode="lin" valueType="num">
                                      <p:cBhvr additive="base">
                                        <p:cTn id="63" dur="500" fill="hold"/>
                                        <p:tgtEl>
                                          <p:spTgt spid="22"/>
                                        </p:tgtEl>
                                        <p:attrNameLst>
                                          <p:attrName>ppt_y</p:attrName>
                                        </p:attrNameLst>
                                      </p:cBhvr>
                                      <p:tavLst>
                                        <p:tav tm="0">
                                          <p:val>
                                            <p:strVal val="1+#ppt_h/2"/>
                                          </p:val>
                                        </p:tav>
                                        <p:tav tm="100000">
                                          <p:val>
                                            <p:strVal val="#ppt_y"/>
                                          </p:val>
                                        </p:tav>
                                      </p:tavLst>
                                    </p:anim>
                                  </p:childTnLst>
                                </p:cTn>
                              </p:par>
                            </p:childTnLst>
                          </p:cTn>
                        </p:par>
                        <p:par>
                          <p:cTn id="64" fill="hold">
                            <p:stCondLst>
                              <p:cond delay="5000"/>
                            </p:stCondLst>
                            <p:childTnLst>
                              <p:par>
                                <p:cTn id="65" presetID="2" presetClass="entr" presetSubtype="4" fill="hold" grpId="0" nodeType="afterEffect">
                                  <p:stCondLst>
                                    <p:cond delay="0"/>
                                  </p:stCondLst>
                                  <p:childTnLst>
                                    <p:set>
                                      <p:cBhvr>
                                        <p:cTn id="66" dur="1" fill="hold">
                                          <p:stCondLst>
                                            <p:cond delay="0"/>
                                          </p:stCondLst>
                                        </p:cTn>
                                        <p:tgtEl>
                                          <p:spTgt spid="94"/>
                                        </p:tgtEl>
                                        <p:attrNameLst>
                                          <p:attrName>style.visibility</p:attrName>
                                        </p:attrNameLst>
                                      </p:cBhvr>
                                      <p:to>
                                        <p:strVal val="visible"/>
                                      </p:to>
                                    </p:set>
                                    <p:anim calcmode="lin" valueType="num">
                                      <p:cBhvr additive="base">
                                        <p:cTn id="67" dur="500" fill="hold"/>
                                        <p:tgtEl>
                                          <p:spTgt spid="94"/>
                                        </p:tgtEl>
                                        <p:attrNameLst>
                                          <p:attrName>ppt_x</p:attrName>
                                        </p:attrNameLst>
                                      </p:cBhvr>
                                      <p:tavLst>
                                        <p:tav tm="0">
                                          <p:val>
                                            <p:strVal val="#ppt_x"/>
                                          </p:val>
                                        </p:tav>
                                        <p:tav tm="100000">
                                          <p:val>
                                            <p:strVal val="#ppt_x"/>
                                          </p:val>
                                        </p:tav>
                                      </p:tavLst>
                                    </p:anim>
                                    <p:anim calcmode="lin" valueType="num">
                                      <p:cBhvr additive="base">
                                        <p:cTn id="68" dur="500" fill="hold"/>
                                        <p:tgtEl>
                                          <p:spTgt spid="94"/>
                                        </p:tgtEl>
                                        <p:attrNameLst>
                                          <p:attrName>ppt_y</p:attrName>
                                        </p:attrNameLst>
                                      </p:cBhvr>
                                      <p:tavLst>
                                        <p:tav tm="0">
                                          <p:val>
                                            <p:strVal val="1+#ppt_h/2"/>
                                          </p:val>
                                        </p:tav>
                                        <p:tav tm="100000">
                                          <p:val>
                                            <p:strVal val="#ppt_y"/>
                                          </p:val>
                                        </p:tav>
                                      </p:tavLst>
                                    </p:anim>
                                  </p:childTnLst>
                                </p:cTn>
                              </p:par>
                            </p:childTnLst>
                          </p:cTn>
                        </p:par>
                        <p:par>
                          <p:cTn id="69" fill="hold">
                            <p:stCondLst>
                              <p:cond delay="5500"/>
                            </p:stCondLst>
                            <p:childTnLst>
                              <p:par>
                                <p:cTn id="70" presetID="2" presetClass="entr" presetSubtype="4" fill="hold" nodeType="afterEffect">
                                  <p:stCondLst>
                                    <p:cond delay="0"/>
                                  </p:stCondLst>
                                  <p:childTnLst>
                                    <p:set>
                                      <p:cBhvr>
                                        <p:cTn id="71" dur="1" fill="hold">
                                          <p:stCondLst>
                                            <p:cond delay="0"/>
                                          </p:stCondLst>
                                        </p:cTn>
                                        <p:tgtEl>
                                          <p:spTgt spid="40"/>
                                        </p:tgtEl>
                                        <p:attrNameLst>
                                          <p:attrName>style.visibility</p:attrName>
                                        </p:attrNameLst>
                                      </p:cBhvr>
                                      <p:to>
                                        <p:strVal val="visible"/>
                                      </p:to>
                                    </p:set>
                                    <p:anim calcmode="lin" valueType="num">
                                      <p:cBhvr additive="base">
                                        <p:cTn id="72" dur="500" fill="hold"/>
                                        <p:tgtEl>
                                          <p:spTgt spid="40"/>
                                        </p:tgtEl>
                                        <p:attrNameLst>
                                          <p:attrName>ppt_x</p:attrName>
                                        </p:attrNameLst>
                                      </p:cBhvr>
                                      <p:tavLst>
                                        <p:tav tm="0">
                                          <p:val>
                                            <p:strVal val="#ppt_x"/>
                                          </p:val>
                                        </p:tav>
                                        <p:tav tm="100000">
                                          <p:val>
                                            <p:strVal val="#ppt_x"/>
                                          </p:val>
                                        </p:tav>
                                      </p:tavLst>
                                    </p:anim>
                                    <p:anim calcmode="lin" valueType="num">
                                      <p:cBhvr additive="base">
                                        <p:cTn id="73" dur="500" fill="hold"/>
                                        <p:tgtEl>
                                          <p:spTgt spid="40"/>
                                        </p:tgtEl>
                                        <p:attrNameLst>
                                          <p:attrName>ppt_y</p:attrName>
                                        </p:attrNameLst>
                                      </p:cBhvr>
                                      <p:tavLst>
                                        <p:tav tm="0">
                                          <p:val>
                                            <p:strVal val="1+#ppt_h/2"/>
                                          </p:val>
                                        </p:tav>
                                        <p:tav tm="100000">
                                          <p:val>
                                            <p:strVal val="#ppt_y"/>
                                          </p:val>
                                        </p:tav>
                                      </p:tavLst>
                                    </p:anim>
                                  </p:childTnLst>
                                </p:cTn>
                              </p:par>
                            </p:childTnLst>
                          </p:cTn>
                        </p:par>
                        <p:par>
                          <p:cTn id="74" fill="hold">
                            <p:stCondLst>
                              <p:cond delay="6000"/>
                            </p:stCondLst>
                            <p:childTnLst>
                              <p:par>
                                <p:cTn id="75" presetID="2" presetClass="entr" presetSubtype="4" fill="hold" nodeType="afterEffect">
                                  <p:stCondLst>
                                    <p:cond delay="0"/>
                                  </p:stCondLst>
                                  <p:childTnLst>
                                    <p:set>
                                      <p:cBhvr>
                                        <p:cTn id="76" dur="1" fill="hold">
                                          <p:stCondLst>
                                            <p:cond delay="0"/>
                                          </p:stCondLst>
                                        </p:cTn>
                                        <p:tgtEl>
                                          <p:spTgt spid="89"/>
                                        </p:tgtEl>
                                        <p:attrNameLst>
                                          <p:attrName>style.visibility</p:attrName>
                                        </p:attrNameLst>
                                      </p:cBhvr>
                                      <p:to>
                                        <p:strVal val="visible"/>
                                      </p:to>
                                    </p:set>
                                    <p:anim calcmode="lin" valueType="num">
                                      <p:cBhvr additive="base">
                                        <p:cTn id="77" dur="500" fill="hold"/>
                                        <p:tgtEl>
                                          <p:spTgt spid="89"/>
                                        </p:tgtEl>
                                        <p:attrNameLst>
                                          <p:attrName>ppt_x</p:attrName>
                                        </p:attrNameLst>
                                      </p:cBhvr>
                                      <p:tavLst>
                                        <p:tav tm="0">
                                          <p:val>
                                            <p:strVal val="#ppt_x"/>
                                          </p:val>
                                        </p:tav>
                                        <p:tav tm="100000">
                                          <p:val>
                                            <p:strVal val="#ppt_x"/>
                                          </p:val>
                                        </p:tav>
                                      </p:tavLst>
                                    </p:anim>
                                    <p:anim calcmode="lin" valueType="num">
                                      <p:cBhvr additive="base">
                                        <p:cTn id="78" dur="500" fill="hold"/>
                                        <p:tgtEl>
                                          <p:spTgt spid="89"/>
                                        </p:tgtEl>
                                        <p:attrNameLst>
                                          <p:attrName>ppt_y</p:attrName>
                                        </p:attrNameLst>
                                      </p:cBhvr>
                                      <p:tavLst>
                                        <p:tav tm="0">
                                          <p:val>
                                            <p:strVal val="1+#ppt_h/2"/>
                                          </p:val>
                                        </p:tav>
                                        <p:tav tm="100000">
                                          <p:val>
                                            <p:strVal val="#ppt_y"/>
                                          </p:val>
                                        </p:tav>
                                      </p:tavLst>
                                    </p:anim>
                                  </p:childTnLst>
                                </p:cTn>
                              </p:par>
                            </p:childTnLst>
                          </p:cTn>
                        </p:par>
                        <p:par>
                          <p:cTn id="79" fill="hold">
                            <p:stCondLst>
                              <p:cond delay="6500"/>
                            </p:stCondLst>
                            <p:childTnLst>
                              <p:par>
                                <p:cTn id="80" presetID="2" presetClass="entr" presetSubtype="4" fill="hold" nodeType="afterEffect">
                                  <p:stCondLst>
                                    <p:cond delay="0"/>
                                  </p:stCondLst>
                                  <p:childTnLst>
                                    <p:set>
                                      <p:cBhvr>
                                        <p:cTn id="81" dur="1" fill="hold">
                                          <p:stCondLst>
                                            <p:cond delay="0"/>
                                          </p:stCondLst>
                                        </p:cTn>
                                        <p:tgtEl>
                                          <p:spTgt spid="55"/>
                                        </p:tgtEl>
                                        <p:attrNameLst>
                                          <p:attrName>style.visibility</p:attrName>
                                        </p:attrNameLst>
                                      </p:cBhvr>
                                      <p:to>
                                        <p:strVal val="visible"/>
                                      </p:to>
                                    </p:set>
                                    <p:anim calcmode="lin" valueType="num">
                                      <p:cBhvr additive="base">
                                        <p:cTn id="82" dur="500" fill="hold"/>
                                        <p:tgtEl>
                                          <p:spTgt spid="55"/>
                                        </p:tgtEl>
                                        <p:attrNameLst>
                                          <p:attrName>ppt_x</p:attrName>
                                        </p:attrNameLst>
                                      </p:cBhvr>
                                      <p:tavLst>
                                        <p:tav tm="0">
                                          <p:val>
                                            <p:strVal val="#ppt_x"/>
                                          </p:val>
                                        </p:tav>
                                        <p:tav tm="100000">
                                          <p:val>
                                            <p:strVal val="#ppt_x"/>
                                          </p:val>
                                        </p:tav>
                                      </p:tavLst>
                                    </p:anim>
                                    <p:anim calcmode="lin" valueType="num">
                                      <p:cBhvr additive="base">
                                        <p:cTn id="83" dur="500" fill="hold"/>
                                        <p:tgtEl>
                                          <p:spTgt spid="55"/>
                                        </p:tgtEl>
                                        <p:attrNameLst>
                                          <p:attrName>ppt_y</p:attrName>
                                        </p:attrNameLst>
                                      </p:cBhvr>
                                      <p:tavLst>
                                        <p:tav tm="0">
                                          <p:val>
                                            <p:strVal val="1+#ppt_h/2"/>
                                          </p:val>
                                        </p:tav>
                                        <p:tav tm="100000">
                                          <p:val>
                                            <p:strVal val="#ppt_y"/>
                                          </p:val>
                                        </p:tav>
                                      </p:tavLst>
                                    </p:anim>
                                  </p:childTnLst>
                                </p:cTn>
                              </p:par>
                              <p:par>
                                <p:cTn id="84" presetID="26" presetClass="emph" presetSubtype="0" fill="hold" grpId="1" nodeType="withEffect">
                                  <p:stCondLst>
                                    <p:cond delay="0"/>
                                  </p:stCondLst>
                                  <p:childTnLst>
                                    <p:animEffect transition="out" filter="fade">
                                      <p:cBhvr>
                                        <p:cTn id="85" dur="500" tmFilter="0, 0; .2, .5; .8, .5; 1, 0"/>
                                        <p:tgtEl>
                                          <p:spTgt spid="94"/>
                                        </p:tgtEl>
                                      </p:cBhvr>
                                    </p:animEffect>
                                    <p:animScale>
                                      <p:cBhvr>
                                        <p:cTn id="86" dur="250" autoRev="1" fill="hold"/>
                                        <p:tgtEl>
                                          <p:spTgt spid="94"/>
                                        </p:tgtEl>
                                      </p:cBhvr>
                                      <p:by x="105000" y="105000"/>
                                    </p:animScale>
                                  </p:childTnLst>
                                </p:cTn>
                              </p:par>
                              <p:par>
                                <p:cTn id="87" presetID="26" presetClass="emph" presetSubtype="0" fill="hold" grpId="2" nodeType="withEffect">
                                  <p:stCondLst>
                                    <p:cond delay="0"/>
                                  </p:stCondLst>
                                  <p:childTnLst>
                                    <p:animEffect transition="out" filter="fade">
                                      <p:cBhvr>
                                        <p:cTn id="88" dur="500" tmFilter="0, 0; .2, .5; .8, .5; 1, 0"/>
                                        <p:tgtEl>
                                          <p:spTgt spid="11"/>
                                        </p:tgtEl>
                                      </p:cBhvr>
                                    </p:animEffect>
                                    <p:animScale>
                                      <p:cBhvr>
                                        <p:cTn id="89" dur="250" autoRev="1" fill="hold"/>
                                        <p:tgtEl>
                                          <p:spTgt spid="11"/>
                                        </p:tgtEl>
                                      </p:cBhvr>
                                      <p:by x="105000" y="105000"/>
                                    </p:animScale>
                                  </p:childTnLst>
                                </p:cTn>
                              </p:par>
                              <p:par>
                                <p:cTn id="90" presetID="16" presetClass="entr" presetSubtype="21" fill="hold" grpId="0" nodeType="withEffect">
                                  <p:stCondLst>
                                    <p:cond delay="0"/>
                                  </p:stCondLst>
                                  <p:childTnLst>
                                    <p:set>
                                      <p:cBhvr>
                                        <p:cTn id="91" dur="1" fill="hold">
                                          <p:stCondLst>
                                            <p:cond delay="0"/>
                                          </p:stCondLst>
                                        </p:cTn>
                                        <p:tgtEl>
                                          <p:spTgt spid="116"/>
                                        </p:tgtEl>
                                        <p:attrNameLst>
                                          <p:attrName>style.visibility</p:attrName>
                                        </p:attrNameLst>
                                      </p:cBhvr>
                                      <p:to>
                                        <p:strVal val="visible"/>
                                      </p:to>
                                    </p:set>
                                    <p:animEffect transition="in" filter="barn(inVertical)">
                                      <p:cBhvr>
                                        <p:cTn id="92" dur="500"/>
                                        <p:tgtEl>
                                          <p:spTgt spid="116"/>
                                        </p:tgtEl>
                                      </p:cBhvr>
                                    </p:animEffect>
                                  </p:childTnLst>
                                </p:cTn>
                              </p:par>
                              <p:par>
                                <p:cTn id="93" presetID="16" presetClass="entr" presetSubtype="21" fill="hold" grpId="0" nodeType="withEffect">
                                  <p:stCondLst>
                                    <p:cond delay="0"/>
                                  </p:stCondLst>
                                  <p:childTnLst>
                                    <p:set>
                                      <p:cBhvr>
                                        <p:cTn id="94" dur="1" fill="hold">
                                          <p:stCondLst>
                                            <p:cond delay="0"/>
                                          </p:stCondLst>
                                        </p:cTn>
                                        <p:tgtEl>
                                          <p:spTgt spid="117"/>
                                        </p:tgtEl>
                                        <p:attrNameLst>
                                          <p:attrName>style.visibility</p:attrName>
                                        </p:attrNameLst>
                                      </p:cBhvr>
                                      <p:to>
                                        <p:strVal val="visible"/>
                                      </p:to>
                                    </p:set>
                                    <p:animEffect transition="in" filter="barn(inVertical)">
                                      <p:cBhvr>
                                        <p:cTn id="95" dur="500"/>
                                        <p:tgtEl>
                                          <p:spTgt spid="117"/>
                                        </p:tgtEl>
                                      </p:cBhvr>
                                    </p:animEffect>
                                  </p:childTnLst>
                                </p:cTn>
                              </p:par>
                              <p:par>
                                <p:cTn id="96" presetID="8" presetClass="emph" presetSubtype="0" fill="hold" grpId="0" nodeType="withEffect">
                                  <p:stCondLst>
                                    <p:cond delay="0"/>
                                  </p:stCondLst>
                                  <p:childTnLst>
                                    <p:animRot by="21600000">
                                      <p:cBhvr>
                                        <p:cTn id="97" dur="2000" fill="hold"/>
                                        <p:tgtEl>
                                          <p:spTgt spid="96"/>
                                        </p:tgtEl>
                                        <p:attrNameLst>
                                          <p:attrName>r</p:attrName>
                                        </p:attrNameLst>
                                      </p:cBhvr>
                                    </p:animRot>
                                  </p:childTnLst>
                                </p:cTn>
                              </p:par>
                              <p:par>
                                <p:cTn id="98" presetID="6" presetClass="emph" presetSubtype="0" autoRev="1" fill="hold" grpId="0" nodeType="withEffect">
                                  <p:stCondLst>
                                    <p:cond delay="0"/>
                                  </p:stCondLst>
                                  <p:childTnLst>
                                    <p:animScale>
                                      <p:cBhvr>
                                        <p:cTn id="99" dur="2000" fill="hold"/>
                                        <p:tgtEl>
                                          <p:spTgt spid="119"/>
                                        </p:tgtEl>
                                      </p:cBhvr>
                                      <p:by x="150000" y="150000"/>
                                    </p:animScale>
                                  </p:childTnLst>
                                </p:cTn>
                              </p:par>
                              <p:par>
                                <p:cTn id="100" presetID="6" presetClass="emph" presetSubtype="0" autoRev="1" fill="hold" grpId="0" nodeType="withEffect">
                                  <p:stCondLst>
                                    <p:cond delay="0"/>
                                  </p:stCondLst>
                                  <p:childTnLst>
                                    <p:animScale>
                                      <p:cBhvr>
                                        <p:cTn id="101" dur="2000" fill="hold"/>
                                        <p:tgtEl>
                                          <p:spTgt spid="110"/>
                                        </p:tgtEl>
                                      </p:cBhvr>
                                      <p:by x="150000" y="150000"/>
                                    </p:animScale>
                                  </p:childTnLst>
                                </p:cTn>
                              </p:par>
                              <p:par>
                                <p:cTn id="102" presetID="6" presetClass="emph" presetSubtype="0" autoRev="1" fill="hold" grpId="0" nodeType="withEffect">
                                  <p:stCondLst>
                                    <p:cond delay="0"/>
                                  </p:stCondLst>
                                  <p:childTnLst>
                                    <p:animScale>
                                      <p:cBhvr>
                                        <p:cTn id="103" dur="2000" fill="hold"/>
                                        <p:tgtEl>
                                          <p:spTgt spid="114"/>
                                        </p:tgtEl>
                                      </p:cBhvr>
                                      <p:by x="150000" y="150000"/>
                                    </p:animScale>
                                  </p:childTnLst>
                                </p:cTn>
                              </p:par>
                              <p:par>
                                <p:cTn id="104" presetID="6" presetClass="emph" presetSubtype="0" autoRev="1" fill="hold" nodeType="withEffect">
                                  <p:stCondLst>
                                    <p:cond delay="0"/>
                                  </p:stCondLst>
                                  <p:childTnLst>
                                    <p:animScale>
                                      <p:cBhvr>
                                        <p:cTn id="105" dur="2000" fill="hold"/>
                                        <p:tgtEl>
                                          <p:spTgt spid="111"/>
                                        </p:tgtEl>
                                      </p:cBhvr>
                                      <p:by x="150000" y="150000"/>
                                    </p:animScale>
                                  </p:childTnLst>
                                </p:cTn>
                              </p:par>
                              <p:par>
                                <p:cTn id="106" presetID="16" presetClass="entr" presetSubtype="21" fill="hold" grpId="0" nodeType="withEffect">
                                  <p:stCondLst>
                                    <p:cond delay="0"/>
                                  </p:stCondLst>
                                  <p:childTnLst>
                                    <p:set>
                                      <p:cBhvr>
                                        <p:cTn id="107" dur="1" fill="hold">
                                          <p:stCondLst>
                                            <p:cond delay="0"/>
                                          </p:stCondLst>
                                        </p:cTn>
                                        <p:tgtEl>
                                          <p:spTgt spid="118"/>
                                        </p:tgtEl>
                                        <p:attrNameLst>
                                          <p:attrName>style.visibility</p:attrName>
                                        </p:attrNameLst>
                                      </p:cBhvr>
                                      <p:to>
                                        <p:strVal val="visible"/>
                                      </p:to>
                                    </p:set>
                                    <p:animEffect transition="in" filter="barn(inVertical)">
                                      <p:cBhvr>
                                        <p:cTn id="108" dur="500"/>
                                        <p:tgtEl>
                                          <p:spTgt spid="118"/>
                                        </p:tgtEl>
                                      </p:cBhvr>
                                    </p:animEffect>
                                  </p:childTnLst>
                                </p:cTn>
                              </p:par>
                              <p:par>
                                <p:cTn id="109" presetID="6" presetClass="emph" presetSubtype="0" autoRev="1" fill="hold" nodeType="withEffect">
                                  <p:stCondLst>
                                    <p:cond delay="0"/>
                                  </p:stCondLst>
                                  <p:childTnLst>
                                    <p:animScale>
                                      <p:cBhvr>
                                        <p:cTn id="110" dur="2000" fill="hold"/>
                                        <p:tgtEl>
                                          <p:spTgt spid="111"/>
                                        </p:tgtEl>
                                      </p:cBhvr>
                                      <p:by x="150000" y="150000"/>
                                    </p:animScale>
                                  </p:childTnLst>
                                </p:cTn>
                              </p:par>
                              <p:par>
                                <p:cTn id="111" presetID="6" presetClass="emph" presetSubtype="0" autoRev="1" fill="hold" grpId="0" nodeType="withEffect">
                                  <p:stCondLst>
                                    <p:cond delay="0"/>
                                  </p:stCondLst>
                                  <p:childTnLst>
                                    <p:animScale>
                                      <p:cBhvr>
                                        <p:cTn id="112" dur="2000" fill="hold"/>
                                        <p:tgtEl>
                                          <p:spTgt spid="120"/>
                                        </p:tgtEl>
                                      </p:cBhvr>
                                      <p:by x="150000" y="150000"/>
                                    </p:animScale>
                                  </p:childTnLst>
                                </p:cTn>
                              </p:par>
                              <p:par>
                                <p:cTn id="113" presetID="8" presetClass="emph" presetSubtype="0" fill="hold" grpId="0" nodeType="withEffect">
                                  <p:stCondLst>
                                    <p:cond delay="0"/>
                                  </p:stCondLst>
                                  <p:childTnLst>
                                    <p:animRot by="21600000">
                                      <p:cBhvr>
                                        <p:cTn id="114" dur="2000" fill="hold"/>
                                        <p:tgtEl>
                                          <p:spTgt spid="95"/>
                                        </p:tgtEl>
                                        <p:attrNameLst>
                                          <p:attrName>r</p:attrName>
                                        </p:attrNameLst>
                                      </p:cBhvr>
                                    </p:animRot>
                                  </p:childTnLst>
                                </p:cTn>
                              </p:par>
                              <p:par>
                                <p:cTn id="115" presetID="6" presetClass="emph" presetSubtype="0" autoRev="1" fill="hold" grpId="0" nodeType="withEffect">
                                  <p:stCondLst>
                                    <p:cond delay="0"/>
                                  </p:stCondLst>
                                  <p:childTnLst>
                                    <p:animScale>
                                      <p:cBhvr>
                                        <p:cTn id="116" dur="2000" fill="hold"/>
                                        <p:tgtEl>
                                          <p:spTgt spid="109"/>
                                        </p:tgtEl>
                                      </p:cBhvr>
                                      <p:by x="150000" y="150000"/>
                                    </p:animScale>
                                  </p:childTnLst>
                                </p:cTn>
                              </p:par>
                              <p:par>
                                <p:cTn id="117" presetID="6" presetClass="emph" presetSubtype="0" autoRev="1" fill="hold" grpId="0" nodeType="withEffect">
                                  <p:stCondLst>
                                    <p:cond delay="0"/>
                                  </p:stCondLst>
                                  <p:childTnLst>
                                    <p:animScale>
                                      <p:cBhvr>
                                        <p:cTn id="118" dur="2000" fill="hold"/>
                                        <p:tgtEl>
                                          <p:spTgt spid="115"/>
                                        </p:tgtEl>
                                      </p:cBhvr>
                                      <p:by x="150000" y="150000"/>
                                    </p:animScale>
                                  </p:childTnLst>
                                </p:cTn>
                              </p:par>
                            </p:childTnLst>
                          </p:cTn>
                        </p:par>
                      </p:childTnLst>
                    </p:cTn>
                  </p:par>
                  <p:par>
                    <p:cTn id="119" fill="hold">
                      <p:stCondLst>
                        <p:cond delay="indefinite"/>
                      </p:stCondLst>
                      <p:childTnLst>
                        <p:par>
                          <p:cTn id="120" fill="hold">
                            <p:stCondLst>
                              <p:cond delay="0"/>
                            </p:stCondLst>
                            <p:childTnLst>
                              <p:par>
                                <p:cTn id="121" presetID="16" presetClass="entr" presetSubtype="21" fill="hold" nodeType="clickEffect">
                                  <p:stCondLst>
                                    <p:cond delay="0"/>
                                  </p:stCondLst>
                                  <p:childTnLst>
                                    <p:set>
                                      <p:cBhvr>
                                        <p:cTn id="122" dur="1" fill="hold">
                                          <p:stCondLst>
                                            <p:cond delay="0"/>
                                          </p:stCondLst>
                                        </p:cTn>
                                        <p:tgtEl>
                                          <p:spTgt spid="127"/>
                                        </p:tgtEl>
                                        <p:attrNameLst>
                                          <p:attrName>style.visibility</p:attrName>
                                        </p:attrNameLst>
                                      </p:cBhvr>
                                      <p:to>
                                        <p:strVal val="visible"/>
                                      </p:to>
                                    </p:set>
                                    <p:animEffect transition="in" filter="barn(inVertical)">
                                      <p:cBhvr>
                                        <p:cTn id="123" dur="500"/>
                                        <p:tgtEl>
                                          <p:spTgt spid="127"/>
                                        </p:tgtEl>
                                      </p:cBhvr>
                                    </p:animEffect>
                                  </p:childTnLst>
                                </p:cTn>
                              </p:par>
                              <p:par>
                                <p:cTn id="124" presetID="2" presetClass="entr" presetSubtype="4" fill="hold" grpId="0" nodeType="withEffect">
                                  <p:stCondLst>
                                    <p:cond delay="0"/>
                                  </p:stCondLst>
                                  <p:childTnLst>
                                    <p:set>
                                      <p:cBhvr>
                                        <p:cTn id="125" dur="1" fill="hold">
                                          <p:stCondLst>
                                            <p:cond delay="0"/>
                                          </p:stCondLst>
                                        </p:cTn>
                                        <p:tgtEl>
                                          <p:spTgt spid="126"/>
                                        </p:tgtEl>
                                        <p:attrNameLst>
                                          <p:attrName>style.visibility</p:attrName>
                                        </p:attrNameLst>
                                      </p:cBhvr>
                                      <p:to>
                                        <p:strVal val="visible"/>
                                      </p:to>
                                    </p:set>
                                    <p:anim calcmode="lin" valueType="num">
                                      <p:cBhvr additive="base">
                                        <p:cTn id="126" dur="500" fill="hold"/>
                                        <p:tgtEl>
                                          <p:spTgt spid="126"/>
                                        </p:tgtEl>
                                        <p:attrNameLst>
                                          <p:attrName>ppt_x</p:attrName>
                                        </p:attrNameLst>
                                      </p:cBhvr>
                                      <p:tavLst>
                                        <p:tav tm="0">
                                          <p:val>
                                            <p:strVal val="#ppt_x"/>
                                          </p:val>
                                        </p:tav>
                                        <p:tav tm="100000">
                                          <p:val>
                                            <p:strVal val="#ppt_x"/>
                                          </p:val>
                                        </p:tav>
                                      </p:tavLst>
                                    </p:anim>
                                    <p:anim calcmode="lin" valueType="num">
                                      <p:cBhvr additive="base">
                                        <p:cTn id="127" dur="500" fill="hold"/>
                                        <p:tgtEl>
                                          <p:spTgt spid="126"/>
                                        </p:tgtEl>
                                        <p:attrNameLst>
                                          <p:attrName>ppt_y</p:attrName>
                                        </p:attrNameLst>
                                      </p:cBhvr>
                                      <p:tavLst>
                                        <p:tav tm="0">
                                          <p:val>
                                            <p:strVal val="1+#ppt_h/2"/>
                                          </p:val>
                                        </p:tav>
                                        <p:tav tm="100000">
                                          <p:val>
                                            <p:strVal val="#ppt_y"/>
                                          </p:val>
                                        </p:tav>
                                      </p:tavLst>
                                    </p:anim>
                                  </p:childTnLst>
                                </p:cTn>
                              </p:par>
                            </p:childTnLst>
                          </p:cTn>
                        </p:par>
                      </p:childTnLst>
                    </p:cTn>
                  </p:par>
                  <p:par>
                    <p:cTn id="128" fill="hold">
                      <p:stCondLst>
                        <p:cond delay="indefinite"/>
                      </p:stCondLst>
                      <p:childTnLst>
                        <p:par>
                          <p:cTn id="129" fill="hold">
                            <p:stCondLst>
                              <p:cond delay="0"/>
                            </p:stCondLst>
                            <p:childTnLst>
                              <p:par>
                                <p:cTn id="130" presetID="16" presetClass="entr" presetSubtype="21" fill="hold" nodeType="clickEffect">
                                  <p:stCondLst>
                                    <p:cond delay="0"/>
                                  </p:stCondLst>
                                  <p:childTnLst>
                                    <p:set>
                                      <p:cBhvr>
                                        <p:cTn id="131" dur="1" fill="hold">
                                          <p:stCondLst>
                                            <p:cond delay="0"/>
                                          </p:stCondLst>
                                        </p:cTn>
                                        <p:tgtEl>
                                          <p:spTgt spid="122"/>
                                        </p:tgtEl>
                                        <p:attrNameLst>
                                          <p:attrName>style.visibility</p:attrName>
                                        </p:attrNameLst>
                                      </p:cBhvr>
                                      <p:to>
                                        <p:strVal val="visible"/>
                                      </p:to>
                                    </p:set>
                                    <p:animEffect transition="in" filter="barn(inVertical)">
                                      <p:cBhvr>
                                        <p:cTn id="132" dur="500"/>
                                        <p:tgtEl>
                                          <p:spTgt spid="122"/>
                                        </p:tgtEl>
                                      </p:cBhvr>
                                    </p:animEffect>
                                  </p:childTnLst>
                                </p:cTn>
                              </p:par>
                              <p:par>
                                <p:cTn id="133" presetID="2" presetClass="entr" presetSubtype="4" fill="hold" grpId="0" nodeType="withEffect">
                                  <p:stCondLst>
                                    <p:cond delay="0"/>
                                  </p:stCondLst>
                                  <p:childTnLst>
                                    <p:set>
                                      <p:cBhvr>
                                        <p:cTn id="134" dur="1" fill="hold">
                                          <p:stCondLst>
                                            <p:cond delay="0"/>
                                          </p:stCondLst>
                                        </p:cTn>
                                        <p:tgtEl>
                                          <p:spTgt spid="131"/>
                                        </p:tgtEl>
                                        <p:attrNameLst>
                                          <p:attrName>style.visibility</p:attrName>
                                        </p:attrNameLst>
                                      </p:cBhvr>
                                      <p:to>
                                        <p:strVal val="visible"/>
                                      </p:to>
                                    </p:set>
                                    <p:anim calcmode="lin" valueType="num">
                                      <p:cBhvr additive="base">
                                        <p:cTn id="135" dur="500" fill="hold"/>
                                        <p:tgtEl>
                                          <p:spTgt spid="131"/>
                                        </p:tgtEl>
                                        <p:attrNameLst>
                                          <p:attrName>ppt_x</p:attrName>
                                        </p:attrNameLst>
                                      </p:cBhvr>
                                      <p:tavLst>
                                        <p:tav tm="0">
                                          <p:val>
                                            <p:strVal val="#ppt_x"/>
                                          </p:val>
                                        </p:tav>
                                        <p:tav tm="100000">
                                          <p:val>
                                            <p:strVal val="#ppt_x"/>
                                          </p:val>
                                        </p:tav>
                                      </p:tavLst>
                                    </p:anim>
                                    <p:anim calcmode="lin" valueType="num">
                                      <p:cBhvr additive="base">
                                        <p:cTn id="136" dur="500" fill="hold"/>
                                        <p:tgtEl>
                                          <p:spTgt spid="1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1" grpId="0"/>
      <p:bldP spid="11" grpId="1"/>
      <p:bldP spid="11" grpId="2"/>
      <p:bldP spid="94" grpId="0"/>
      <p:bldP spid="94" grpId="1"/>
      <p:bldP spid="95" grpId="0"/>
      <p:bldP spid="96" grpId="0"/>
      <p:bldP spid="109" grpId="0" animBg="1"/>
      <p:bldP spid="110" grpId="0" animBg="1"/>
      <p:bldP spid="114" grpId="0"/>
      <p:bldP spid="115" grpId="0"/>
      <p:bldP spid="116" grpId="0"/>
      <p:bldP spid="117" grpId="0"/>
      <p:bldP spid="118" grpId="0"/>
      <p:bldP spid="119" grpId="0"/>
      <p:bldP spid="120" grpId="0"/>
      <p:bldP spid="126" grpId="0"/>
      <p:bldP spid="13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F4F97CB2-1CDB-6D49-B8F7-08D596B0C942}"/>
              </a:ext>
            </a:extLst>
          </p:cNvPr>
          <p:cNvSpPr>
            <a:spLocks noGrp="1"/>
          </p:cNvSpPr>
          <p:nvPr>
            <p:ph sz="quarter" idx="16"/>
          </p:nvPr>
        </p:nvSpPr>
        <p:spPr>
          <a:xfrm>
            <a:off x="6841416" y="184423"/>
            <a:ext cx="1903810" cy="464004"/>
          </a:xfrm>
        </p:spPr>
        <p:txBody>
          <a:bodyPr>
            <a:normAutofit/>
          </a:bodyPr>
          <a:lstStyle/>
          <a:p>
            <a:r>
              <a:rPr lang="en-US" sz="800" dirty="0"/>
              <a:t>SAS® Customer Intelligence /</a:t>
            </a:r>
            <a:br>
              <a:rPr lang="en-US" sz="800" dirty="0"/>
            </a:br>
            <a:r>
              <a:rPr lang="en-US" sz="800" dirty="0"/>
              <a:t> Risk Management</a:t>
            </a:r>
          </a:p>
        </p:txBody>
      </p:sp>
      <p:sp>
        <p:nvSpPr>
          <p:cNvPr id="12" name="Content Placeholder 11">
            <a:extLst>
              <a:ext uri="{FF2B5EF4-FFF2-40B4-BE49-F238E27FC236}">
                <a16:creationId xmlns:a16="http://schemas.microsoft.com/office/drawing/2014/main" id="{1E151257-ABD8-E54F-B5F8-B2BA3911D2E3}"/>
              </a:ext>
            </a:extLst>
          </p:cNvPr>
          <p:cNvSpPr>
            <a:spLocks noGrp="1"/>
          </p:cNvSpPr>
          <p:nvPr>
            <p:ph sz="quarter" idx="17"/>
          </p:nvPr>
        </p:nvSpPr>
        <p:spPr>
          <a:xfrm>
            <a:off x="398860" y="817960"/>
            <a:ext cx="8554945" cy="1059533"/>
          </a:xfrm>
        </p:spPr>
        <p:txBody>
          <a:bodyPr numCol="1">
            <a:noAutofit/>
          </a:bodyPr>
          <a:lstStyle/>
          <a:p>
            <a:pPr algn="just"/>
            <a:r>
              <a:rPr lang="fr-CA" sz="1100" dirty="0" err="1"/>
              <a:t>VietCredit</a:t>
            </a:r>
            <a:r>
              <a:rPr lang="fr-CA" sz="1100" dirty="0"/>
              <a:t>, une spin-off de la Cement Finance Joint Stock </a:t>
            </a:r>
            <a:r>
              <a:rPr lang="fr-CA" sz="1100" dirty="0" err="1"/>
              <a:t>Company</a:t>
            </a:r>
            <a:r>
              <a:rPr lang="fr-CA" sz="1100" dirty="0"/>
              <a:t> fournit </a:t>
            </a:r>
            <a:r>
              <a:rPr lang="fr-CA" sz="1100" b="1" dirty="0">
                <a:solidFill>
                  <a:srgbClr val="FFFF00"/>
                </a:solidFill>
              </a:rPr>
              <a:t>des prêts à la consommation au Vietnam</a:t>
            </a:r>
            <a:r>
              <a:rPr lang="fr-CA" sz="1100" dirty="0"/>
              <a:t>. Ils avaient besoin de réviser le processus manuel et sujet aux erreurs d’utilisation de feuilles de calcul Excel pour l’origine des prêts, l’évaluation du crédit et la prise de décisions. Ils avaient besoin d’une méthode fondée sur l’analyse pour  évaluer correctement le risque de crédit afin de compenser les décisions de prêt. Parallèlement à cela, ils souhaitaient accélérer le cycle de vie de la modélisation pour un temps de décision plus rapide. Ils se sont tournés vers la combinaison de solutions d’intelligence client et de gestion des risques de SAS pour relever ces défis commerciaux.
</a:t>
            </a:r>
            <a:endParaRPr lang="en-US" sz="1100" dirty="0"/>
          </a:p>
          <a:p>
            <a:endParaRPr lang="en-US" sz="1100" dirty="0"/>
          </a:p>
        </p:txBody>
      </p:sp>
      <p:sp>
        <p:nvSpPr>
          <p:cNvPr id="13" name="Text Placeholder 12">
            <a:extLst>
              <a:ext uri="{FF2B5EF4-FFF2-40B4-BE49-F238E27FC236}">
                <a16:creationId xmlns:a16="http://schemas.microsoft.com/office/drawing/2014/main" id="{19258D38-AB82-6441-9FAE-EC4A79286E71}"/>
              </a:ext>
            </a:extLst>
          </p:cNvPr>
          <p:cNvSpPr>
            <a:spLocks noGrp="1"/>
          </p:cNvSpPr>
          <p:nvPr>
            <p:ph type="body" sz="quarter" idx="19"/>
          </p:nvPr>
        </p:nvSpPr>
        <p:spPr>
          <a:xfrm>
            <a:off x="259918" y="3084968"/>
            <a:ext cx="1578610" cy="873919"/>
          </a:xfrm>
        </p:spPr>
        <p:txBody>
          <a:bodyPr>
            <a:normAutofit/>
          </a:bodyPr>
          <a:lstStyle/>
          <a:p>
            <a:r>
              <a:rPr lang="fr-CA" sz="1100" dirty="0"/>
              <a:t>Des évaluations plus rapides et plus précises des risques pour les prêts à la consommation</a:t>
            </a:r>
            <a:r>
              <a:rPr lang="en-US" sz="1100" dirty="0"/>
              <a:t>.</a:t>
            </a:r>
          </a:p>
        </p:txBody>
      </p:sp>
      <p:sp>
        <p:nvSpPr>
          <p:cNvPr id="14" name="Text Placeholder 13">
            <a:extLst>
              <a:ext uri="{FF2B5EF4-FFF2-40B4-BE49-F238E27FC236}">
                <a16:creationId xmlns:a16="http://schemas.microsoft.com/office/drawing/2014/main" id="{E4680C4C-027B-5842-AA63-AFD9FC8A1DFA}"/>
              </a:ext>
            </a:extLst>
          </p:cNvPr>
          <p:cNvSpPr>
            <a:spLocks noGrp="1"/>
          </p:cNvSpPr>
          <p:nvPr>
            <p:ph type="body" sz="quarter" idx="20"/>
          </p:nvPr>
        </p:nvSpPr>
        <p:spPr>
          <a:xfrm>
            <a:off x="1986487" y="3084967"/>
            <a:ext cx="1578610" cy="873919"/>
          </a:xfrm>
        </p:spPr>
        <p:txBody>
          <a:bodyPr>
            <a:normAutofit fontScale="92500" lnSpcReduction="20000"/>
          </a:bodyPr>
          <a:lstStyle/>
          <a:p>
            <a:r>
              <a:rPr lang="fr-CA" sz="1100" dirty="0"/>
              <a:t>Les </a:t>
            </a:r>
            <a:r>
              <a:rPr lang="fr-CA" sz="1100" b="1" dirty="0">
                <a:solidFill>
                  <a:srgbClr val="FFFF00"/>
                </a:solidFill>
              </a:rPr>
              <a:t>décisions de crédit </a:t>
            </a:r>
            <a:r>
              <a:rPr lang="fr-CA" sz="1100" dirty="0"/>
              <a:t>peuvent être prises en aussi peu que </a:t>
            </a:r>
            <a:r>
              <a:rPr lang="en-US" sz="1100" b="1" dirty="0">
                <a:solidFill>
                  <a:srgbClr val="FFFF00"/>
                </a:solidFill>
              </a:rPr>
              <a:t>&lt;</a:t>
            </a:r>
            <a:r>
              <a:rPr lang="fr-CA" sz="1100" b="1" dirty="0">
                <a:solidFill>
                  <a:srgbClr val="FFFF00"/>
                </a:solidFill>
              </a:rPr>
              <a:t>5 minutes au lieu de plusieurs jours </a:t>
            </a:r>
            <a:r>
              <a:rPr lang="fr-CA" sz="1100" dirty="0"/>
              <a:t>avec les systèmes hérités.
</a:t>
            </a:r>
            <a:endParaRPr lang="en-US" sz="1100" dirty="0"/>
          </a:p>
        </p:txBody>
      </p:sp>
      <p:sp>
        <p:nvSpPr>
          <p:cNvPr id="15" name="Text Placeholder 14">
            <a:extLst>
              <a:ext uri="{FF2B5EF4-FFF2-40B4-BE49-F238E27FC236}">
                <a16:creationId xmlns:a16="http://schemas.microsoft.com/office/drawing/2014/main" id="{FBDDC035-5DAF-5E4A-830A-04A81B6A6F67}"/>
              </a:ext>
            </a:extLst>
          </p:cNvPr>
          <p:cNvSpPr>
            <a:spLocks noGrp="1"/>
          </p:cNvSpPr>
          <p:nvPr>
            <p:ph type="body" sz="quarter" idx="21"/>
          </p:nvPr>
        </p:nvSpPr>
        <p:spPr>
          <a:xfrm>
            <a:off x="3425817" y="3094004"/>
            <a:ext cx="2013808" cy="873919"/>
          </a:xfrm>
        </p:spPr>
        <p:txBody>
          <a:bodyPr>
            <a:noAutofit/>
          </a:bodyPr>
          <a:lstStyle/>
          <a:p>
            <a:r>
              <a:rPr lang="fr-CA" sz="900" dirty="0"/>
              <a:t>La banque peut </a:t>
            </a:r>
            <a:r>
              <a:rPr lang="fr-CA" sz="900" b="1" dirty="0">
                <a:solidFill>
                  <a:srgbClr val="FFFF00"/>
                </a:solidFill>
              </a:rPr>
              <a:t>collecter</a:t>
            </a:r>
            <a:r>
              <a:rPr lang="fr-CA" sz="900" b="1" dirty="0"/>
              <a:t> </a:t>
            </a:r>
            <a:r>
              <a:rPr lang="fr-CA" sz="900" b="1" dirty="0">
                <a:solidFill>
                  <a:srgbClr val="FFFF00"/>
                </a:solidFill>
              </a:rPr>
              <a:t>et analyser des informations </a:t>
            </a:r>
            <a:r>
              <a:rPr lang="fr-CA" sz="900" dirty="0"/>
              <a:t>auprès des réseaux sociaux, des fournisseurs de télécommunications et de services publics et des fournisseurs de commerce électronique pour faire la lumière sur </a:t>
            </a:r>
            <a:r>
              <a:rPr lang="fr-CA" sz="900" b="1" dirty="0">
                <a:solidFill>
                  <a:srgbClr val="FFFF00"/>
                </a:solidFill>
              </a:rPr>
              <a:t>les modèles de comportement</a:t>
            </a:r>
            <a:r>
              <a:rPr lang="fr-CA" sz="900" dirty="0"/>
              <a:t> des consommateurs.
</a:t>
            </a:r>
            <a:endParaRPr lang="en-US" sz="900" dirty="0"/>
          </a:p>
        </p:txBody>
      </p:sp>
      <p:sp>
        <p:nvSpPr>
          <p:cNvPr id="16" name="Content Placeholder 15">
            <a:extLst>
              <a:ext uri="{FF2B5EF4-FFF2-40B4-BE49-F238E27FC236}">
                <a16:creationId xmlns:a16="http://schemas.microsoft.com/office/drawing/2014/main" id="{D3109568-D93E-854F-9207-7B79E246EF89}"/>
              </a:ext>
            </a:extLst>
          </p:cNvPr>
          <p:cNvSpPr>
            <a:spLocks noGrp="1"/>
          </p:cNvSpPr>
          <p:nvPr>
            <p:ph sz="quarter" idx="22"/>
          </p:nvPr>
        </p:nvSpPr>
        <p:spPr>
          <a:xfrm>
            <a:off x="1105207" y="4241195"/>
            <a:ext cx="7045469" cy="608180"/>
          </a:xfrm>
        </p:spPr>
        <p:txBody>
          <a:bodyPr/>
          <a:lstStyle/>
          <a:p>
            <a:r>
              <a:rPr lang="fr-CA" dirty="0"/>
              <a:t>« Le paysage dans lequel nous opérons est concurrentiel, les fintechs et les banques traditionnelles se battant pour une part du gâteau. Les vastes capacités de SAS nous seront très utiles.
</a:t>
            </a:r>
            <a:endParaRPr lang="en-US" dirty="0"/>
          </a:p>
        </p:txBody>
      </p:sp>
      <p:sp>
        <p:nvSpPr>
          <p:cNvPr id="17" name="Content Placeholder 16">
            <a:extLst>
              <a:ext uri="{FF2B5EF4-FFF2-40B4-BE49-F238E27FC236}">
                <a16:creationId xmlns:a16="http://schemas.microsoft.com/office/drawing/2014/main" id="{ED07FF75-4D46-6B48-B8D6-F4305E41ED41}"/>
              </a:ext>
            </a:extLst>
          </p:cNvPr>
          <p:cNvSpPr>
            <a:spLocks noGrp="1"/>
          </p:cNvSpPr>
          <p:nvPr>
            <p:ph sz="quarter" idx="23"/>
          </p:nvPr>
        </p:nvSpPr>
        <p:spPr/>
        <p:txBody>
          <a:bodyPr/>
          <a:lstStyle/>
          <a:p>
            <a:r>
              <a:rPr lang="en-US" dirty="0"/>
              <a:t>Le Phuong Hai, Chief Risk Officer, VietCredit</a:t>
            </a:r>
          </a:p>
        </p:txBody>
      </p:sp>
      <p:sp>
        <p:nvSpPr>
          <p:cNvPr id="18" name="Text Placeholder 17">
            <a:extLst>
              <a:ext uri="{FF2B5EF4-FFF2-40B4-BE49-F238E27FC236}">
                <a16:creationId xmlns:a16="http://schemas.microsoft.com/office/drawing/2014/main" id="{94E14AB6-B07E-3E48-A68C-63E77D6B9778}"/>
              </a:ext>
            </a:extLst>
          </p:cNvPr>
          <p:cNvSpPr>
            <a:spLocks noGrp="1"/>
          </p:cNvSpPr>
          <p:nvPr>
            <p:ph type="body" sz="quarter" idx="24"/>
          </p:nvPr>
        </p:nvSpPr>
        <p:spPr>
          <a:xfrm>
            <a:off x="5439625" y="3069093"/>
            <a:ext cx="1578610" cy="885218"/>
          </a:xfrm>
        </p:spPr>
        <p:txBody>
          <a:bodyPr>
            <a:noAutofit/>
          </a:bodyPr>
          <a:lstStyle/>
          <a:p>
            <a:r>
              <a:rPr lang="fr-CA" sz="900" dirty="0" err="1"/>
              <a:t>VietCredit</a:t>
            </a:r>
            <a:r>
              <a:rPr lang="fr-CA" sz="900" dirty="0"/>
              <a:t> </a:t>
            </a:r>
            <a:r>
              <a:rPr lang="fr-CA" sz="900" b="1" dirty="0">
                <a:solidFill>
                  <a:srgbClr val="FFFF00"/>
                </a:solidFill>
              </a:rPr>
              <a:t>peut évaluer rapidement </a:t>
            </a:r>
            <a:r>
              <a:rPr lang="fr-CA" sz="900" dirty="0"/>
              <a:t>de nouveaux clients et offrir des prêts et des cartes de crédit à un marché auparavant inexploité - des candidats sans antécédents de crédit.
</a:t>
            </a:r>
            <a:endParaRPr lang="en-US" sz="1100" dirty="0"/>
          </a:p>
        </p:txBody>
      </p:sp>
      <p:sp>
        <p:nvSpPr>
          <p:cNvPr id="19" name="Text Placeholder 18">
            <a:extLst>
              <a:ext uri="{FF2B5EF4-FFF2-40B4-BE49-F238E27FC236}">
                <a16:creationId xmlns:a16="http://schemas.microsoft.com/office/drawing/2014/main" id="{5A5651CC-68F7-A44C-B974-0DF52A9B01DD}"/>
              </a:ext>
            </a:extLst>
          </p:cNvPr>
          <p:cNvSpPr>
            <a:spLocks noGrp="1"/>
          </p:cNvSpPr>
          <p:nvPr>
            <p:ph type="body" sz="quarter" idx="25"/>
          </p:nvPr>
        </p:nvSpPr>
        <p:spPr>
          <a:xfrm>
            <a:off x="7166194" y="3082705"/>
            <a:ext cx="1578610" cy="885218"/>
          </a:xfrm>
        </p:spPr>
        <p:txBody>
          <a:bodyPr>
            <a:noAutofit/>
          </a:bodyPr>
          <a:lstStyle/>
          <a:p>
            <a:r>
              <a:rPr lang="fr-CA" sz="900" dirty="0"/>
              <a:t>La plate-forme SAS permet à la banque de </a:t>
            </a:r>
            <a:r>
              <a:rPr lang="fr-CA" sz="900" b="1" dirty="0">
                <a:solidFill>
                  <a:srgbClr val="FFFF00"/>
                </a:solidFill>
              </a:rPr>
              <a:t>réutiliser et de mettre à l’échelle ses données, ses règles commerciales et ses modèles analytiques dans différents cas d’utilisation</a:t>
            </a:r>
            <a:r>
              <a:rPr lang="fr-CA" sz="900" b="1" dirty="0"/>
              <a:t>.
</a:t>
            </a:r>
            <a:endParaRPr lang="en-US" sz="1100" b="1" dirty="0"/>
          </a:p>
        </p:txBody>
      </p:sp>
      <p:sp>
        <p:nvSpPr>
          <p:cNvPr id="20" name="Rectangle: Top Corners Rounded 57">
            <a:extLst>
              <a:ext uri="{FF2B5EF4-FFF2-40B4-BE49-F238E27FC236}">
                <a16:creationId xmlns:a16="http://schemas.microsoft.com/office/drawing/2014/main" id="{82C91C85-E0E3-374B-8D6E-BE308A8A0825}"/>
              </a:ext>
            </a:extLst>
          </p:cNvPr>
          <p:cNvSpPr/>
          <p:nvPr/>
        </p:nvSpPr>
        <p:spPr>
          <a:xfrm rot="5400000" flipH="1">
            <a:off x="808504" y="-697327"/>
            <a:ext cx="601829" cy="2256615"/>
          </a:xfrm>
          <a:prstGeom prst="round2SameRect">
            <a:avLst>
              <a:gd name="adj1" fmla="val 16667"/>
              <a:gd name="adj2" fmla="val 0"/>
            </a:avLst>
          </a:prstGeom>
          <a:solidFill>
            <a:schemeClr val="bg1"/>
          </a:solidFill>
          <a:ln>
            <a:solidFill>
              <a:schemeClr val="bg1">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84164"/>
              </a:solidFill>
              <a:effectLst/>
              <a:uLnTx/>
              <a:uFillTx/>
              <a:latin typeface="Calibri Light"/>
              <a:ea typeface="Roboto" panose="02000000000000000000" pitchFamily="2" charset="0"/>
              <a:cs typeface="Calibri" panose="020F0502020204030204" pitchFamily="34" charset="0"/>
            </a:endParaRPr>
          </a:p>
        </p:txBody>
      </p:sp>
      <p:pic>
        <p:nvPicPr>
          <p:cNvPr id="12290" name="Picture 2" descr="Image result for vietcredit logo png">
            <a:extLst>
              <a:ext uri="{FF2B5EF4-FFF2-40B4-BE49-F238E27FC236}">
                <a16:creationId xmlns:a16="http://schemas.microsoft.com/office/drawing/2014/main" id="{166F6564-7DA3-5C40-9A3A-32A95C6A3D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918" y="184423"/>
            <a:ext cx="1697567" cy="368027"/>
          </a:xfrm>
          <a:prstGeom prst="rect">
            <a:avLst/>
          </a:prstGeom>
          <a:noFill/>
          <a:extLst>
            <a:ext uri="{909E8E84-426E-40DD-AFC4-6F175D3DCCD1}">
              <a14:hiddenFill xmlns:a14="http://schemas.microsoft.com/office/drawing/2010/main">
                <a:solidFill>
                  <a:srgbClr val="FFFFFF"/>
                </a:solidFill>
              </a14:hiddenFill>
            </a:ext>
          </a:extLst>
        </p:spPr>
      </p:pic>
      <p:sp>
        <p:nvSpPr>
          <p:cNvPr id="22" name="Freeform 11">
            <a:extLst>
              <a:ext uri="{FF2B5EF4-FFF2-40B4-BE49-F238E27FC236}">
                <a16:creationId xmlns:a16="http://schemas.microsoft.com/office/drawing/2014/main" id="{FB44623B-B1AD-B34F-9A30-54D75FF257B0}"/>
              </a:ext>
            </a:extLst>
          </p:cNvPr>
          <p:cNvSpPr>
            <a:spLocks noChangeAspect="1" noEditPoints="1"/>
          </p:cNvSpPr>
          <p:nvPr/>
        </p:nvSpPr>
        <p:spPr bwMode="auto">
          <a:xfrm>
            <a:off x="816901" y="2058532"/>
            <a:ext cx="741515" cy="667363"/>
          </a:xfrm>
          <a:custGeom>
            <a:avLst/>
            <a:gdLst>
              <a:gd name="T0" fmla="*/ 4453 w 5760"/>
              <a:gd name="T1" fmla="*/ 2751 h 5184"/>
              <a:gd name="T2" fmla="*/ 4910 w 5760"/>
              <a:gd name="T3" fmla="*/ 3555 h 5184"/>
              <a:gd name="T4" fmla="*/ 4987 w 5760"/>
              <a:gd name="T5" fmla="*/ 3611 h 5184"/>
              <a:gd name="T6" fmla="*/ 4957 w 5760"/>
              <a:gd name="T7" fmla="*/ 3702 h 5184"/>
              <a:gd name="T8" fmla="*/ 4362 w 5760"/>
              <a:gd name="T9" fmla="*/ 3713 h 5184"/>
              <a:gd name="T10" fmla="*/ 4306 w 5760"/>
              <a:gd name="T11" fmla="*/ 3636 h 5184"/>
              <a:gd name="T12" fmla="*/ 4339 w 5760"/>
              <a:gd name="T13" fmla="*/ 2733 h 5184"/>
              <a:gd name="T14" fmla="*/ 4283 w 5760"/>
              <a:gd name="T15" fmla="*/ 2548 h 5184"/>
              <a:gd name="T16" fmla="*/ 3905 w 5760"/>
              <a:gd name="T17" fmla="*/ 2667 h 5184"/>
              <a:gd name="T18" fmla="*/ 3604 w 5760"/>
              <a:gd name="T19" fmla="*/ 2913 h 5184"/>
              <a:gd name="T20" fmla="*/ 3419 w 5760"/>
              <a:gd name="T21" fmla="*/ 3257 h 5184"/>
              <a:gd name="T22" fmla="*/ 3379 w 5760"/>
              <a:gd name="T23" fmla="*/ 3662 h 5184"/>
              <a:gd name="T24" fmla="*/ 3496 w 5760"/>
              <a:gd name="T25" fmla="*/ 4041 h 5184"/>
              <a:gd name="T26" fmla="*/ 3742 w 5760"/>
              <a:gd name="T27" fmla="*/ 4339 h 5184"/>
              <a:gd name="T28" fmla="*/ 4086 w 5760"/>
              <a:gd name="T29" fmla="*/ 4526 h 5184"/>
              <a:gd name="T30" fmla="*/ 4491 w 5760"/>
              <a:gd name="T31" fmla="*/ 4566 h 5184"/>
              <a:gd name="T32" fmla="*/ 4870 w 5760"/>
              <a:gd name="T33" fmla="*/ 4449 h 5184"/>
              <a:gd name="T34" fmla="*/ 5170 w 5760"/>
              <a:gd name="T35" fmla="*/ 4203 h 5184"/>
              <a:gd name="T36" fmla="*/ 5355 w 5760"/>
              <a:gd name="T37" fmla="*/ 3859 h 5184"/>
              <a:gd name="T38" fmla="*/ 5395 w 5760"/>
              <a:gd name="T39" fmla="*/ 3454 h 5184"/>
              <a:gd name="T40" fmla="*/ 5278 w 5760"/>
              <a:gd name="T41" fmla="*/ 3075 h 5184"/>
              <a:gd name="T42" fmla="*/ 5032 w 5760"/>
              <a:gd name="T43" fmla="*/ 2775 h 5184"/>
              <a:gd name="T44" fmla="*/ 4688 w 5760"/>
              <a:gd name="T45" fmla="*/ 2590 h 5184"/>
              <a:gd name="T46" fmla="*/ 5688 w 5760"/>
              <a:gd name="T47" fmla="*/ 1332 h 5184"/>
              <a:gd name="T48" fmla="*/ 5758 w 5760"/>
              <a:gd name="T49" fmla="*/ 1398 h 5184"/>
              <a:gd name="T50" fmla="*/ 4810 w 5760"/>
              <a:gd name="T51" fmla="*/ 2461 h 5184"/>
              <a:gd name="T52" fmla="*/ 5175 w 5760"/>
              <a:gd name="T53" fmla="*/ 2686 h 5184"/>
              <a:gd name="T54" fmla="*/ 5435 w 5760"/>
              <a:gd name="T55" fmla="*/ 3025 h 5184"/>
              <a:gd name="T56" fmla="*/ 5558 w 5760"/>
              <a:gd name="T57" fmla="*/ 3444 h 5184"/>
              <a:gd name="T58" fmla="*/ 5516 w 5760"/>
              <a:gd name="T59" fmla="*/ 3887 h 5184"/>
              <a:gd name="T60" fmla="*/ 5324 w 5760"/>
              <a:gd name="T61" fmla="*/ 4269 h 5184"/>
              <a:gd name="T62" fmla="*/ 5011 w 5760"/>
              <a:gd name="T63" fmla="*/ 4554 h 5184"/>
              <a:gd name="T64" fmla="*/ 4610 w 5760"/>
              <a:gd name="T65" fmla="*/ 4713 h 5184"/>
              <a:gd name="T66" fmla="*/ 4165 w 5760"/>
              <a:gd name="T67" fmla="*/ 4713 h 5184"/>
              <a:gd name="T68" fmla="*/ 3763 w 5760"/>
              <a:gd name="T69" fmla="*/ 4554 h 5184"/>
              <a:gd name="T70" fmla="*/ 3451 w 5760"/>
              <a:gd name="T71" fmla="*/ 4269 h 5184"/>
              <a:gd name="T72" fmla="*/ 3259 w 5760"/>
              <a:gd name="T73" fmla="*/ 3887 h 5184"/>
              <a:gd name="T74" fmla="*/ 3215 w 5760"/>
              <a:gd name="T75" fmla="*/ 3466 h 5184"/>
              <a:gd name="T76" fmla="*/ 3297 w 5760"/>
              <a:gd name="T77" fmla="*/ 3121 h 5184"/>
              <a:gd name="T78" fmla="*/ 920 w 5760"/>
              <a:gd name="T79" fmla="*/ 4323 h 5184"/>
              <a:gd name="T80" fmla="*/ 843 w 5760"/>
              <a:gd name="T81" fmla="*/ 4301 h 5184"/>
              <a:gd name="T82" fmla="*/ 829 w 5760"/>
              <a:gd name="T83" fmla="*/ 4207 h 5184"/>
              <a:gd name="T84" fmla="*/ 2728 w 5760"/>
              <a:gd name="T85" fmla="*/ 2356 h 5184"/>
              <a:gd name="T86" fmla="*/ 2807 w 5760"/>
              <a:gd name="T87" fmla="*/ 2379 h 5184"/>
              <a:gd name="T88" fmla="*/ 3555 w 5760"/>
              <a:gd name="T89" fmla="*/ 2728 h 5184"/>
              <a:gd name="T90" fmla="*/ 3884 w 5760"/>
              <a:gd name="T91" fmla="*/ 2496 h 5184"/>
              <a:gd name="T92" fmla="*/ 4280 w 5760"/>
              <a:gd name="T93" fmla="*/ 2386 h 5184"/>
              <a:gd name="T94" fmla="*/ 4638 w 5760"/>
              <a:gd name="T95" fmla="*/ 2409 h 5184"/>
              <a:gd name="T96" fmla="*/ 5688 w 5760"/>
              <a:gd name="T97" fmla="*/ 1332 h 5184"/>
              <a:gd name="T98" fmla="*/ 147 w 5760"/>
              <a:gd name="T99" fmla="*/ 33 h 5184"/>
              <a:gd name="T100" fmla="*/ 168 w 5760"/>
              <a:gd name="T101" fmla="*/ 4835 h 5184"/>
              <a:gd name="T102" fmla="*/ 265 w 5760"/>
              <a:gd name="T103" fmla="*/ 4982 h 5184"/>
              <a:gd name="T104" fmla="*/ 5116 w 5760"/>
              <a:gd name="T105" fmla="*/ 5022 h 5184"/>
              <a:gd name="T106" fmla="*/ 5193 w 5760"/>
              <a:gd name="T107" fmla="*/ 5078 h 5184"/>
              <a:gd name="T108" fmla="*/ 5163 w 5760"/>
              <a:gd name="T109" fmla="*/ 5168 h 5184"/>
              <a:gd name="T110" fmla="*/ 332 w 5760"/>
              <a:gd name="T111" fmla="*/ 5179 h 5184"/>
              <a:gd name="T112" fmla="*/ 115 w 5760"/>
              <a:gd name="T113" fmla="*/ 5069 h 5184"/>
              <a:gd name="T114" fmla="*/ 5 w 5760"/>
              <a:gd name="T115" fmla="*/ 4852 h 5184"/>
              <a:gd name="T116" fmla="*/ 16 w 5760"/>
              <a:gd name="T117" fmla="*/ 33 h 5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60" h="5184">
                <a:moveTo>
                  <a:pt x="4388" y="2718"/>
                </a:moveTo>
                <a:lnTo>
                  <a:pt x="4413" y="2721"/>
                </a:lnTo>
                <a:lnTo>
                  <a:pt x="4435" y="2733"/>
                </a:lnTo>
                <a:lnTo>
                  <a:pt x="4453" y="2751"/>
                </a:lnTo>
                <a:lnTo>
                  <a:pt x="4465" y="2774"/>
                </a:lnTo>
                <a:lnTo>
                  <a:pt x="4468" y="2798"/>
                </a:lnTo>
                <a:lnTo>
                  <a:pt x="4468" y="3555"/>
                </a:lnTo>
                <a:lnTo>
                  <a:pt x="4910" y="3555"/>
                </a:lnTo>
                <a:lnTo>
                  <a:pt x="4936" y="3559"/>
                </a:lnTo>
                <a:lnTo>
                  <a:pt x="4957" y="3571"/>
                </a:lnTo>
                <a:lnTo>
                  <a:pt x="4975" y="3589"/>
                </a:lnTo>
                <a:lnTo>
                  <a:pt x="4987" y="3611"/>
                </a:lnTo>
                <a:lnTo>
                  <a:pt x="4990" y="3636"/>
                </a:lnTo>
                <a:lnTo>
                  <a:pt x="4987" y="3662"/>
                </a:lnTo>
                <a:lnTo>
                  <a:pt x="4975" y="3685"/>
                </a:lnTo>
                <a:lnTo>
                  <a:pt x="4957" y="3702"/>
                </a:lnTo>
                <a:lnTo>
                  <a:pt x="4936" y="3713"/>
                </a:lnTo>
                <a:lnTo>
                  <a:pt x="4910" y="3718"/>
                </a:lnTo>
                <a:lnTo>
                  <a:pt x="4388" y="3718"/>
                </a:lnTo>
                <a:lnTo>
                  <a:pt x="4362" y="3713"/>
                </a:lnTo>
                <a:lnTo>
                  <a:pt x="4339" y="3702"/>
                </a:lnTo>
                <a:lnTo>
                  <a:pt x="4322" y="3685"/>
                </a:lnTo>
                <a:lnTo>
                  <a:pt x="4310" y="3662"/>
                </a:lnTo>
                <a:lnTo>
                  <a:pt x="4306" y="3636"/>
                </a:lnTo>
                <a:lnTo>
                  <a:pt x="4306" y="2798"/>
                </a:lnTo>
                <a:lnTo>
                  <a:pt x="4310" y="2774"/>
                </a:lnTo>
                <a:lnTo>
                  <a:pt x="4322" y="2751"/>
                </a:lnTo>
                <a:lnTo>
                  <a:pt x="4339" y="2733"/>
                </a:lnTo>
                <a:lnTo>
                  <a:pt x="4362" y="2721"/>
                </a:lnTo>
                <a:lnTo>
                  <a:pt x="4388" y="2718"/>
                </a:lnTo>
                <a:close/>
                <a:moveTo>
                  <a:pt x="4388" y="2543"/>
                </a:moveTo>
                <a:lnTo>
                  <a:pt x="4283" y="2548"/>
                </a:lnTo>
                <a:lnTo>
                  <a:pt x="4184" y="2564"/>
                </a:lnTo>
                <a:lnTo>
                  <a:pt x="4086" y="2590"/>
                </a:lnTo>
                <a:lnTo>
                  <a:pt x="3994" y="2623"/>
                </a:lnTo>
                <a:lnTo>
                  <a:pt x="3905" y="2667"/>
                </a:lnTo>
                <a:lnTo>
                  <a:pt x="3821" y="2718"/>
                </a:lnTo>
                <a:lnTo>
                  <a:pt x="3742" y="2775"/>
                </a:lnTo>
                <a:lnTo>
                  <a:pt x="3671" y="2842"/>
                </a:lnTo>
                <a:lnTo>
                  <a:pt x="3604" y="2913"/>
                </a:lnTo>
                <a:lnTo>
                  <a:pt x="3547" y="2992"/>
                </a:lnTo>
                <a:lnTo>
                  <a:pt x="3496" y="3075"/>
                </a:lnTo>
                <a:lnTo>
                  <a:pt x="3453" y="3163"/>
                </a:lnTo>
                <a:lnTo>
                  <a:pt x="3419" y="3257"/>
                </a:lnTo>
                <a:lnTo>
                  <a:pt x="3393" y="3353"/>
                </a:lnTo>
                <a:lnTo>
                  <a:pt x="3379" y="3454"/>
                </a:lnTo>
                <a:lnTo>
                  <a:pt x="3374" y="3557"/>
                </a:lnTo>
                <a:lnTo>
                  <a:pt x="3379" y="3662"/>
                </a:lnTo>
                <a:lnTo>
                  <a:pt x="3393" y="3761"/>
                </a:lnTo>
                <a:lnTo>
                  <a:pt x="3419" y="3859"/>
                </a:lnTo>
                <a:lnTo>
                  <a:pt x="3453" y="3952"/>
                </a:lnTo>
                <a:lnTo>
                  <a:pt x="3496" y="4041"/>
                </a:lnTo>
                <a:lnTo>
                  <a:pt x="3547" y="4125"/>
                </a:lnTo>
                <a:lnTo>
                  <a:pt x="3604" y="4203"/>
                </a:lnTo>
                <a:lnTo>
                  <a:pt x="3671" y="4275"/>
                </a:lnTo>
                <a:lnTo>
                  <a:pt x="3742" y="4339"/>
                </a:lnTo>
                <a:lnTo>
                  <a:pt x="3821" y="4399"/>
                </a:lnTo>
                <a:lnTo>
                  <a:pt x="3905" y="4449"/>
                </a:lnTo>
                <a:lnTo>
                  <a:pt x="3994" y="4493"/>
                </a:lnTo>
                <a:lnTo>
                  <a:pt x="4086" y="4526"/>
                </a:lnTo>
                <a:lnTo>
                  <a:pt x="4184" y="4550"/>
                </a:lnTo>
                <a:lnTo>
                  <a:pt x="4283" y="4566"/>
                </a:lnTo>
                <a:lnTo>
                  <a:pt x="4388" y="4571"/>
                </a:lnTo>
                <a:lnTo>
                  <a:pt x="4491" y="4566"/>
                </a:lnTo>
                <a:lnTo>
                  <a:pt x="4591" y="4550"/>
                </a:lnTo>
                <a:lnTo>
                  <a:pt x="4688" y="4526"/>
                </a:lnTo>
                <a:lnTo>
                  <a:pt x="4781" y="4493"/>
                </a:lnTo>
                <a:lnTo>
                  <a:pt x="4870" y="4449"/>
                </a:lnTo>
                <a:lnTo>
                  <a:pt x="4954" y="4399"/>
                </a:lnTo>
                <a:lnTo>
                  <a:pt x="5032" y="4339"/>
                </a:lnTo>
                <a:lnTo>
                  <a:pt x="5104" y="4275"/>
                </a:lnTo>
                <a:lnTo>
                  <a:pt x="5170" y="4203"/>
                </a:lnTo>
                <a:lnTo>
                  <a:pt x="5228" y="4125"/>
                </a:lnTo>
                <a:lnTo>
                  <a:pt x="5278" y="4041"/>
                </a:lnTo>
                <a:lnTo>
                  <a:pt x="5322" y="3952"/>
                </a:lnTo>
                <a:lnTo>
                  <a:pt x="5355" y="3859"/>
                </a:lnTo>
                <a:lnTo>
                  <a:pt x="5381" y="3761"/>
                </a:lnTo>
                <a:lnTo>
                  <a:pt x="5395" y="3662"/>
                </a:lnTo>
                <a:lnTo>
                  <a:pt x="5402" y="3557"/>
                </a:lnTo>
                <a:lnTo>
                  <a:pt x="5395" y="3454"/>
                </a:lnTo>
                <a:lnTo>
                  <a:pt x="5381" y="3353"/>
                </a:lnTo>
                <a:lnTo>
                  <a:pt x="5355" y="3257"/>
                </a:lnTo>
                <a:lnTo>
                  <a:pt x="5322" y="3163"/>
                </a:lnTo>
                <a:lnTo>
                  <a:pt x="5278" y="3075"/>
                </a:lnTo>
                <a:lnTo>
                  <a:pt x="5228" y="2992"/>
                </a:lnTo>
                <a:lnTo>
                  <a:pt x="5170" y="2913"/>
                </a:lnTo>
                <a:lnTo>
                  <a:pt x="5104" y="2842"/>
                </a:lnTo>
                <a:lnTo>
                  <a:pt x="5032" y="2775"/>
                </a:lnTo>
                <a:lnTo>
                  <a:pt x="4954" y="2718"/>
                </a:lnTo>
                <a:lnTo>
                  <a:pt x="4870" y="2667"/>
                </a:lnTo>
                <a:lnTo>
                  <a:pt x="4781" y="2623"/>
                </a:lnTo>
                <a:lnTo>
                  <a:pt x="4688" y="2590"/>
                </a:lnTo>
                <a:lnTo>
                  <a:pt x="4591" y="2564"/>
                </a:lnTo>
                <a:lnTo>
                  <a:pt x="4491" y="2548"/>
                </a:lnTo>
                <a:lnTo>
                  <a:pt x="4388" y="2543"/>
                </a:lnTo>
                <a:close/>
                <a:moveTo>
                  <a:pt x="5688" y="1332"/>
                </a:moveTo>
                <a:lnTo>
                  <a:pt x="5713" y="1339"/>
                </a:lnTo>
                <a:lnTo>
                  <a:pt x="5734" y="1353"/>
                </a:lnTo>
                <a:lnTo>
                  <a:pt x="5750" y="1374"/>
                </a:lnTo>
                <a:lnTo>
                  <a:pt x="5758" y="1398"/>
                </a:lnTo>
                <a:lnTo>
                  <a:pt x="5760" y="1423"/>
                </a:lnTo>
                <a:lnTo>
                  <a:pt x="5753" y="1447"/>
                </a:lnTo>
                <a:lnTo>
                  <a:pt x="5739" y="1468"/>
                </a:lnTo>
                <a:lnTo>
                  <a:pt x="4810" y="2461"/>
                </a:lnTo>
                <a:lnTo>
                  <a:pt x="4910" y="2506"/>
                </a:lnTo>
                <a:lnTo>
                  <a:pt x="5004" y="2559"/>
                </a:lnTo>
                <a:lnTo>
                  <a:pt x="5093" y="2618"/>
                </a:lnTo>
                <a:lnTo>
                  <a:pt x="5175" y="2686"/>
                </a:lnTo>
                <a:lnTo>
                  <a:pt x="5250" y="2761"/>
                </a:lnTo>
                <a:lnTo>
                  <a:pt x="5320" y="2843"/>
                </a:lnTo>
                <a:lnTo>
                  <a:pt x="5381" y="2931"/>
                </a:lnTo>
                <a:lnTo>
                  <a:pt x="5435" y="3025"/>
                </a:lnTo>
                <a:lnTo>
                  <a:pt x="5481" y="3123"/>
                </a:lnTo>
                <a:lnTo>
                  <a:pt x="5516" y="3226"/>
                </a:lnTo>
                <a:lnTo>
                  <a:pt x="5542" y="3334"/>
                </a:lnTo>
                <a:lnTo>
                  <a:pt x="5558" y="3444"/>
                </a:lnTo>
                <a:lnTo>
                  <a:pt x="5563" y="3557"/>
                </a:lnTo>
                <a:lnTo>
                  <a:pt x="5558" y="3671"/>
                </a:lnTo>
                <a:lnTo>
                  <a:pt x="5542" y="3781"/>
                </a:lnTo>
                <a:lnTo>
                  <a:pt x="5516" y="3887"/>
                </a:lnTo>
                <a:lnTo>
                  <a:pt x="5481" y="3990"/>
                </a:lnTo>
                <a:lnTo>
                  <a:pt x="5437" y="4088"/>
                </a:lnTo>
                <a:lnTo>
                  <a:pt x="5385" y="4182"/>
                </a:lnTo>
                <a:lnTo>
                  <a:pt x="5324" y="4269"/>
                </a:lnTo>
                <a:lnTo>
                  <a:pt x="5256" y="4351"/>
                </a:lnTo>
                <a:lnTo>
                  <a:pt x="5181" y="4426"/>
                </a:lnTo>
                <a:lnTo>
                  <a:pt x="5098" y="4495"/>
                </a:lnTo>
                <a:lnTo>
                  <a:pt x="5011" y="4554"/>
                </a:lnTo>
                <a:lnTo>
                  <a:pt x="4917" y="4608"/>
                </a:lnTo>
                <a:lnTo>
                  <a:pt x="4819" y="4652"/>
                </a:lnTo>
                <a:lnTo>
                  <a:pt x="4716" y="4687"/>
                </a:lnTo>
                <a:lnTo>
                  <a:pt x="4610" y="4713"/>
                </a:lnTo>
                <a:lnTo>
                  <a:pt x="4500" y="4728"/>
                </a:lnTo>
                <a:lnTo>
                  <a:pt x="4388" y="4734"/>
                </a:lnTo>
                <a:lnTo>
                  <a:pt x="4275" y="4728"/>
                </a:lnTo>
                <a:lnTo>
                  <a:pt x="4165" y="4713"/>
                </a:lnTo>
                <a:lnTo>
                  <a:pt x="4058" y="4687"/>
                </a:lnTo>
                <a:lnTo>
                  <a:pt x="3955" y="4652"/>
                </a:lnTo>
                <a:lnTo>
                  <a:pt x="3857" y="4608"/>
                </a:lnTo>
                <a:lnTo>
                  <a:pt x="3763" y="4554"/>
                </a:lnTo>
                <a:lnTo>
                  <a:pt x="3676" y="4495"/>
                </a:lnTo>
                <a:lnTo>
                  <a:pt x="3594" y="4426"/>
                </a:lnTo>
                <a:lnTo>
                  <a:pt x="3519" y="4351"/>
                </a:lnTo>
                <a:lnTo>
                  <a:pt x="3451" y="4269"/>
                </a:lnTo>
                <a:lnTo>
                  <a:pt x="3390" y="4182"/>
                </a:lnTo>
                <a:lnTo>
                  <a:pt x="3337" y="4088"/>
                </a:lnTo>
                <a:lnTo>
                  <a:pt x="3294" y="3990"/>
                </a:lnTo>
                <a:lnTo>
                  <a:pt x="3259" y="3887"/>
                </a:lnTo>
                <a:lnTo>
                  <a:pt x="3233" y="3781"/>
                </a:lnTo>
                <a:lnTo>
                  <a:pt x="3217" y="3671"/>
                </a:lnTo>
                <a:lnTo>
                  <a:pt x="3212" y="3557"/>
                </a:lnTo>
                <a:lnTo>
                  <a:pt x="3215" y="3466"/>
                </a:lnTo>
                <a:lnTo>
                  <a:pt x="3226" y="3376"/>
                </a:lnTo>
                <a:lnTo>
                  <a:pt x="3243" y="3288"/>
                </a:lnTo>
                <a:lnTo>
                  <a:pt x="3266" y="3203"/>
                </a:lnTo>
                <a:lnTo>
                  <a:pt x="3297" y="3121"/>
                </a:lnTo>
                <a:lnTo>
                  <a:pt x="2747" y="2550"/>
                </a:lnTo>
                <a:lnTo>
                  <a:pt x="957" y="4303"/>
                </a:lnTo>
                <a:lnTo>
                  <a:pt x="939" y="4315"/>
                </a:lnTo>
                <a:lnTo>
                  <a:pt x="920" y="4323"/>
                </a:lnTo>
                <a:lnTo>
                  <a:pt x="901" y="4325"/>
                </a:lnTo>
                <a:lnTo>
                  <a:pt x="880" y="4323"/>
                </a:lnTo>
                <a:lnTo>
                  <a:pt x="861" y="4315"/>
                </a:lnTo>
                <a:lnTo>
                  <a:pt x="843" y="4301"/>
                </a:lnTo>
                <a:lnTo>
                  <a:pt x="827" y="4280"/>
                </a:lnTo>
                <a:lnTo>
                  <a:pt x="820" y="4255"/>
                </a:lnTo>
                <a:lnTo>
                  <a:pt x="820" y="4231"/>
                </a:lnTo>
                <a:lnTo>
                  <a:pt x="829" y="4207"/>
                </a:lnTo>
                <a:lnTo>
                  <a:pt x="843" y="4186"/>
                </a:lnTo>
                <a:lnTo>
                  <a:pt x="2691" y="2377"/>
                </a:lnTo>
                <a:lnTo>
                  <a:pt x="2709" y="2365"/>
                </a:lnTo>
                <a:lnTo>
                  <a:pt x="2728" y="2356"/>
                </a:lnTo>
                <a:lnTo>
                  <a:pt x="2751" y="2355"/>
                </a:lnTo>
                <a:lnTo>
                  <a:pt x="2772" y="2358"/>
                </a:lnTo>
                <a:lnTo>
                  <a:pt x="2791" y="2365"/>
                </a:lnTo>
                <a:lnTo>
                  <a:pt x="2807" y="2379"/>
                </a:lnTo>
                <a:lnTo>
                  <a:pt x="3372" y="2966"/>
                </a:lnTo>
                <a:lnTo>
                  <a:pt x="3426" y="2882"/>
                </a:lnTo>
                <a:lnTo>
                  <a:pt x="3489" y="2801"/>
                </a:lnTo>
                <a:lnTo>
                  <a:pt x="3555" y="2728"/>
                </a:lnTo>
                <a:lnTo>
                  <a:pt x="3631" y="2660"/>
                </a:lnTo>
                <a:lnTo>
                  <a:pt x="3709" y="2597"/>
                </a:lnTo>
                <a:lnTo>
                  <a:pt x="3795" y="2543"/>
                </a:lnTo>
                <a:lnTo>
                  <a:pt x="3884" y="2496"/>
                </a:lnTo>
                <a:lnTo>
                  <a:pt x="3978" y="2456"/>
                </a:lnTo>
                <a:lnTo>
                  <a:pt x="4076" y="2424"/>
                </a:lnTo>
                <a:lnTo>
                  <a:pt x="4177" y="2400"/>
                </a:lnTo>
                <a:lnTo>
                  <a:pt x="4280" y="2386"/>
                </a:lnTo>
                <a:lnTo>
                  <a:pt x="4388" y="2383"/>
                </a:lnTo>
                <a:lnTo>
                  <a:pt x="4472" y="2384"/>
                </a:lnTo>
                <a:lnTo>
                  <a:pt x="4556" y="2395"/>
                </a:lnTo>
                <a:lnTo>
                  <a:pt x="4638" y="2409"/>
                </a:lnTo>
                <a:lnTo>
                  <a:pt x="5620" y="1358"/>
                </a:lnTo>
                <a:lnTo>
                  <a:pt x="5640" y="1341"/>
                </a:lnTo>
                <a:lnTo>
                  <a:pt x="5664" y="1334"/>
                </a:lnTo>
                <a:lnTo>
                  <a:pt x="5688" y="1332"/>
                </a:lnTo>
                <a:close/>
                <a:moveTo>
                  <a:pt x="80" y="0"/>
                </a:moveTo>
                <a:lnTo>
                  <a:pt x="106" y="5"/>
                </a:lnTo>
                <a:lnTo>
                  <a:pt x="129" y="16"/>
                </a:lnTo>
                <a:lnTo>
                  <a:pt x="147" y="33"/>
                </a:lnTo>
                <a:lnTo>
                  <a:pt x="157" y="56"/>
                </a:lnTo>
                <a:lnTo>
                  <a:pt x="162" y="82"/>
                </a:lnTo>
                <a:lnTo>
                  <a:pt x="162" y="4788"/>
                </a:lnTo>
                <a:lnTo>
                  <a:pt x="168" y="4835"/>
                </a:lnTo>
                <a:lnTo>
                  <a:pt x="180" y="4879"/>
                </a:lnTo>
                <a:lnTo>
                  <a:pt x="202" y="4919"/>
                </a:lnTo>
                <a:lnTo>
                  <a:pt x="230" y="4954"/>
                </a:lnTo>
                <a:lnTo>
                  <a:pt x="265" y="4982"/>
                </a:lnTo>
                <a:lnTo>
                  <a:pt x="305" y="5004"/>
                </a:lnTo>
                <a:lnTo>
                  <a:pt x="349" y="5016"/>
                </a:lnTo>
                <a:lnTo>
                  <a:pt x="396" y="5022"/>
                </a:lnTo>
                <a:lnTo>
                  <a:pt x="5116" y="5022"/>
                </a:lnTo>
                <a:lnTo>
                  <a:pt x="5140" y="5027"/>
                </a:lnTo>
                <a:lnTo>
                  <a:pt x="5163" y="5037"/>
                </a:lnTo>
                <a:lnTo>
                  <a:pt x="5181" y="5055"/>
                </a:lnTo>
                <a:lnTo>
                  <a:pt x="5193" y="5078"/>
                </a:lnTo>
                <a:lnTo>
                  <a:pt x="5196" y="5104"/>
                </a:lnTo>
                <a:lnTo>
                  <a:pt x="5193" y="5128"/>
                </a:lnTo>
                <a:lnTo>
                  <a:pt x="5181" y="5151"/>
                </a:lnTo>
                <a:lnTo>
                  <a:pt x="5163" y="5168"/>
                </a:lnTo>
                <a:lnTo>
                  <a:pt x="5140" y="5181"/>
                </a:lnTo>
                <a:lnTo>
                  <a:pt x="5116" y="5184"/>
                </a:lnTo>
                <a:lnTo>
                  <a:pt x="396" y="5184"/>
                </a:lnTo>
                <a:lnTo>
                  <a:pt x="332" y="5179"/>
                </a:lnTo>
                <a:lnTo>
                  <a:pt x="271" y="5163"/>
                </a:lnTo>
                <a:lnTo>
                  <a:pt x="215" y="5140"/>
                </a:lnTo>
                <a:lnTo>
                  <a:pt x="162" y="5107"/>
                </a:lnTo>
                <a:lnTo>
                  <a:pt x="115" y="5069"/>
                </a:lnTo>
                <a:lnTo>
                  <a:pt x="77" y="5022"/>
                </a:lnTo>
                <a:lnTo>
                  <a:pt x="44" y="4969"/>
                </a:lnTo>
                <a:lnTo>
                  <a:pt x="21" y="4913"/>
                </a:lnTo>
                <a:lnTo>
                  <a:pt x="5" y="4852"/>
                </a:lnTo>
                <a:lnTo>
                  <a:pt x="0" y="4788"/>
                </a:lnTo>
                <a:lnTo>
                  <a:pt x="0" y="82"/>
                </a:lnTo>
                <a:lnTo>
                  <a:pt x="3" y="56"/>
                </a:lnTo>
                <a:lnTo>
                  <a:pt x="16" y="33"/>
                </a:lnTo>
                <a:lnTo>
                  <a:pt x="33" y="16"/>
                </a:lnTo>
                <a:lnTo>
                  <a:pt x="56" y="5"/>
                </a:lnTo>
                <a:lnTo>
                  <a:pt x="80"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Light"/>
              <a:ea typeface="+mn-ea"/>
              <a:cs typeface="+mn-cs"/>
            </a:endParaRPr>
          </a:p>
        </p:txBody>
      </p:sp>
      <p:sp>
        <p:nvSpPr>
          <p:cNvPr id="23" name="Freeform 57">
            <a:extLst>
              <a:ext uri="{FF2B5EF4-FFF2-40B4-BE49-F238E27FC236}">
                <a16:creationId xmlns:a16="http://schemas.microsoft.com/office/drawing/2014/main" id="{A3C197EA-A4F5-3E45-B9CD-223F6E990FD6}"/>
              </a:ext>
            </a:extLst>
          </p:cNvPr>
          <p:cNvSpPr>
            <a:spLocks noChangeAspect="1" noEditPoints="1"/>
          </p:cNvSpPr>
          <p:nvPr/>
        </p:nvSpPr>
        <p:spPr bwMode="auto">
          <a:xfrm>
            <a:off x="4183635" y="1977305"/>
            <a:ext cx="776729" cy="829815"/>
          </a:xfrm>
          <a:custGeom>
            <a:avLst/>
            <a:gdLst>
              <a:gd name="T0" fmla="*/ 3816 w 4457"/>
              <a:gd name="T1" fmla="*/ 3521 h 4755"/>
              <a:gd name="T2" fmla="*/ 4140 w 4457"/>
              <a:gd name="T3" fmla="*/ 3197 h 4755"/>
              <a:gd name="T4" fmla="*/ 2598 w 4457"/>
              <a:gd name="T5" fmla="*/ 3593 h 4755"/>
              <a:gd name="T6" fmla="*/ 3368 w 4457"/>
              <a:gd name="T7" fmla="*/ 3197 h 4755"/>
              <a:gd name="T8" fmla="*/ 2228 w 4457"/>
              <a:gd name="T9" fmla="*/ 4632 h 4755"/>
              <a:gd name="T10" fmla="*/ 2228 w 4457"/>
              <a:gd name="T11" fmla="*/ 3599 h 4755"/>
              <a:gd name="T12" fmla="*/ 1054 w 4457"/>
              <a:gd name="T13" fmla="*/ 3366 h 4755"/>
              <a:gd name="T14" fmla="*/ 1053 w 4457"/>
              <a:gd name="T15" fmla="*/ 3027 h 4755"/>
              <a:gd name="T16" fmla="*/ 1708 w 4457"/>
              <a:gd name="T17" fmla="*/ 3743 h 4755"/>
              <a:gd name="T18" fmla="*/ 639 w 4457"/>
              <a:gd name="T19" fmla="*/ 3522 h 4755"/>
              <a:gd name="T20" fmla="*/ 964 w 4457"/>
              <a:gd name="T21" fmla="*/ 3198 h 4755"/>
              <a:gd name="T22" fmla="*/ 123 w 4457"/>
              <a:gd name="T23" fmla="*/ 1336 h 4755"/>
              <a:gd name="T24" fmla="*/ 640 w 4457"/>
              <a:gd name="T25" fmla="*/ 1853 h 4755"/>
              <a:gd name="T26" fmla="*/ 1872 w 4457"/>
              <a:gd name="T27" fmla="*/ 717 h 4755"/>
              <a:gd name="T28" fmla="*/ 1277 w 4457"/>
              <a:gd name="T29" fmla="*/ 1275 h 4755"/>
              <a:gd name="T30" fmla="*/ 2228 w 4457"/>
              <a:gd name="T31" fmla="*/ 123 h 4755"/>
              <a:gd name="T32" fmla="*/ 2228 w 4457"/>
              <a:gd name="T33" fmla="*/ 771 h 4755"/>
              <a:gd name="T34" fmla="*/ 3231 w 4457"/>
              <a:gd name="T35" fmla="*/ 1080 h 4755"/>
              <a:gd name="T36" fmla="*/ 2290 w 4457"/>
              <a:gd name="T37" fmla="*/ 1275 h 4755"/>
              <a:gd name="T38" fmla="*/ 3231 w 4457"/>
              <a:gd name="T39" fmla="*/ 1080 h 4755"/>
              <a:gd name="T40" fmla="*/ 4333 w 4457"/>
              <a:gd name="T41" fmla="*/ 1337 h 4755"/>
              <a:gd name="T42" fmla="*/ 3817 w 4457"/>
              <a:gd name="T43" fmla="*/ 820 h 4755"/>
              <a:gd name="T44" fmla="*/ 3299 w 4457"/>
              <a:gd name="T45" fmla="*/ 1713 h 4755"/>
              <a:gd name="T46" fmla="*/ 2353 w 4457"/>
              <a:gd name="T47" fmla="*/ 2267 h 4755"/>
              <a:gd name="T48" fmla="*/ 3236 w 4457"/>
              <a:gd name="T49" fmla="*/ 1606 h 4755"/>
              <a:gd name="T50" fmla="*/ 3180 w 4457"/>
              <a:gd name="T51" fmla="*/ 1399 h 4755"/>
              <a:gd name="T52" fmla="*/ 2166 w 4457"/>
              <a:gd name="T53" fmla="*/ 1399 h 4755"/>
              <a:gd name="T54" fmla="*/ 1277 w 4457"/>
              <a:gd name="T55" fmla="*/ 1398 h 4755"/>
              <a:gd name="T56" fmla="*/ 1159 w 4457"/>
              <a:gd name="T57" fmla="*/ 1711 h 4755"/>
              <a:gd name="T58" fmla="*/ 1008 w 4457"/>
              <a:gd name="T59" fmla="*/ 1860 h 4755"/>
              <a:gd name="T60" fmla="*/ 701 w 4457"/>
              <a:gd name="T61" fmla="*/ 1974 h 4755"/>
              <a:gd name="T62" fmla="*/ 991 w 4457"/>
              <a:gd name="T63" fmla="*/ 2921 h 4755"/>
              <a:gd name="T64" fmla="*/ 1966 w 4457"/>
              <a:gd name="T65" fmla="*/ 3532 h 4755"/>
              <a:gd name="T66" fmla="*/ 2167 w 4457"/>
              <a:gd name="T67" fmla="*/ 3478 h 4755"/>
              <a:gd name="T68" fmla="*/ 2290 w 4457"/>
              <a:gd name="T69" fmla="*/ 3478 h 4755"/>
              <a:gd name="T70" fmla="*/ 2491 w 4457"/>
              <a:gd name="T71" fmla="*/ 3532 h 4755"/>
              <a:gd name="T72" fmla="*/ 3466 w 4457"/>
              <a:gd name="T73" fmla="*/ 2918 h 4755"/>
              <a:gd name="T74" fmla="*/ 3755 w 4457"/>
              <a:gd name="T75" fmla="*/ 1974 h 4755"/>
              <a:gd name="T76" fmla="*/ 4457 w 4457"/>
              <a:gd name="T77" fmla="*/ 1337 h 4755"/>
              <a:gd name="T78" fmla="*/ 3291 w 4457"/>
              <a:gd name="T79" fmla="*/ 972 h 4755"/>
              <a:gd name="T80" fmla="*/ 2228 w 4457"/>
              <a:gd name="T81" fmla="*/ 0 h 4755"/>
              <a:gd name="T82" fmla="*/ 1165 w 4457"/>
              <a:gd name="T83" fmla="*/ 972 h 4755"/>
              <a:gd name="T84" fmla="*/ 578 w 4457"/>
              <a:gd name="T85" fmla="*/ 1974 h 4755"/>
              <a:gd name="T86" fmla="*/ 639 w 4457"/>
              <a:gd name="T87" fmla="*/ 3646 h 4755"/>
              <a:gd name="T88" fmla="*/ 1588 w 4457"/>
              <a:gd name="T89" fmla="*/ 4115 h 4755"/>
              <a:gd name="T90" fmla="*/ 2811 w 4457"/>
              <a:gd name="T91" fmla="*/ 3850 h 4755"/>
              <a:gd name="T92" fmla="*/ 4264 w 4457"/>
              <a:gd name="T93" fmla="*/ 3197 h 4755"/>
              <a:gd name="T94" fmla="*/ 4457 w 4457"/>
              <a:gd name="T95" fmla="*/ 1337 h 4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57" h="4755">
                <a:moveTo>
                  <a:pt x="4140" y="3197"/>
                </a:moveTo>
                <a:lnTo>
                  <a:pt x="4140" y="3197"/>
                </a:lnTo>
                <a:cubicBezTo>
                  <a:pt x="4140" y="3376"/>
                  <a:pt x="3995" y="3521"/>
                  <a:pt x="3816" y="3521"/>
                </a:cubicBezTo>
                <a:cubicBezTo>
                  <a:pt x="3637" y="3521"/>
                  <a:pt x="3492" y="3376"/>
                  <a:pt x="3492" y="3197"/>
                </a:cubicBezTo>
                <a:cubicBezTo>
                  <a:pt x="3492" y="3018"/>
                  <a:pt x="3637" y="2873"/>
                  <a:pt x="3816" y="2873"/>
                </a:cubicBezTo>
                <a:cubicBezTo>
                  <a:pt x="3995" y="2873"/>
                  <a:pt x="4140" y="3018"/>
                  <a:pt x="4140" y="3197"/>
                </a:cubicBezTo>
                <a:close/>
                <a:moveTo>
                  <a:pt x="2749" y="3743"/>
                </a:moveTo>
                <a:lnTo>
                  <a:pt x="2749" y="3743"/>
                </a:lnTo>
                <a:cubicBezTo>
                  <a:pt x="2707" y="3685"/>
                  <a:pt x="2656" y="3635"/>
                  <a:pt x="2598" y="3593"/>
                </a:cubicBezTo>
                <a:lnTo>
                  <a:pt x="3044" y="2814"/>
                </a:lnTo>
                <a:lnTo>
                  <a:pt x="3403" y="3024"/>
                </a:lnTo>
                <a:cubicBezTo>
                  <a:pt x="3381" y="3078"/>
                  <a:pt x="3368" y="3136"/>
                  <a:pt x="3368" y="3197"/>
                </a:cubicBezTo>
                <a:cubicBezTo>
                  <a:pt x="3368" y="3257"/>
                  <a:pt x="3380" y="3314"/>
                  <a:pt x="3402" y="3366"/>
                </a:cubicBezTo>
                <a:lnTo>
                  <a:pt x="2749" y="3743"/>
                </a:lnTo>
                <a:close/>
                <a:moveTo>
                  <a:pt x="2228" y="4632"/>
                </a:moveTo>
                <a:lnTo>
                  <a:pt x="2228" y="4632"/>
                </a:lnTo>
                <a:cubicBezTo>
                  <a:pt x="1943" y="4632"/>
                  <a:pt x="1711" y="4400"/>
                  <a:pt x="1711" y="4115"/>
                </a:cubicBezTo>
                <a:cubicBezTo>
                  <a:pt x="1711" y="3830"/>
                  <a:pt x="1943" y="3599"/>
                  <a:pt x="2228" y="3599"/>
                </a:cubicBezTo>
                <a:cubicBezTo>
                  <a:pt x="2513" y="3599"/>
                  <a:pt x="2745" y="3830"/>
                  <a:pt x="2745" y="4115"/>
                </a:cubicBezTo>
                <a:cubicBezTo>
                  <a:pt x="2745" y="4400"/>
                  <a:pt x="2513" y="4632"/>
                  <a:pt x="2228" y="4632"/>
                </a:cubicBezTo>
                <a:close/>
                <a:moveTo>
                  <a:pt x="1054" y="3366"/>
                </a:moveTo>
                <a:lnTo>
                  <a:pt x="1054" y="3366"/>
                </a:lnTo>
                <a:cubicBezTo>
                  <a:pt x="1075" y="3314"/>
                  <a:pt x="1087" y="3258"/>
                  <a:pt x="1087" y="3198"/>
                </a:cubicBezTo>
                <a:cubicBezTo>
                  <a:pt x="1087" y="3138"/>
                  <a:pt x="1075" y="3080"/>
                  <a:pt x="1053" y="3027"/>
                </a:cubicBezTo>
                <a:lnTo>
                  <a:pt x="1414" y="2816"/>
                </a:lnTo>
                <a:lnTo>
                  <a:pt x="1859" y="3593"/>
                </a:lnTo>
                <a:cubicBezTo>
                  <a:pt x="1800" y="3634"/>
                  <a:pt x="1749" y="3685"/>
                  <a:pt x="1708" y="3743"/>
                </a:cubicBezTo>
                <a:lnTo>
                  <a:pt x="1054" y="3366"/>
                </a:lnTo>
                <a:close/>
                <a:moveTo>
                  <a:pt x="639" y="3522"/>
                </a:moveTo>
                <a:lnTo>
                  <a:pt x="639" y="3522"/>
                </a:lnTo>
                <a:cubicBezTo>
                  <a:pt x="461" y="3522"/>
                  <a:pt x="315" y="3377"/>
                  <a:pt x="315" y="3198"/>
                </a:cubicBezTo>
                <a:cubicBezTo>
                  <a:pt x="315" y="3019"/>
                  <a:pt x="461" y="2874"/>
                  <a:pt x="639" y="2874"/>
                </a:cubicBezTo>
                <a:cubicBezTo>
                  <a:pt x="818" y="2874"/>
                  <a:pt x="964" y="3019"/>
                  <a:pt x="964" y="3198"/>
                </a:cubicBezTo>
                <a:cubicBezTo>
                  <a:pt x="964" y="3377"/>
                  <a:pt x="818" y="3522"/>
                  <a:pt x="639" y="3522"/>
                </a:cubicBezTo>
                <a:close/>
                <a:moveTo>
                  <a:pt x="123" y="1336"/>
                </a:moveTo>
                <a:lnTo>
                  <a:pt x="123" y="1336"/>
                </a:lnTo>
                <a:cubicBezTo>
                  <a:pt x="123" y="1052"/>
                  <a:pt x="355" y="820"/>
                  <a:pt x="640" y="820"/>
                </a:cubicBezTo>
                <a:cubicBezTo>
                  <a:pt x="925" y="820"/>
                  <a:pt x="1156" y="1052"/>
                  <a:pt x="1156" y="1336"/>
                </a:cubicBezTo>
                <a:cubicBezTo>
                  <a:pt x="1156" y="1621"/>
                  <a:pt x="925" y="1853"/>
                  <a:pt x="640" y="1853"/>
                </a:cubicBezTo>
                <a:cubicBezTo>
                  <a:pt x="355" y="1853"/>
                  <a:pt x="123" y="1621"/>
                  <a:pt x="123" y="1336"/>
                </a:cubicBezTo>
                <a:close/>
                <a:moveTo>
                  <a:pt x="1872" y="717"/>
                </a:moveTo>
                <a:lnTo>
                  <a:pt x="1872" y="717"/>
                </a:lnTo>
                <a:cubicBezTo>
                  <a:pt x="1942" y="809"/>
                  <a:pt x="2047" y="874"/>
                  <a:pt x="2166" y="890"/>
                </a:cubicBezTo>
                <a:lnTo>
                  <a:pt x="2166" y="1275"/>
                </a:lnTo>
                <a:lnTo>
                  <a:pt x="1277" y="1275"/>
                </a:lnTo>
                <a:cubicBezTo>
                  <a:pt x="1270" y="1206"/>
                  <a:pt x="1252" y="1140"/>
                  <a:pt x="1226" y="1079"/>
                </a:cubicBezTo>
                <a:lnTo>
                  <a:pt x="1872" y="717"/>
                </a:lnTo>
                <a:close/>
                <a:moveTo>
                  <a:pt x="2228" y="123"/>
                </a:moveTo>
                <a:lnTo>
                  <a:pt x="2228" y="123"/>
                </a:lnTo>
                <a:cubicBezTo>
                  <a:pt x="2407" y="123"/>
                  <a:pt x="2552" y="268"/>
                  <a:pt x="2552" y="447"/>
                </a:cubicBezTo>
                <a:cubicBezTo>
                  <a:pt x="2552" y="626"/>
                  <a:pt x="2407" y="771"/>
                  <a:pt x="2228" y="771"/>
                </a:cubicBezTo>
                <a:cubicBezTo>
                  <a:pt x="2049" y="771"/>
                  <a:pt x="1904" y="626"/>
                  <a:pt x="1904" y="447"/>
                </a:cubicBezTo>
                <a:cubicBezTo>
                  <a:pt x="1904" y="268"/>
                  <a:pt x="2049" y="123"/>
                  <a:pt x="2228" y="123"/>
                </a:cubicBezTo>
                <a:close/>
                <a:moveTo>
                  <a:pt x="3231" y="1080"/>
                </a:moveTo>
                <a:lnTo>
                  <a:pt x="3231" y="1080"/>
                </a:lnTo>
                <a:cubicBezTo>
                  <a:pt x="3204" y="1140"/>
                  <a:pt x="3186" y="1206"/>
                  <a:pt x="3180" y="1275"/>
                </a:cubicBezTo>
                <a:lnTo>
                  <a:pt x="2290" y="1275"/>
                </a:lnTo>
                <a:lnTo>
                  <a:pt x="2290" y="890"/>
                </a:lnTo>
                <a:cubicBezTo>
                  <a:pt x="2410" y="874"/>
                  <a:pt x="2514" y="809"/>
                  <a:pt x="2584" y="717"/>
                </a:cubicBezTo>
                <a:lnTo>
                  <a:pt x="3231" y="1080"/>
                </a:lnTo>
                <a:close/>
                <a:moveTo>
                  <a:pt x="3817" y="820"/>
                </a:moveTo>
                <a:lnTo>
                  <a:pt x="3817" y="820"/>
                </a:lnTo>
                <a:cubicBezTo>
                  <a:pt x="4102" y="820"/>
                  <a:pt x="4333" y="1052"/>
                  <a:pt x="4333" y="1337"/>
                </a:cubicBezTo>
                <a:cubicBezTo>
                  <a:pt x="4333" y="1622"/>
                  <a:pt x="4102" y="1853"/>
                  <a:pt x="3817" y="1853"/>
                </a:cubicBezTo>
                <a:cubicBezTo>
                  <a:pt x="3532" y="1853"/>
                  <a:pt x="3300" y="1622"/>
                  <a:pt x="3300" y="1337"/>
                </a:cubicBezTo>
                <a:cubicBezTo>
                  <a:pt x="3300" y="1052"/>
                  <a:pt x="3532" y="820"/>
                  <a:pt x="3817" y="820"/>
                </a:cubicBezTo>
                <a:close/>
                <a:moveTo>
                  <a:pt x="2353" y="2267"/>
                </a:moveTo>
                <a:lnTo>
                  <a:pt x="2353" y="2267"/>
                </a:lnTo>
                <a:lnTo>
                  <a:pt x="3299" y="1713"/>
                </a:lnTo>
                <a:cubicBezTo>
                  <a:pt x="3340" y="1769"/>
                  <a:pt x="3390" y="1819"/>
                  <a:pt x="3447" y="1859"/>
                </a:cubicBezTo>
                <a:lnTo>
                  <a:pt x="2998" y="2644"/>
                </a:lnTo>
                <a:lnTo>
                  <a:pt x="2353" y="2267"/>
                </a:lnTo>
                <a:close/>
                <a:moveTo>
                  <a:pt x="3180" y="1399"/>
                </a:moveTo>
                <a:lnTo>
                  <a:pt x="3180" y="1399"/>
                </a:lnTo>
                <a:cubicBezTo>
                  <a:pt x="3187" y="1472"/>
                  <a:pt x="3206" y="1542"/>
                  <a:pt x="3236" y="1606"/>
                </a:cubicBezTo>
                <a:lnTo>
                  <a:pt x="2290" y="2160"/>
                </a:lnTo>
                <a:lnTo>
                  <a:pt x="2290" y="1399"/>
                </a:lnTo>
                <a:lnTo>
                  <a:pt x="3180" y="1399"/>
                </a:lnTo>
                <a:close/>
                <a:moveTo>
                  <a:pt x="1277" y="1398"/>
                </a:moveTo>
                <a:lnTo>
                  <a:pt x="1277" y="1398"/>
                </a:lnTo>
                <a:lnTo>
                  <a:pt x="2166" y="1399"/>
                </a:lnTo>
                <a:lnTo>
                  <a:pt x="2167" y="2158"/>
                </a:lnTo>
                <a:lnTo>
                  <a:pt x="1221" y="1604"/>
                </a:lnTo>
                <a:cubicBezTo>
                  <a:pt x="1250" y="1540"/>
                  <a:pt x="1270" y="1471"/>
                  <a:pt x="1277" y="1398"/>
                </a:cubicBezTo>
                <a:close/>
                <a:moveTo>
                  <a:pt x="1008" y="1860"/>
                </a:moveTo>
                <a:lnTo>
                  <a:pt x="1008" y="1860"/>
                </a:lnTo>
                <a:cubicBezTo>
                  <a:pt x="1066" y="1819"/>
                  <a:pt x="1117" y="1768"/>
                  <a:pt x="1159" y="1711"/>
                </a:cubicBezTo>
                <a:lnTo>
                  <a:pt x="2108" y="2267"/>
                </a:lnTo>
                <a:lnTo>
                  <a:pt x="1459" y="2647"/>
                </a:lnTo>
                <a:lnTo>
                  <a:pt x="1008" y="1860"/>
                </a:lnTo>
                <a:close/>
                <a:moveTo>
                  <a:pt x="701" y="2755"/>
                </a:moveTo>
                <a:lnTo>
                  <a:pt x="701" y="2755"/>
                </a:lnTo>
                <a:lnTo>
                  <a:pt x="701" y="1974"/>
                </a:lnTo>
                <a:cubicBezTo>
                  <a:pt x="772" y="1967"/>
                  <a:pt x="839" y="1949"/>
                  <a:pt x="901" y="1921"/>
                </a:cubicBezTo>
                <a:lnTo>
                  <a:pt x="1352" y="2709"/>
                </a:lnTo>
                <a:lnTo>
                  <a:pt x="991" y="2921"/>
                </a:lnTo>
                <a:cubicBezTo>
                  <a:pt x="921" y="2832"/>
                  <a:pt x="818" y="2771"/>
                  <a:pt x="701" y="2755"/>
                </a:cubicBezTo>
                <a:close/>
                <a:moveTo>
                  <a:pt x="1966" y="3532"/>
                </a:moveTo>
                <a:lnTo>
                  <a:pt x="1966" y="3532"/>
                </a:lnTo>
                <a:lnTo>
                  <a:pt x="1520" y="2754"/>
                </a:lnTo>
                <a:lnTo>
                  <a:pt x="2167" y="2376"/>
                </a:lnTo>
                <a:lnTo>
                  <a:pt x="2167" y="3478"/>
                </a:lnTo>
                <a:cubicBezTo>
                  <a:pt x="2096" y="3485"/>
                  <a:pt x="2028" y="3503"/>
                  <a:pt x="1966" y="3532"/>
                </a:cubicBezTo>
                <a:close/>
                <a:moveTo>
                  <a:pt x="2290" y="3478"/>
                </a:moveTo>
                <a:lnTo>
                  <a:pt x="2290" y="3478"/>
                </a:lnTo>
                <a:lnTo>
                  <a:pt x="2290" y="2373"/>
                </a:lnTo>
                <a:lnTo>
                  <a:pt x="2937" y="2752"/>
                </a:lnTo>
                <a:lnTo>
                  <a:pt x="2491" y="3532"/>
                </a:lnTo>
                <a:cubicBezTo>
                  <a:pt x="2429" y="3504"/>
                  <a:pt x="2361" y="3485"/>
                  <a:pt x="2290" y="3478"/>
                </a:cubicBezTo>
                <a:close/>
                <a:moveTo>
                  <a:pt x="3466" y="2918"/>
                </a:moveTo>
                <a:lnTo>
                  <a:pt x="3466" y="2918"/>
                </a:lnTo>
                <a:lnTo>
                  <a:pt x="3105" y="2707"/>
                </a:lnTo>
                <a:lnTo>
                  <a:pt x="3554" y="1921"/>
                </a:lnTo>
                <a:cubicBezTo>
                  <a:pt x="3617" y="1949"/>
                  <a:pt x="3684" y="1967"/>
                  <a:pt x="3755" y="1974"/>
                </a:cubicBezTo>
                <a:lnTo>
                  <a:pt x="3755" y="2754"/>
                </a:lnTo>
                <a:cubicBezTo>
                  <a:pt x="3638" y="2770"/>
                  <a:pt x="3536" y="2831"/>
                  <a:pt x="3466" y="2918"/>
                </a:cubicBezTo>
                <a:close/>
                <a:moveTo>
                  <a:pt x="4457" y="1337"/>
                </a:moveTo>
                <a:lnTo>
                  <a:pt x="4457" y="1337"/>
                </a:lnTo>
                <a:cubicBezTo>
                  <a:pt x="4457" y="984"/>
                  <a:pt x="4170" y="697"/>
                  <a:pt x="3817" y="697"/>
                </a:cubicBezTo>
                <a:cubicBezTo>
                  <a:pt x="3599" y="697"/>
                  <a:pt x="3407" y="806"/>
                  <a:pt x="3291" y="972"/>
                </a:cubicBezTo>
                <a:lnTo>
                  <a:pt x="2645" y="610"/>
                </a:lnTo>
                <a:cubicBezTo>
                  <a:pt x="2665" y="559"/>
                  <a:pt x="2676" y="504"/>
                  <a:pt x="2676" y="447"/>
                </a:cubicBezTo>
                <a:cubicBezTo>
                  <a:pt x="2676" y="200"/>
                  <a:pt x="2475" y="0"/>
                  <a:pt x="2228" y="0"/>
                </a:cubicBezTo>
                <a:cubicBezTo>
                  <a:pt x="1981" y="0"/>
                  <a:pt x="1780" y="200"/>
                  <a:pt x="1780" y="447"/>
                </a:cubicBezTo>
                <a:cubicBezTo>
                  <a:pt x="1780" y="504"/>
                  <a:pt x="1791" y="559"/>
                  <a:pt x="1811" y="610"/>
                </a:cubicBezTo>
                <a:lnTo>
                  <a:pt x="1165" y="972"/>
                </a:lnTo>
                <a:cubicBezTo>
                  <a:pt x="1049" y="805"/>
                  <a:pt x="857" y="696"/>
                  <a:pt x="640" y="696"/>
                </a:cubicBezTo>
                <a:cubicBezTo>
                  <a:pt x="287" y="696"/>
                  <a:pt x="0" y="984"/>
                  <a:pt x="0" y="1336"/>
                </a:cubicBezTo>
                <a:cubicBezTo>
                  <a:pt x="0" y="1669"/>
                  <a:pt x="254" y="1942"/>
                  <a:pt x="578" y="1974"/>
                </a:cubicBezTo>
                <a:lnTo>
                  <a:pt x="578" y="2755"/>
                </a:lnTo>
                <a:cubicBezTo>
                  <a:pt x="360" y="2785"/>
                  <a:pt x="192" y="2972"/>
                  <a:pt x="192" y="3198"/>
                </a:cubicBezTo>
                <a:cubicBezTo>
                  <a:pt x="192" y="3445"/>
                  <a:pt x="393" y="3646"/>
                  <a:pt x="639" y="3646"/>
                </a:cubicBezTo>
                <a:cubicBezTo>
                  <a:pt x="783" y="3646"/>
                  <a:pt x="910" y="3578"/>
                  <a:pt x="992" y="3473"/>
                </a:cubicBezTo>
                <a:lnTo>
                  <a:pt x="1646" y="3850"/>
                </a:lnTo>
                <a:cubicBezTo>
                  <a:pt x="1609" y="3931"/>
                  <a:pt x="1588" y="4021"/>
                  <a:pt x="1588" y="4115"/>
                </a:cubicBezTo>
                <a:cubicBezTo>
                  <a:pt x="1588" y="4468"/>
                  <a:pt x="1875" y="4755"/>
                  <a:pt x="2228" y="4755"/>
                </a:cubicBezTo>
                <a:cubicBezTo>
                  <a:pt x="2581" y="4755"/>
                  <a:pt x="2868" y="4468"/>
                  <a:pt x="2868" y="4115"/>
                </a:cubicBezTo>
                <a:cubicBezTo>
                  <a:pt x="2868" y="4021"/>
                  <a:pt x="2848" y="3931"/>
                  <a:pt x="2811" y="3850"/>
                </a:cubicBezTo>
                <a:lnTo>
                  <a:pt x="3464" y="3473"/>
                </a:lnTo>
                <a:cubicBezTo>
                  <a:pt x="3546" y="3578"/>
                  <a:pt x="3673" y="3645"/>
                  <a:pt x="3816" y="3645"/>
                </a:cubicBezTo>
                <a:cubicBezTo>
                  <a:pt x="4063" y="3645"/>
                  <a:pt x="4264" y="3444"/>
                  <a:pt x="4264" y="3197"/>
                </a:cubicBezTo>
                <a:cubicBezTo>
                  <a:pt x="4264" y="2972"/>
                  <a:pt x="4096" y="2784"/>
                  <a:pt x="3878" y="2754"/>
                </a:cubicBezTo>
                <a:lnTo>
                  <a:pt x="3878" y="1974"/>
                </a:lnTo>
                <a:cubicBezTo>
                  <a:pt x="4202" y="1943"/>
                  <a:pt x="4457" y="1669"/>
                  <a:pt x="4457" y="1337"/>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Light"/>
              <a:ea typeface="+mn-ea"/>
              <a:cs typeface="+mn-cs"/>
            </a:endParaRPr>
          </a:p>
        </p:txBody>
      </p:sp>
      <p:sp>
        <p:nvSpPr>
          <p:cNvPr id="24" name="Freeform 6">
            <a:extLst>
              <a:ext uri="{FF2B5EF4-FFF2-40B4-BE49-F238E27FC236}">
                <a16:creationId xmlns:a16="http://schemas.microsoft.com/office/drawing/2014/main" id="{D3B4C95F-F51D-4A41-AEB5-CBA47FD2D61E}"/>
              </a:ext>
            </a:extLst>
          </p:cNvPr>
          <p:cNvSpPr>
            <a:spLocks noChangeAspect="1" noEditPoints="1"/>
          </p:cNvSpPr>
          <p:nvPr/>
        </p:nvSpPr>
        <p:spPr bwMode="auto">
          <a:xfrm>
            <a:off x="2577055" y="2047501"/>
            <a:ext cx="658336" cy="759619"/>
          </a:xfrm>
          <a:custGeom>
            <a:avLst/>
            <a:gdLst>
              <a:gd name="T0" fmla="*/ 2350 w 4992"/>
              <a:gd name="T1" fmla="*/ 4437 h 5760"/>
              <a:gd name="T2" fmla="*/ 691 w 4992"/>
              <a:gd name="T3" fmla="*/ 4486 h 5760"/>
              <a:gd name="T4" fmla="*/ 1211 w 4992"/>
              <a:gd name="T5" fmla="*/ 3959 h 5760"/>
              <a:gd name="T6" fmla="*/ 1355 w 4992"/>
              <a:gd name="T7" fmla="*/ 4550 h 5760"/>
              <a:gd name="T8" fmla="*/ 543 w 4992"/>
              <a:gd name="T9" fmla="*/ 4481 h 5760"/>
              <a:gd name="T10" fmla="*/ 3741 w 4992"/>
              <a:gd name="T11" fmla="*/ 3459 h 5760"/>
              <a:gd name="T12" fmla="*/ 4266 w 4992"/>
              <a:gd name="T13" fmla="*/ 4512 h 5760"/>
              <a:gd name="T14" fmla="*/ 3670 w 4992"/>
              <a:gd name="T15" fmla="*/ 3264 h 5760"/>
              <a:gd name="T16" fmla="*/ 2580 w 4992"/>
              <a:gd name="T17" fmla="*/ 4006 h 5760"/>
              <a:gd name="T18" fmla="*/ 2880 w 4992"/>
              <a:gd name="T19" fmla="*/ 5304 h 5760"/>
              <a:gd name="T20" fmla="*/ 4200 w 4992"/>
              <a:gd name="T21" fmla="*/ 5486 h 5760"/>
              <a:gd name="T22" fmla="*/ 4839 w 4992"/>
              <a:gd name="T23" fmla="*/ 4325 h 5760"/>
              <a:gd name="T24" fmla="*/ 4000 w 4992"/>
              <a:gd name="T25" fmla="*/ 3311 h 5760"/>
              <a:gd name="T26" fmla="*/ 3539 w 4992"/>
              <a:gd name="T27" fmla="*/ 3123 h 5760"/>
              <a:gd name="T28" fmla="*/ 1908 w 4992"/>
              <a:gd name="T29" fmla="*/ 3501 h 5760"/>
              <a:gd name="T30" fmla="*/ 2435 w 4992"/>
              <a:gd name="T31" fmla="*/ 2981 h 5760"/>
              <a:gd name="T32" fmla="*/ 1211 w 4992"/>
              <a:gd name="T33" fmla="*/ 3515 h 5760"/>
              <a:gd name="T34" fmla="*/ 2467 w 4992"/>
              <a:gd name="T35" fmla="*/ 2836 h 5760"/>
              <a:gd name="T36" fmla="*/ 2467 w 4992"/>
              <a:gd name="T37" fmla="*/ 3658 h 5760"/>
              <a:gd name="T38" fmla="*/ 1797 w 4992"/>
              <a:gd name="T39" fmla="*/ 2892 h 5760"/>
              <a:gd name="T40" fmla="*/ 1371 w 4992"/>
              <a:gd name="T41" fmla="*/ 2993 h 5760"/>
              <a:gd name="T42" fmla="*/ 578 w 4992"/>
              <a:gd name="T43" fmla="*/ 3603 h 5760"/>
              <a:gd name="T44" fmla="*/ 3126 w 4992"/>
              <a:gd name="T45" fmla="*/ 2004 h 5760"/>
              <a:gd name="T46" fmla="*/ 3653 w 4992"/>
              <a:gd name="T47" fmla="*/ 2524 h 5760"/>
              <a:gd name="T48" fmla="*/ 1905 w 4992"/>
              <a:gd name="T49" fmla="*/ 2529 h 5760"/>
              <a:gd name="T50" fmla="*/ 2425 w 4992"/>
              <a:gd name="T51" fmla="*/ 2002 h 5760"/>
              <a:gd name="T52" fmla="*/ 1216 w 4992"/>
              <a:gd name="T53" fmla="*/ 2536 h 5760"/>
              <a:gd name="T54" fmla="*/ 3710 w 4992"/>
              <a:gd name="T55" fmla="*/ 1871 h 5760"/>
              <a:gd name="T56" fmla="*/ 3639 w 4992"/>
              <a:gd name="T57" fmla="*/ 2685 h 5760"/>
              <a:gd name="T58" fmla="*/ 3030 w 4992"/>
              <a:gd name="T59" fmla="*/ 1890 h 5760"/>
              <a:gd name="T60" fmla="*/ 2585 w 4992"/>
              <a:gd name="T61" fmla="*/ 2524 h 5760"/>
              <a:gd name="T62" fmla="*/ 1772 w 4992"/>
              <a:gd name="T63" fmla="*/ 2594 h 5760"/>
              <a:gd name="T64" fmla="*/ 1247 w 4992"/>
              <a:gd name="T65" fmla="*/ 1859 h 5760"/>
              <a:gd name="T66" fmla="*/ 1247 w 4992"/>
              <a:gd name="T67" fmla="*/ 2681 h 5760"/>
              <a:gd name="T68" fmla="*/ 578 w 4992"/>
              <a:gd name="T69" fmla="*/ 1915 h 5760"/>
              <a:gd name="T70" fmla="*/ 325 w 4992"/>
              <a:gd name="T71" fmla="*/ 4769 h 5760"/>
              <a:gd name="T72" fmla="*/ 1760 w 4992"/>
              <a:gd name="T73" fmla="*/ 3934 h 5760"/>
              <a:gd name="T74" fmla="*/ 2889 w 4992"/>
              <a:gd name="T75" fmla="*/ 3374 h 5760"/>
              <a:gd name="T76" fmla="*/ 3740 w 4992"/>
              <a:gd name="T77" fmla="*/ 2868 h 5760"/>
              <a:gd name="T78" fmla="*/ 2845 w 4992"/>
              <a:gd name="T79" fmla="*/ 1075 h 5760"/>
              <a:gd name="T80" fmla="*/ 2641 w 4992"/>
              <a:gd name="T81" fmla="*/ 972 h 5760"/>
              <a:gd name="T82" fmla="*/ 2883 w 4992"/>
              <a:gd name="T83" fmla="*/ 1210 h 5760"/>
              <a:gd name="T84" fmla="*/ 1696 w 4992"/>
              <a:gd name="T85" fmla="*/ 1119 h 5760"/>
              <a:gd name="T86" fmla="*/ 1474 w 4992"/>
              <a:gd name="T87" fmla="*/ 1039 h 5760"/>
              <a:gd name="T88" fmla="*/ 1795 w 4992"/>
              <a:gd name="T89" fmla="*/ 1152 h 5760"/>
              <a:gd name="T90" fmla="*/ 166 w 4992"/>
              <a:gd name="T91" fmla="*/ 827 h 5760"/>
              <a:gd name="T92" fmla="*/ 2845 w 4992"/>
              <a:gd name="T93" fmla="*/ 728 h 5760"/>
              <a:gd name="T94" fmla="*/ 3019 w 4992"/>
              <a:gd name="T95" fmla="*/ 1281 h 5760"/>
              <a:gd name="T96" fmla="*/ 2463 w 4992"/>
              <a:gd name="T97" fmla="*/ 1135 h 5760"/>
              <a:gd name="T98" fmla="*/ 1762 w 4992"/>
              <a:gd name="T99" fmla="*/ 782 h 5760"/>
              <a:gd name="T100" fmla="*/ 1802 w 4992"/>
              <a:gd name="T101" fmla="*/ 1353 h 5760"/>
              <a:gd name="T102" fmla="*/ 1328 w 4992"/>
              <a:gd name="T103" fmla="*/ 1023 h 5760"/>
              <a:gd name="T104" fmla="*/ 1696 w 4992"/>
              <a:gd name="T105" fmla="*/ 30 h 5760"/>
              <a:gd name="T106" fmla="*/ 2831 w 4992"/>
              <a:gd name="T107" fmla="*/ 30 h 5760"/>
              <a:gd name="T108" fmla="*/ 4373 w 4992"/>
              <a:gd name="T109" fmla="*/ 904 h 5760"/>
              <a:gd name="T110" fmla="*/ 4987 w 4992"/>
              <a:gd name="T111" fmla="*/ 4320 h 5760"/>
              <a:gd name="T112" fmla="*/ 4336 w 4992"/>
              <a:gd name="T113" fmla="*/ 5578 h 5760"/>
              <a:gd name="T114" fmla="*/ 2916 w 4992"/>
              <a:gd name="T115" fmla="*/ 5523 h 5760"/>
              <a:gd name="T116" fmla="*/ 77 w 4992"/>
              <a:gd name="T117" fmla="*/ 4800 h 5760"/>
              <a:gd name="T118" fmla="*/ 267 w 4992"/>
              <a:gd name="T119" fmla="*/ 586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92" h="5760">
                <a:moveTo>
                  <a:pt x="1917" y="3959"/>
                </a:moveTo>
                <a:lnTo>
                  <a:pt x="1912" y="3960"/>
                </a:lnTo>
                <a:lnTo>
                  <a:pt x="1908" y="3962"/>
                </a:lnTo>
                <a:lnTo>
                  <a:pt x="1905" y="3967"/>
                </a:lnTo>
                <a:lnTo>
                  <a:pt x="1903" y="3973"/>
                </a:lnTo>
                <a:lnTo>
                  <a:pt x="1903" y="4481"/>
                </a:lnTo>
                <a:lnTo>
                  <a:pt x="1905" y="4486"/>
                </a:lnTo>
                <a:lnTo>
                  <a:pt x="1908" y="4489"/>
                </a:lnTo>
                <a:lnTo>
                  <a:pt x="1912" y="4493"/>
                </a:lnTo>
                <a:lnTo>
                  <a:pt x="1917" y="4493"/>
                </a:lnTo>
                <a:lnTo>
                  <a:pt x="2351" y="4493"/>
                </a:lnTo>
                <a:lnTo>
                  <a:pt x="2350" y="4465"/>
                </a:lnTo>
                <a:lnTo>
                  <a:pt x="2350" y="4437"/>
                </a:lnTo>
                <a:lnTo>
                  <a:pt x="2353" y="4337"/>
                </a:lnTo>
                <a:lnTo>
                  <a:pt x="2365" y="4240"/>
                </a:lnTo>
                <a:lnTo>
                  <a:pt x="2383" y="4142"/>
                </a:lnTo>
                <a:lnTo>
                  <a:pt x="2409" y="4049"/>
                </a:lnTo>
                <a:lnTo>
                  <a:pt x="2440" y="3959"/>
                </a:lnTo>
                <a:lnTo>
                  <a:pt x="1917" y="3959"/>
                </a:lnTo>
                <a:close/>
                <a:moveTo>
                  <a:pt x="703" y="3959"/>
                </a:moveTo>
                <a:lnTo>
                  <a:pt x="698" y="3960"/>
                </a:lnTo>
                <a:lnTo>
                  <a:pt x="694" y="3962"/>
                </a:lnTo>
                <a:lnTo>
                  <a:pt x="691" y="3967"/>
                </a:lnTo>
                <a:lnTo>
                  <a:pt x="689" y="3973"/>
                </a:lnTo>
                <a:lnTo>
                  <a:pt x="689" y="4481"/>
                </a:lnTo>
                <a:lnTo>
                  <a:pt x="691" y="4486"/>
                </a:lnTo>
                <a:lnTo>
                  <a:pt x="694" y="4489"/>
                </a:lnTo>
                <a:lnTo>
                  <a:pt x="698" y="4493"/>
                </a:lnTo>
                <a:lnTo>
                  <a:pt x="703" y="4493"/>
                </a:lnTo>
                <a:lnTo>
                  <a:pt x="1211" y="4493"/>
                </a:lnTo>
                <a:lnTo>
                  <a:pt x="1216" y="4493"/>
                </a:lnTo>
                <a:lnTo>
                  <a:pt x="1219" y="4489"/>
                </a:lnTo>
                <a:lnTo>
                  <a:pt x="1223" y="4486"/>
                </a:lnTo>
                <a:lnTo>
                  <a:pt x="1225" y="4481"/>
                </a:lnTo>
                <a:lnTo>
                  <a:pt x="1225" y="3973"/>
                </a:lnTo>
                <a:lnTo>
                  <a:pt x="1223" y="3967"/>
                </a:lnTo>
                <a:lnTo>
                  <a:pt x="1219" y="3962"/>
                </a:lnTo>
                <a:lnTo>
                  <a:pt x="1216" y="3960"/>
                </a:lnTo>
                <a:lnTo>
                  <a:pt x="1211" y="3959"/>
                </a:lnTo>
                <a:lnTo>
                  <a:pt x="703" y="3959"/>
                </a:lnTo>
                <a:close/>
                <a:moveTo>
                  <a:pt x="703" y="3810"/>
                </a:moveTo>
                <a:lnTo>
                  <a:pt x="1211" y="3810"/>
                </a:lnTo>
                <a:lnTo>
                  <a:pt x="1247" y="3816"/>
                </a:lnTo>
                <a:lnTo>
                  <a:pt x="1282" y="3828"/>
                </a:lnTo>
                <a:lnTo>
                  <a:pt x="1312" y="3847"/>
                </a:lnTo>
                <a:lnTo>
                  <a:pt x="1336" y="3871"/>
                </a:lnTo>
                <a:lnTo>
                  <a:pt x="1355" y="3901"/>
                </a:lnTo>
                <a:lnTo>
                  <a:pt x="1368" y="3934"/>
                </a:lnTo>
                <a:lnTo>
                  <a:pt x="1371" y="3973"/>
                </a:lnTo>
                <a:lnTo>
                  <a:pt x="1371" y="4481"/>
                </a:lnTo>
                <a:lnTo>
                  <a:pt x="1368" y="4517"/>
                </a:lnTo>
                <a:lnTo>
                  <a:pt x="1355" y="4550"/>
                </a:lnTo>
                <a:lnTo>
                  <a:pt x="1336" y="4580"/>
                </a:lnTo>
                <a:lnTo>
                  <a:pt x="1312" y="4606"/>
                </a:lnTo>
                <a:lnTo>
                  <a:pt x="1282" y="4625"/>
                </a:lnTo>
                <a:lnTo>
                  <a:pt x="1247" y="4638"/>
                </a:lnTo>
                <a:lnTo>
                  <a:pt x="1211" y="4641"/>
                </a:lnTo>
                <a:lnTo>
                  <a:pt x="703" y="4641"/>
                </a:lnTo>
                <a:lnTo>
                  <a:pt x="667" y="4638"/>
                </a:lnTo>
                <a:lnTo>
                  <a:pt x="632" y="4625"/>
                </a:lnTo>
                <a:lnTo>
                  <a:pt x="602" y="4606"/>
                </a:lnTo>
                <a:lnTo>
                  <a:pt x="578" y="4580"/>
                </a:lnTo>
                <a:lnTo>
                  <a:pt x="558" y="4550"/>
                </a:lnTo>
                <a:lnTo>
                  <a:pt x="546" y="4517"/>
                </a:lnTo>
                <a:lnTo>
                  <a:pt x="543" y="4481"/>
                </a:lnTo>
                <a:lnTo>
                  <a:pt x="543" y="3973"/>
                </a:lnTo>
                <a:lnTo>
                  <a:pt x="546" y="3934"/>
                </a:lnTo>
                <a:lnTo>
                  <a:pt x="558" y="3901"/>
                </a:lnTo>
                <a:lnTo>
                  <a:pt x="578" y="3871"/>
                </a:lnTo>
                <a:lnTo>
                  <a:pt x="602" y="3847"/>
                </a:lnTo>
                <a:lnTo>
                  <a:pt x="632" y="3828"/>
                </a:lnTo>
                <a:lnTo>
                  <a:pt x="667" y="3816"/>
                </a:lnTo>
                <a:lnTo>
                  <a:pt x="703" y="3810"/>
                </a:lnTo>
                <a:close/>
                <a:moveTo>
                  <a:pt x="3670" y="3409"/>
                </a:moveTo>
                <a:lnTo>
                  <a:pt x="3694" y="3412"/>
                </a:lnTo>
                <a:lnTo>
                  <a:pt x="3714" y="3423"/>
                </a:lnTo>
                <a:lnTo>
                  <a:pt x="3729" y="3439"/>
                </a:lnTo>
                <a:lnTo>
                  <a:pt x="3741" y="3459"/>
                </a:lnTo>
                <a:lnTo>
                  <a:pt x="3745" y="3482"/>
                </a:lnTo>
                <a:lnTo>
                  <a:pt x="3745" y="4364"/>
                </a:lnTo>
                <a:lnTo>
                  <a:pt x="4266" y="4364"/>
                </a:lnTo>
                <a:lnTo>
                  <a:pt x="4289" y="4367"/>
                </a:lnTo>
                <a:lnTo>
                  <a:pt x="4310" y="4378"/>
                </a:lnTo>
                <a:lnTo>
                  <a:pt x="4326" y="4393"/>
                </a:lnTo>
                <a:lnTo>
                  <a:pt x="4336" y="4414"/>
                </a:lnTo>
                <a:lnTo>
                  <a:pt x="4340" y="4437"/>
                </a:lnTo>
                <a:lnTo>
                  <a:pt x="4336" y="4461"/>
                </a:lnTo>
                <a:lnTo>
                  <a:pt x="4326" y="4481"/>
                </a:lnTo>
                <a:lnTo>
                  <a:pt x="4310" y="4498"/>
                </a:lnTo>
                <a:lnTo>
                  <a:pt x="4289" y="4509"/>
                </a:lnTo>
                <a:lnTo>
                  <a:pt x="4266" y="4512"/>
                </a:lnTo>
                <a:lnTo>
                  <a:pt x="3670" y="4512"/>
                </a:lnTo>
                <a:lnTo>
                  <a:pt x="3647" y="4509"/>
                </a:lnTo>
                <a:lnTo>
                  <a:pt x="3626" y="4498"/>
                </a:lnTo>
                <a:lnTo>
                  <a:pt x="3611" y="4481"/>
                </a:lnTo>
                <a:lnTo>
                  <a:pt x="3600" y="4461"/>
                </a:lnTo>
                <a:lnTo>
                  <a:pt x="3597" y="4437"/>
                </a:lnTo>
                <a:lnTo>
                  <a:pt x="3597" y="3482"/>
                </a:lnTo>
                <a:lnTo>
                  <a:pt x="3600" y="3459"/>
                </a:lnTo>
                <a:lnTo>
                  <a:pt x="3611" y="3439"/>
                </a:lnTo>
                <a:lnTo>
                  <a:pt x="3626" y="3423"/>
                </a:lnTo>
                <a:lnTo>
                  <a:pt x="3647" y="3412"/>
                </a:lnTo>
                <a:lnTo>
                  <a:pt x="3670" y="3409"/>
                </a:lnTo>
                <a:close/>
                <a:moveTo>
                  <a:pt x="3670" y="3264"/>
                </a:moveTo>
                <a:lnTo>
                  <a:pt x="3558" y="3269"/>
                </a:lnTo>
                <a:lnTo>
                  <a:pt x="3448" y="3285"/>
                </a:lnTo>
                <a:lnTo>
                  <a:pt x="3342" y="3311"/>
                </a:lnTo>
                <a:lnTo>
                  <a:pt x="3239" y="3346"/>
                </a:lnTo>
                <a:lnTo>
                  <a:pt x="3141" y="3390"/>
                </a:lnTo>
                <a:lnTo>
                  <a:pt x="3049" y="3442"/>
                </a:lnTo>
                <a:lnTo>
                  <a:pt x="2960" y="3503"/>
                </a:lnTo>
                <a:lnTo>
                  <a:pt x="2880" y="3571"/>
                </a:lnTo>
                <a:lnTo>
                  <a:pt x="2805" y="3646"/>
                </a:lnTo>
                <a:lnTo>
                  <a:pt x="2737" y="3728"/>
                </a:lnTo>
                <a:lnTo>
                  <a:pt x="2676" y="3816"/>
                </a:lnTo>
                <a:lnTo>
                  <a:pt x="2623" y="3908"/>
                </a:lnTo>
                <a:lnTo>
                  <a:pt x="2580" y="4006"/>
                </a:lnTo>
                <a:lnTo>
                  <a:pt x="2543" y="4109"/>
                </a:lnTo>
                <a:lnTo>
                  <a:pt x="2519" y="4215"/>
                </a:lnTo>
                <a:lnTo>
                  <a:pt x="2501" y="4325"/>
                </a:lnTo>
                <a:lnTo>
                  <a:pt x="2496" y="4437"/>
                </a:lnTo>
                <a:lnTo>
                  <a:pt x="2501" y="4550"/>
                </a:lnTo>
                <a:lnTo>
                  <a:pt x="2519" y="4660"/>
                </a:lnTo>
                <a:lnTo>
                  <a:pt x="2543" y="4767"/>
                </a:lnTo>
                <a:lnTo>
                  <a:pt x="2580" y="4870"/>
                </a:lnTo>
                <a:lnTo>
                  <a:pt x="2623" y="4968"/>
                </a:lnTo>
                <a:lnTo>
                  <a:pt x="2676" y="5060"/>
                </a:lnTo>
                <a:lnTo>
                  <a:pt x="2737" y="5147"/>
                </a:lnTo>
                <a:lnTo>
                  <a:pt x="2805" y="5229"/>
                </a:lnTo>
                <a:lnTo>
                  <a:pt x="2880" y="5304"/>
                </a:lnTo>
                <a:lnTo>
                  <a:pt x="2960" y="5373"/>
                </a:lnTo>
                <a:lnTo>
                  <a:pt x="3049" y="5434"/>
                </a:lnTo>
                <a:lnTo>
                  <a:pt x="3141" y="5486"/>
                </a:lnTo>
                <a:lnTo>
                  <a:pt x="3239" y="5530"/>
                </a:lnTo>
                <a:lnTo>
                  <a:pt x="3342" y="5565"/>
                </a:lnTo>
                <a:lnTo>
                  <a:pt x="3448" y="5591"/>
                </a:lnTo>
                <a:lnTo>
                  <a:pt x="3558" y="5606"/>
                </a:lnTo>
                <a:lnTo>
                  <a:pt x="3670" y="5612"/>
                </a:lnTo>
                <a:lnTo>
                  <a:pt x="3783" y="5606"/>
                </a:lnTo>
                <a:lnTo>
                  <a:pt x="3893" y="5591"/>
                </a:lnTo>
                <a:lnTo>
                  <a:pt x="4000" y="5565"/>
                </a:lnTo>
                <a:lnTo>
                  <a:pt x="4103" y="5530"/>
                </a:lnTo>
                <a:lnTo>
                  <a:pt x="4200" y="5486"/>
                </a:lnTo>
                <a:lnTo>
                  <a:pt x="4293" y="5434"/>
                </a:lnTo>
                <a:lnTo>
                  <a:pt x="4380" y="5373"/>
                </a:lnTo>
                <a:lnTo>
                  <a:pt x="4462" y="5304"/>
                </a:lnTo>
                <a:lnTo>
                  <a:pt x="4537" y="5229"/>
                </a:lnTo>
                <a:lnTo>
                  <a:pt x="4605" y="5147"/>
                </a:lnTo>
                <a:lnTo>
                  <a:pt x="4666" y="5060"/>
                </a:lnTo>
                <a:lnTo>
                  <a:pt x="4718" y="4968"/>
                </a:lnTo>
                <a:lnTo>
                  <a:pt x="4762" y="4870"/>
                </a:lnTo>
                <a:lnTo>
                  <a:pt x="4797" y="4767"/>
                </a:lnTo>
                <a:lnTo>
                  <a:pt x="4823" y="4660"/>
                </a:lnTo>
                <a:lnTo>
                  <a:pt x="4839" y="4550"/>
                </a:lnTo>
                <a:lnTo>
                  <a:pt x="4844" y="4437"/>
                </a:lnTo>
                <a:lnTo>
                  <a:pt x="4839" y="4325"/>
                </a:lnTo>
                <a:lnTo>
                  <a:pt x="4823" y="4215"/>
                </a:lnTo>
                <a:lnTo>
                  <a:pt x="4797" y="4109"/>
                </a:lnTo>
                <a:lnTo>
                  <a:pt x="4762" y="4006"/>
                </a:lnTo>
                <a:lnTo>
                  <a:pt x="4718" y="3908"/>
                </a:lnTo>
                <a:lnTo>
                  <a:pt x="4666" y="3816"/>
                </a:lnTo>
                <a:lnTo>
                  <a:pt x="4605" y="3728"/>
                </a:lnTo>
                <a:lnTo>
                  <a:pt x="4537" y="3646"/>
                </a:lnTo>
                <a:lnTo>
                  <a:pt x="4462" y="3571"/>
                </a:lnTo>
                <a:lnTo>
                  <a:pt x="4380" y="3503"/>
                </a:lnTo>
                <a:lnTo>
                  <a:pt x="4293" y="3442"/>
                </a:lnTo>
                <a:lnTo>
                  <a:pt x="4200" y="3390"/>
                </a:lnTo>
                <a:lnTo>
                  <a:pt x="4103" y="3346"/>
                </a:lnTo>
                <a:lnTo>
                  <a:pt x="4000" y="3311"/>
                </a:lnTo>
                <a:lnTo>
                  <a:pt x="3893" y="3285"/>
                </a:lnTo>
                <a:lnTo>
                  <a:pt x="3783" y="3269"/>
                </a:lnTo>
                <a:lnTo>
                  <a:pt x="3670" y="3264"/>
                </a:lnTo>
                <a:close/>
                <a:moveTo>
                  <a:pt x="3131" y="2979"/>
                </a:moveTo>
                <a:lnTo>
                  <a:pt x="3126" y="2981"/>
                </a:lnTo>
                <a:lnTo>
                  <a:pt x="3122" y="2985"/>
                </a:lnTo>
                <a:lnTo>
                  <a:pt x="3119" y="2988"/>
                </a:lnTo>
                <a:lnTo>
                  <a:pt x="3117" y="2993"/>
                </a:lnTo>
                <a:lnTo>
                  <a:pt x="3117" y="3238"/>
                </a:lnTo>
                <a:lnTo>
                  <a:pt x="3218" y="3198"/>
                </a:lnTo>
                <a:lnTo>
                  <a:pt x="3321" y="3163"/>
                </a:lnTo>
                <a:lnTo>
                  <a:pt x="3429" y="3138"/>
                </a:lnTo>
                <a:lnTo>
                  <a:pt x="3539" y="3123"/>
                </a:lnTo>
                <a:lnTo>
                  <a:pt x="3653" y="3116"/>
                </a:lnTo>
                <a:lnTo>
                  <a:pt x="3653" y="2993"/>
                </a:lnTo>
                <a:lnTo>
                  <a:pt x="3651" y="2988"/>
                </a:lnTo>
                <a:lnTo>
                  <a:pt x="3647" y="2985"/>
                </a:lnTo>
                <a:lnTo>
                  <a:pt x="3644" y="2981"/>
                </a:lnTo>
                <a:lnTo>
                  <a:pt x="3639" y="2979"/>
                </a:lnTo>
                <a:lnTo>
                  <a:pt x="3131" y="2979"/>
                </a:lnTo>
                <a:close/>
                <a:moveTo>
                  <a:pt x="1922" y="2979"/>
                </a:moveTo>
                <a:lnTo>
                  <a:pt x="1917" y="2981"/>
                </a:lnTo>
                <a:lnTo>
                  <a:pt x="1912" y="2985"/>
                </a:lnTo>
                <a:lnTo>
                  <a:pt x="1910" y="2988"/>
                </a:lnTo>
                <a:lnTo>
                  <a:pt x="1908" y="2993"/>
                </a:lnTo>
                <a:lnTo>
                  <a:pt x="1908" y="3501"/>
                </a:lnTo>
                <a:lnTo>
                  <a:pt x="1910" y="3507"/>
                </a:lnTo>
                <a:lnTo>
                  <a:pt x="1912" y="3510"/>
                </a:lnTo>
                <a:lnTo>
                  <a:pt x="1917" y="3514"/>
                </a:lnTo>
                <a:lnTo>
                  <a:pt x="1922" y="3515"/>
                </a:lnTo>
                <a:lnTo>
                  <a:pt x="2430" y="3515"/>
                </a:lnTo>
                <a:lnTo>
                  <a:pt x="2435" y="3514"/>
                </a:lnTo>
                <a:lnTo>
                  <a:pt x="2439" y="3510"/>
                </a:lnTo>
                <a:lnTo>
                  <a:pt x="2442" y="3507"/>
                </a:lnTo>
                <a:lnTo>
                  <a:pt x="2442" y="3501"/>
                </a:lnTo>
                <a:lnTo>
                  <a:pt x="2442" y="2993"/>
                </a:lnTo>
                <a:lnTo>
                  <a:pt x="2442" y="2988"/>
                </a:lnTo>
                <a:lnTo>
                  <a:pt x="2439" y="2985"/>
                </a:lnTo>
                <a:lnTo>
                  <a:pt x="2435" y="2981"/>
                </a:lnTo>
                <a:lnTo>
                  <a:pt x="2430" y="2979"/>
                </a:lnTo>
                <a:lnTo>
                  <a:pt x="1922" y="2979"/>
                </a:lnTo>
                <a:close/>
                <a:moveTo>
                  <a:pt x="703" y="2979"/>
                </a:moveTo>
                <a:lnTo>
                  <a:pt x="698" y="2981"/>
                </a:lnTo>
                <a:lnTo>
                  <a:pt x="694" y="2985"/>
                </a:lnTo>
                <a:lnTo>
                  <a:pt x="691" y="2988"/>
                </a:lnTo>
                <a:lnTo>
                  <a:pt x="689" y="2993"/>
                </a:lnTo>
                <a:lnTo>
                  <a:pt x="689" y="3501"/>
                </a:lnTo>
                <a:lnTo>
                  <a:pt x="691" y="3507"/>
                </a:lnTo>
                <a:lnTo>
                  <a:pt x="694" y="3510"/>
                </a:lnTo>
                <a:lnTo>
                  <a:pt x="698" y="3514"/>
                </a:lnTo>
                <a:lnTo>
                  <a:pt x="703" y="3515"/>
                </a:lnTo>
                <a:lnTo>
                  <a:pt x="1211" y="3515"/>
                </a:lnTo>
                <a:lnTo>
                  <a:pt x="1216" y="3514"/>
                </a:lnTo>
                <a:lnTo>
                  <a:pt x="1219" y="3512"/>
                </a:lnTo>
                <a:lnTo>
                  <a:pt x="1223" y="3507"/>
                </a:lnTo>
                <a:lnTo>
                  <a:pt x="1225" y="3501"/>
                </a:lnTo>
                <a:lnTo>
                  <a:pt x="1225" y="2993"/>
                </a:lnTo>
                <a:lnTo>
                  <a:pt x="1223" y="2988"/>
                </a:lnTo>
                <a:lnTo>
                  <a:pt x="1219" y="2985"/>
                </a:lnTo>
                <a:lnTo>
                  <a:pt x="1216" y="2981"/>
                </a:lnTo>
                <a:lnTo>
                  <a:pt x="1211" y="2979"/>
                </a:lnTo>
                <a:lnTo>
                  <a:pt x="703" y="2979"/>
                </a:lnTo>
                <a:close/>
                <a:moveTo>
                  <a:pt x="1922" y="2833"/>
                </a:moveTo>
                <a:lnTo>
                  <a:pt x="2430" y="2833"/>
                </a:lnTo>
                <a:lnTo>
                  <a:pt x="2467" y="2836"/>
                </a:lnTo>
                <a:lnTo>
                  <a:pt x="2500" y="2849"/>
                </a:lnTo>
                <a:lnTo>
                  <a:pt x="2531" y="2868"/>
                </a:lnTo>
                <a:lnTo>
                  <a:pt x="2555" y="2892"/>
                </a:lnTo>
                <a:lnTo>
                  <a:pt x="2575" y="2924"/>
                </a:lnTo>
                <a:lnTo>
                  <a:pt x="2587" y="2957"/>
                </a:lnTo>
                <a:lnTo>
                  <a:pt x="2590" y="2993"/>
                </a:lnTo>
                <a:lnTo>
                  <a:pt x="2590" y="3501"/>
                </a:lnTo>
                <a:lnTo>
                  <a:pt x="2587" y="3538"/>
                </a:lnTo>
                <a:lnTo>
                  <a:pt x="2575" y="3573"/>
                </a:lnTo>
                <a:lnTo>
                  <a:pt x="2555" y="3603"/>
                </a:lnTo>
                <a:lnTo>
                  <a:pt x="2531" y="3627"/>
                </a:lnTo>
                <a:lnTo>
                  <a:pt x="2500" y="3646"/>
                </a:lnTo>
                <a:lnTo>
                  <a:pt x="2467" y="3658"/>
                </a:lnTo>
                <a:lnTo>
                  <a:pt x="2430" y="3664"/>
                </a:lnTo>
                <a:lnTo>
                  <a:pt x="1922" y="3664"/>
                </a:lnTo>
                <a:lnTo>
                  <a:pt x="1886" y="3658"/>
                </a:lnTo>
                <a:lnTo>
                  <a:pt x="1851" y="3646"/>
                </a:lnTo>
                <a:lnTo>
                  <a:pt x="1821" y="3627"/>
                </a:lnTo>
                <a:lnTo>
                  <a:pt x="1797" y="3603"/>
                </a:lnTo>
                <a:lnTo>
                  <a:pt x="1778" y="3573"/>
                </a:lnTo>
                <a:lnTo>
                  <a:pt x="1765" y="3538"/>
                </a:lnTo>
                <a:lnTo>
                  <a:pt x="1760" y="3501"/>
                </a:lnTo>
                <a:lnTo>
                  <a:pt x="1760" y="2993"/>
                </a:lnTo>
                <a:lnTo>
                  <a:pt x="1765" y="2957"/>
                </a:lnTo>
                <a:lnTo>
                  <a:pt x="1778" y="2924"/>
                </a:lnTo>
                <a:lnTo>
                  <a:pt x="1797" y="2892"/>
                </a:lnTo>
                <a:lnTo>
                  <a:pt x="1821" y="2868"/>
                </a:lnTo>
                <a:lnTo>
                  <a:pt x="1851" y="2849"/>
                </a:lnTo>
                <a:lnTo>
                  <a:pt x="1886" y="2836"/>
                </a:lnTo>
                <a:lnTo>
                  <a:pt x="1922" y="2833"/>
                </a:lnTo>
                <a:close/>
                <a:moveTo>
                  <a:pt x="703" y="2833"/>
                </a:moveTo>
                <a:lnTo>
                  <a:pt x="1211" y="2833"/>
                </a:lnTo>
                <a:lnTo>
                  <a:pt x="1247" y="2836"/>
                </a:lnTo>
                <a:lnTo>
                  <a:pt x="1282" y="2849"/>
                </a:lnTo>
                <a:lnTo>
                  <a:pt x="1312" y="2868"/>
                </a:lnTo>
                <a:lnTo>
                  <a:pt x="1336" y="2892"/>
                </a:lnTo>
                <a:lnTo>
                  <a:pt x="1355" y="2924"/>
                </a:lnTo>
                <a:lnTo>
                  <a:pt x="1368" y="2957"/>
                </a:lnTo>
                <a:lnTo>
                  <a:pt x="1371" y="2993"/>
                </a:lnTo>
                <a:lnTo>
                  <a:pt x="1371" y="3501"/>
                </a:lnTo>
                <a:lnTo>
                  <a:pt x="1368" y="3538"/>
                </a:lnTo>
                <a:lnTo>
                  <a:pt x="1355" y="3573"/>
                </a:lnTo>
                <a:lnTo>
                  <a:pt x="1336" y="3603"/>
                </a:lnTo>
                <a:lnTo>
                  <a:pt x="1312" y="3627"/>
                </a:lnTo>
                <a:lnTo>
                  <a:pt x="1282" y="3646"/>
                </a:lnTo>
                <a:lnTo>
                  <a:pt x="1247" y="3658"/>
                </a:lnTo>
                <a:lnTo>
                  <a:pt x="1211" y="3664"/>
                </a:lnTo>
                <a:lnTo>
                  <a:pt x="703" y="3664"/>
                </a:lnTo>
                <a:lnTo>
                  <a:pt x="667" y="3658"/>
                </a:lnTo>
                <a:lnTo>
                  <a:pt x="632" y="3646"/>
                </a:lnTo>
                <a:lnTo>
                  <a:pt x="602" y="3627"/>
                </a:lnTo>
                <a:lnTo>
                  <a:pt x="578" y="3603"/>
                </a:lnTo>
                <a:lnTo>
                  <a:pt x="558" y="3573"/>
                </a:lnTo>
                <a:lnTo>
                  <a:pt x="546" y="3538"/>
                </a:lnTo>
                <a:lnTo>
                  <a:pt x="543" y="3501"/>
                </a:lnTo>
                <a:lnTo>
                  <a:pt x="543" y="2993"/>
                </a:lnTo>
                <a:lnTo>
                  <a:pt x="546" y="2957"/>
                </a:lnTo>
                <a:lnTo>
                  <a:pt x="558" y="2924"/>
                </a:lnTo>
                <a:lnTo>
                  <a:pt x="578" y="2892"/>
                </a:lnTo>
                <a:lnTo>
                  <a:pt x="602" y="2868"/>
                </a:lnTo>
                <a:lnTo>
                  <a:pt x="632" y="2849"/>
                </a:lnTo>
                <a:lnTo>
                  <a:pt x="667" y="2836"/>
                </a:lnTo>
                <a:lnTo>
                  <a:pt x="703" y="2833"/>
                </a:lnTo>
                <a:close/>
                <a:moveTo>
                  <a:pt x="3131" y="2002"/>
                </a:moveTo>
                <a:lnTo>
                  <a:pt x="3126" y="2004"/>
                </a:lnTo>
                <a:lnTo>
                  <a:pt x="3122" y="2006"/>
                </a:lnTo>
                <a:lnTo>
                  <a:pt x="3119" y="2011"/>
                </a:lnTo>
                <a:lnTo>
                  <a:pt x="3117" y="2016"/>
                </a:lnTo>
                <a:lnTo>
                  <a:pt x="3117" y="2524"/>
                </a:lnTo>
                <a:lnTo>
                  <a:pt x="3119" y="2529"/>
                </a:lnTo>
                <a:lnTo>
                  <a:pt x="3122" y="2533"/>
                </a:lnTo>
                <a:lnTo>
                  <a:pt x="3126" y="2536"/>
                </a:lnTo>
                <a:lnTo>
                  <a:pt x="3131" y="2536"/>
                </a:lnTo>
                <a:lnTo>
                  <a:pt x="3639" y="2536"/>
                </a:lnTo>
                <a:lnTo>
                  <a:pt x="3644" y="2536"/>
                </a:lnTo>
                <a:lnTo>
                  <a:pt x="3647" y="2533"/>
                </a:lnTo>
                <a:lnTo>
                  <a:pt x="3651" y="2529"/>
                </a:lnTo>
                <a:lnTo>
                  <a:pt x="3653" y="2524"/>
                </a:lnTo>
                <a:lnTo>
                  <a:pt x="3653" y="2016"/>
                </a:lnTo>
                <a:lnTo>
                  <a:pt x="3651" y="2011"/>
                </a:lnTo>
                <a:lnTo>
                  <a:pt x="3647" y="2006"/>
                </a:lnTo>
                <a:lnTo>
                  <a:pt x="3644" y="2004"/>
                </a:lnTo>
                <a:lnTo>
                  <a:pt x="3639" y="2002"/>
                </a:lnTo>
                <a:lnTo>
                  <a:pt x="3131" y="2002"/>
                </a:lnTo>
                <a:close/>
                <a:moveTo>
                  <a:pt x="1917" y="2002"/>
                </a:moveTo>
                <a:lnTo>
                  <a:pt x="1912" y="2004"/>
                </a:lnTo>
                <a:lnTo>
                  <a:pt x="1908" y="2006"/>
                </a:lnTo>
                <a:lnTo>
                  <a:pt x="1905" y="2011"/>
                </a:lnTo>
                <a:lnTo>
                  <a:pt x="1903" y="2016"/>
                </a:lnTo>
                <a:lnTo>
                  <a:pt x="1903" y="2524"/>
                </a:lnTo>
                <a:lnTo>
                  <a:pt x="1905" y="2529"/>
                </a:lnTo>
                <a:lnTo>
                  <a:pt x="1908" y="2533"/>
                </a:lnTo>
                <a:lnTo>
                  <a:pt x="1912" y="2536"/>
                </a:lnTo>
                <a:lnTo>
                  <a:pt x="1917" y="2536"/>
                </a:lnTo>
                <a:lnTo>
                  <a:pt x="2425" y="2536"/>
                </a:lnTo>
                <a:lnTo>
                  <a:pt x="2430" y="2536"/>
                </a:lnTo>
                <a:lnTo>
                  <a:pt x="2433" y="2533"/>
                </a:lnTo>
                <a:lnTo>
                  <a:pt x="2437" y="2529"/>
                </a:lnTo>
                <a:lnTo>
                  <a:pt x="2439" y="2524"/>
                </a:lnTo>
                <a:lnTo>
                  <a:pt x="2439" y="2016"/>
                </a:lnTo>
                <a:lnTo>
                  <a:pt x="2437" y="2011"/>
                </a:lnTo>
                <a:lnTo>
                  <a:pt x="2433" y="2006"/>
                </a:lnTo>
                <a:lnTo>
                  <a:pt x="2430" y="2004"/>
                </a:lnTo>
                <a:lnTo>
                  <a:pt x="2425" y="2002"/>
                </a:lnTo>
                <a:lnTo>
                  <a:pt x="1917" y="2002"/>
                </a:lnTo>
                <a:close/>
                <a:moveTo>
                  <a:pt x="703" y="2002"/>
                </a:moveTo>
                <a:lnTo>
                  <a:pt x="698" y="2004"/>
                </a:lnTo>
                <a:lnTo>
                  <a:pt x="694" y="2006"/>
                </a:lnTo>
                <a:lnTo>
                  <a:pt x="691" y="2011"/>
                </a:lnTo>
                <a:lnTo>
                  <a:pt x="689" y="2016"/>
                </a:lnTo>
                <a:lnTo>
                  <a:pt x="689" y="2524"/>
                </a:lnTo>
                <a:lnTo>
                  <a:pt x="691" y="2529"/>
                </a:lnTo>
                <a:lnTo>
                  <a:pt x="694" y="2533"/>
                </a:lnTo>
                <a:lnTo>
                  <a:pt x="698" y="2536"/>
                </a:lnTo>
                <a:lnTo>
                  <a:pt x="703" y="2536"/>
                </a:lnTo>
                <a:lnTo>
                  <a:pt x="1211" y="2536"/>
                </a:lnTo>
                <a:lnTo>
                  <a:pt x="1216" y="2536"/>
                </a:lnTo>
                <a:lnTo>
                  <a:pt x="1219" y="2533"/>
                </a:lnTo>
                <a:lnTo>
                  <a:pt x="1223" y="2529"/>
                </a:lnTo>
                <a:lnTo>
                  <a:pt x="1225" y="2524"/>
                </a:lnTo>
                <a:lnTo>
                  <a:pt x="1225" y="2016"/>
                </a:lnTo>
                <a:lnTo>
                  <a:pt x="1223" y="2011"/>
                </a:lnTo>
                <a:lnTo>
                  <a:pt x="1219" y="2006"/>
                </a:lnTo>
                <a:lnTo>
                  <a:pt x="1216" y="2004"/>
                </a:lnTo>
                <a:lnTo>
                  <a:pt x="1211" y="2002"/>
                </a:lnTo>
                <a:lnTo>
                  <a:pt x="703" y="2002"/>
                </a:lnTo>
                <a:close/>
                <a:moveTo>
                  <a:pt x="3131" y="1854"/>
                </a:moveTo>
                <a:lnTo>
                  <a:pt x="3639" y="1854"/>
                </a:lnTo>
                <a:lnTo>
                  <a:pt x="3675" y="1859"/>
                </a:lnTo>
                <a:lnTo>
                  <a:pt x="3710" y="1871"/>
                </a:lnTo>
                <a:lnTo>
                  <a:pt x="3740" y="1890"/>
                </a:lnTo>
                <a:lnTo>
                  <a:pt x="3764" y="1915"/>
                </a:lnTo>
                <a:lnTo>
                  <a:pt x="3783" y="1944"/>
                </a:lnTo>
                <a:lnTo>
                  <a:pt x="3796" y="1979"/>
                </a:lnTo>
                <a:lnTo>
                  <a:pt x="3799" y="2016"/>
                </a:lnTo>
                <a:lnTo>
                  <a:pt x="3799" y="2524"/>
                </a:lnTo>
                <a:lnTo>
                  <a:pt x="3796" y="2561"/>
                </a:lnTo>
                <a:lnTo>
                  <a:pt x="3783" y="2594"/>
                </a:lnTo>
                <a:lnTo>
                  <a:pt x="3764" y="2623"/>
                </a:lnTo>
                <a:lnTo>
                  <a:pt x="3740" y="2650"/>
                </a:lnTo>
                <a:lnTo>
                  <a:pt x="3710" y="2669"/>
                </a:lnTo>
                <a:lnTo>
                  <a:pt x="3675" y="2681"/>
                </a:lnTo>
                <a:lnTo>
                  <a:pt x="3639" y="2685"/>
                </a:lnTo>
                <a:lnTo>
                  <a:pt x="3131" y="2685"/>
                </a:lnTo>
                <a:lnTo>
                  <a:pt x="3094" y="2681"/>
                </a:lnTo>
                <a:lnTo>
                  <a:pt x="3060" y="2669"/>
                </a:lnTo>
                <a:lnTo>
                  <a:pt x="3030" y="2650"/>
                </a:lnTo>
                <a:lnTo>
                  <a:pt x="3005" y="2623"/>
                </a:lnTo>
                <a:lnTo>
                  <a:pt x="2986" y="2594"/>
                </a:lnTo>
                <a:lnTo>
                  <a:pt x="2974" y="2561"/>
                </a:lnTo>
                <a:lnTo>
                  <a:pt x="2971" y="2524"/>
                </a:lnTo>
                <a:lnTo>
                  <a:pt x="2971" y="2016"/>
                </a:lnTo>
                <a:lnTo>
                  <a:pt x="2974" y="1979"/>
                </a:lnTo>
                <a:lnTo>
                  <a:pt x="2986" y="1944"/>
                </a:lnTo>
                <a:lnTo>
                  <a:pt x="3005" y="1915"/>
                </a:lnTo>
                <a:lnTo>
                  <a:pt x="3030" y="1890"/>
                </a:lnTo>
                <a:lnTo>
                  <a:pt x="3060" y="1871"/>
                </a:lnTo>
                <a:lnTo>
                  <a:pt x="3094" y="1859"/>
                </a:lnTo>
                <a:lnTo>
                  <a:pt x="3131" y="1854"/>
                </a:lnTo>
                <a:close/>
                <a:moveTo>
                  <a:pt x="1917" y="1854"/>
                </a:moveTo>
                <a:lnTo>
                  <a:pt x="2425" y="1854"/>
                </a:lnTo>
                <a:lnTo>
                  <a:pt x="2461" y="1859"/>
                </a:lnTo>
                <a:lnTo>
                  <a:pt x="2496" y="1871"/>
                </a:lnTo>
                <a:lnTo>
                  <a:pt x="2526" y="1890"/>
                </a:lnTo>
                <a:lnTo>
                  <a:pt x="2550" y="1915"/>
                </a:lnTo>
                <a:lnTo>
                  <a:pt x="2569" y="1944"/>
                </a:lnTo>
                <a:lnTo>
                  <a:pt x="2582" y="1979"/>
                </a:lnTo>
                <a:lnTo>
                  <a:pt x="2585" y="2016"/>
                </a:lnTo>
                <a:lnTo>
                  <a:pt x="2585" y="2524"/>
                </a:lnTo>
                <a:lnTo>
                  <a:pt x="2582" y="2561"/>
                </a:lnTo>
                <a:lnTo>
                  <a:pt x="2569" y="2594"/>
                </a:lnTo>
                <a:lnTo>
                  <a:pt x="2550" y="2623"/>
                </a:lnTo>
                <a:lnTo>
                  <a:pt x="2526" y="2650"/>
                </a:lnTo>
                <a:lnTo>
                  <a:pt x="2496" y="2669"/>
                </a:lnTo>
                <a:lnTo>
                  <a:pt x="2461" y="2681"/>
                </a:lnTo>
                <a:lnTo>
                  <a:pt x="2425" y="2685"/>
                </a:lnTo>
                <a:lnTo>
                  <a:pt x="1917" y="2685"/>
                </a:lnTo>
                <a:lnTo>
                  <a:pt x="1880" y="2681"/>
                </a:lnTo>
                <a:lnTo>
                  <a:pt x="1846" y="2669"/>
                </a:lnTo>
                <a:lnTo>
                  <a:pt x="1816" y="2650"/>
                </a:lnTo>
                <a:lnTo>
                  <a:pt x="1792" y="2623"/>
                </a:lnTo>
                <a:lnTo>
                  <a:pt x="1772" y="2594"/>
                </a:lnTo>
                <a:lnTo>
                  <a:pt x="1760" y="2561"/>
                </a:lnTo>
                <a:lnTo>
                  <a:pt x="1757" y="2524"/>
                </a:lnTo>
                <a:lnTo>
                  <a:pt x="1757" y="2016"/>
                </a:lnTo>
                <a:lnTo>
                  <a:pt x="1760" y="1979"/>
                </a:lnTo>
                <a:lnTo>
                  <a:pt x="1772" y="1944"/>
                </a:lnTo>
                <a:lnTo>
                  <a:pt x="1792" y="1915"/>
                </a:lnTo>
                <a:lnTo>
                  <a:pt x="1816" y="1890"/>
                </a:lnTo>
                <a:lnTo>
                  <a:pt x="1846" y="1871"/>
                </a:lnTo>
                <a:lnTo>
                  <a:pt x="1880" y="1859"/>
                </a:lnTo>
                <a:lnTo>
                  <a:pt x="1917" y="1854"/>
                </a:lnTo>
                <a:close/>
                <a:moveTo>
                  <a:pt x="703" y="1854"/>
                </a:moveTo>
                <a:lnTo>
                  <a:pt x="1211" y="1854"/>
                </a:lnTo>
                <a:lnTo>
                  <a:pt x="1247" y="1859"/>
                </a:lnTo>
                <a:lnTo>
                  <a:pt x="1282" y="1871"/>
                </a:lnTo>
                <a:lnTo>
                  <a:pt x="1312" y="1890"/>
                </a:lnTo>
                <a:lnTo>
                  <a:pt x="1336" y="1915"/>
                </a:lnTo>
                <a:lnTo>
                  <a:pt x="1355" y="1944"/>
                </a:lnTo>
                <a:lnTo>
                  <a:pt x="1368" y="1979"/>
                </a:lnTo>
                <a:lnTo>
                  <a:pt x="1371" y="2016"/>
                </a:lnTo>
                <a:lnTo>
                  <a:pt x="1371" y="2524"/>
                </a:lnTo>
                <a:lnTo>
                  <a:pt x="1368" y="2561"/>
                </a:lnTo>
                <a:lnTo>
                  <a:pt x="1355" y="2594"/>
                </a:lnTo>
                <a:lnTo>
                  <a:pt x="1336" y="2623"/>
                </a:lnTo>
                <a:lnTo>
                  <a:pt x="1312" y="2650"/>
                </a:lnTo>
                <a:lnTo>
                  <a:pt x="1282" y="2669"/>
                </a:lnTo>
                <a:lnTo>
                  <a:pt x="1247" y="2681"/>
                </a:lnTo>
                <a:lnTo>
                  <a:pt x="1211" y="2685"/>
                </a:lnTo>
                <a:lnTo>
                  <a:pt x="703" y="2685"/>
                </a:lnTo>
                <a:lnTo>
                  <a:pt x="667" y="2681"/>
                </a:lnTo>
                <a:lnTo>
                  <a:pt x="632" y="2669"/>
                </a:lnTo>
                <a:lnTo>
                  <a:pt x="602" y="2650"/>
                </a:lnTo>
                <a:lnTo>
                  <a:pt x="578" y="2623"/>
                </a:lnTo>
                <a:lnTo>
                  <a:pt x="558" y="2594"/>
                </a:lnTo>
                <a:lnTo>
                  <a:pt x="546" y="2561"/>
                </a:lnTo>
                <a:lnTo>
                  <a:pt x="543" y="2524"/>
                </a:lnTo>
                <a:lnTo>
                  <a:pt x="543" y="2016"/>
                </a:lnTo>
                <a:lnTo>
                  <a:pt x="546" y="1979"/>
                </a:lnTo>
                <a:lnTo>
                  <a:pt x="558" y="1944"/>
                </a:lnTo>
                <a:lnTo>
                  <a:pt x="578" y="1915"/>
                </a:lnTo>
                <a:lnTo>
                  <a:pt x="602" y="1890"/>
                </a:lnTo>
                <a:lnTo>
                  <a:pt x="632" y="1871"/>
                </a:lnTo>
                <a:lnTo>
                  <a:pt x="667" y="1859"/>
                </a:lnTo>
                <a:lnTo>
                  <a:pt x="703" y="1854"/>
                </a:lnTo>
                <a:close/>
                <a:moveTo>
                  <a:pt x="149" y="1705"/>
                </a:moveTo>
                <a:lnTo>
                  <a:pt x="149" y="4592"/>
                </a:lnTo>
                <a:lnTo>
                  <a:pt x="154" y="4632"/>
                </a:lnTo>
                <a:lnTo>
                  <a:pt x="166" y="4669"/>
                </a:lnTo>
                <a:lnTo>
                  <a:pt x="187" y="4702"/>
                </a:lnTo>
                <a:lnTo>
                  <a:pt x="215" y="4730"/>
                </a:lnTo>
                <a:lnTo>
                  <a:pt x="248" y="4749"/>
                </a:lnTo>
                <a:lnTo>
                  <a:pt x="285" y="4763"/>
                </a:lnTo>
                <a:lnTo>
                  <a:pt x="325" y="4769"/>
                </a:lnTo>
                <a:lnTo>
                  <a:pt x="2393" y="4769"/>
                </a:lnTo>
                <a:lnTo>
                  <a:pt x="2378" y="4706"/>
                </a:lnTo>
                <a:lnTo>
                  <a:pt x="2367" y="4641"/>
                </a:lnTo>
                <a:lnTo>
                  <a:pt x="1917" y="4641"/>
                </a:lnTo>
                <a:lnTo>
                  <a:pt x="1880" y="4638"/>
                </a:lnTo>
                <a:lnTo>
                  <a:pt x="1846" y="4625"/>
                </a:lnTo>
                <a:lnTo>
                  <a:pt x="1816" y="4606"/>
                </a:lnTo>
                <a:lnTo>
                  <a:pt x="1792" y="4580"/>
                </a:lnTo>
                <a:lnTo>
                  <a:pt x="1772" y="4550"/>
                </a:lnTo>
                <a:lnTo>
                  <a:pt x="1760" y="4517"/>
                </a:lnTo>
                <a:lnTo>
                  <a:pt x="1757" y="4481"/>
                </a:lnTo>
                <a:lnTo>
                  <a:pt x="1757" y="3973"/>
                </a:lnTo>
                <a:lnTo>
                  <a:pt x="1760" y="3934"/>
                </a:lnTo>
                <a:lnTo>
                  <a:pt x="1772" y="3901"/>
                </a:lnTo>
                <a:lnTo>
                  <a:pt x="1792" y="3871"/>
                </a:lnTo>
                <a:lnTo>
                  <a:pt x="1816" y="3847"/>
                </a:lnTo>
                <a:lnTo>
                  <a:pt x="1846" y="3828"/>
                </a:lnTo>
                <a:lnTo>
                  <a:pt x="1880" y="3816"/>
                </a:lnTo>
                <a:lnTo>
                  <a:pt x="1917" y="3810"/>
                </a:lnTo>
                <a:lnTo>
                  <a:pt x="2508" y="3810"/>
                </a:lnTo>
                <a:lnTo>
                  <a:pt x="2557" y="3727"/>
                </a:lnTo>
                <a:lnTo>
                  <a:pt x="2613" y="3646"/>
                </a:lnTo>
                <a:lnTo>
                  <a:pt x="2674" y="3571"/>
                </a:lnTo>
                <a:lnTo>
                  <a:pt x="2740" y="3500"/>
                </a:lnTo>
                <a:lnTo>
                  <a:pt x="2814" y="3433"/>
                </a:lnTo>
                <a:lnTo>
                  <a:pt x="2889" y="3374"/>
                </a:lnTo>
                <a:lnTo>
                  <a:pt x="2971" y="3318"/>
                </a:lnTo>
                <a:lnTo>
                  <a:pt x="2971" y="2993"/>
                </a:lnTo>
                <a:lnTo>
                  <a:pt x="2974" y="2957"/>
                </a:lnTo>
                <a:lnTo>
                  <a:pt x="2986" y="2924"/>
                </a:lnTo>
                <a:lnTo>
                  <a:pt x="3005" y="2892"/>
                </a:lnTo>
                <a:lnTo>
                  <a:pt x="3030" y="2868"/>
                </a:lnTo>
                <a:lnTo>
                  <a:pt x="3060" y="2849"/>
                </a:lnTo>
                <a:lnTo>
                  <a:pt x="3094" y="2836"/>
                </a:lnTo>
                <a:lnTo>
                  <a:pt x="3131" y="2833"/>
                </a:lnTo>
                <a:lnTo>
                  <a:pt x="3639" y="2833"/>
                </a:lnTo>
                <a:lnTo>
                  <a:pt x="3675" y="2836"/>
                </a:lnTo>
                <a:lnTo>
                  <a:pt x="3710" y="2849"/>
                </a:lnTo>
                <a:lnTo>
                  <a:pt x="3740" y="2868"/>
                </a:lnTo>
                <a:lnTo>
                  <a:pt x="3764" y="2892"/>
                </a:lnTo>
                <a:lnTo>
                  <a:pt x="3783" y="2924"/>
                </a:lnTo>
                <a:lnTo>
                  <a:pt x="3796" y="2957"/>
                </a:lnTo>
                <a:lnTo>
                  <a:pt x="3799" y="2993"/>
                </a:lnTo>
                <a:lnTo>
                  <a:pt x="3799" y="3123"/>
                </a:lnTo>
                <a:lnTo>
                  <a:pt x="3911" y="3138"/>
                </a:lnTo>
                <a:lnTo>
                  <a:pt x="4019" y="3163"/>
                </a:lnTo>
                <a:lnTo>
                  <a:pt x="4123" y="3196"/>
                </a:lnTo>
                <a:lnTo>
                  <a:pt x="4225" y="3240"/>
                </a:lnTo>
                <a:lnTo>
                  <a:pt x="4225" y="1705"/>
                </a:lnTo>
                <a:lnTo>
                  <a:pt x="149" y="1705"/>
                </a:lnTo>
                <a:close/>
                <a:moveTo>
                  <a:pt x="2845" y="920"/>
                </a:moveTo>
                <a:lnTo>
                  <a:pt x="2845" y="1075"/>
                </a:lnTo>
                <a:lnTo>
                  <a:pt x="2841" y="1098"/>
                </a:lnTo>
                <a:lnTo>
                  <a:pt x="2831" y="1119"/>
                </a:lnTo>
                <a:lnTo>
                  <a:pt x="2815" y="1135"/>
                </a:lnTo>
                <a:lnTo>
                  <a:pt x="2794" y="1145"/>
                </a:lnTo>
                <a:lnTo>
                  <a:pt x="2772" y="1149"/>
                </a:lnTo>
                <a:lnTo>
                  <a:pt x="2747" y="1145"/>
                </a:lnTo>
                <a:lnTo>
                  <a:pt x="2728" y="1135"/>
                </a:lnTo>
                <a:lnTo>
                  <a:pt x="2711" y="1119"/>
                </a:lnTo>
                <a:lnTo>
                  <a:pt x="2700" y="1098"/>
                </a:lnTo>
                <a:lnTo>
                  <a:pt x="2697" y="1075"/>
                </a:lnTo>
                <a:lnTo>
                  <a:pt x="2697" y="925"/>
                </a:lnTo>
                <a:lnTo>
                  <a:pt x="2667" y="946"/>
                </a:lnTo>
                <a:lnTo>
                  <a:pt x="2641" y="972"/>
                </a:lnTo>
                <a:lnTo>
                  <a:pt x="2622" y="1004"/>
                </a:lnTo>
                <a:lnTo>
                  <a:pt x="2610" y="1039"/>
                </a:lnTo>
                <a:lnTo>
                  <a:pt x="2604" y="1077"/>
                </a:lnTo>
                <a:lnTo>
                  <a:pt x="2610" y="1115"/>
                </a:lnTo>
                <a:lnTo>
                  <a:pt x="2622" y="1152"/>
                </a:lnTo>
                <a:lnTo>
                  <a:pt x="2643" y="1183"/>
                </a:lnTo>
                <a:lnTo>
                  <a:pt x="2669" y="1210"/>
                </a:lnTo>
                <a:lnTo>
                  <a:pt x="2700" y="1231"/>
                </a:lnTo>
                <a:lnTo>
                  <a:pt x="2737" y="1243"/>
                </a:lnTo>
                <a:lnTo>
                  <a:pt x="2775" y="1248"/>
                </a:lnTo>
                <a:lnTo>
                  <a:pt x="2815" y="1243"/>
                </a:lnTo>
                <a:lnTo>
                  <a:pt x="2850" y="1231"/>
                </a:lnTo>
                <a:lnTo>
                  <a:pt x="2883" y="1210"/>
                </a:lnTo>
                <a:lnTo>
                  <a:pt x="2910" y="1183"/>
                </a:lnTo>
                <a:lnTo>
                  <a:pt x="2929" y="1152"/>
                </a:lnTo>
                <a:lnTo>
                  <a:pt x="2943" y="1115"/>
                </a:lnTo>
                <a:lnTo>
                  <a:pt x="2946" y="1077"/>
                </a:lnTo>
                <a:lnTo>
                  <a:pt x="2943" y="1037"/>
                </a:lnTo>
                <a:lnTo>
                  <a:pt x="2929" y="998"/>
                </a:lnTo>
                <a:lnTo>
                  <a:pt x="2906" y="967"/>
                </a:lnTo>
                <a:lnTo>
                  <a:pt x="2878" y="941"/>
                </a:lnTo>
                <a:lnTo>
                  <a:pt x="2845" y="920"/>
                </a:lnTo>
                <a:close/>
                <a:moveTo>
                  <a:pt x="1710" y="920"/>
                </a:moveTo>
                <a:lnTo>
                  <a:pt x="1710" y="1075"/>
                </a:lnTo>
                <a:lnTo>
                  <a:pt x="1706" y="1098"/>
                </a:lnTo>
                <a:lnTo>
                  <a:pt x="1696" y="1119"/>
                </a:lnTo>
                <a:lnTo>
                  <a:pt x="1680" y="1135"/>
                </a:lnTo>
                <a:lnTo>
                  <a:pt x="1659" y="1145"/>
                </a:lnTo>
                <a:lnTo>
                  <a:pt x="1636" y="1149"/>
                </a:lnTo>
                <a:lnTo>
                  <a:pt x="1614" y="1145"/>
                </a:lnTo>
                <a:lnTo>
                  <a:pt x="1593" y="1135"/>
                </a:lnTo>
                <a:lnTo>
                  <a:pt x="1577" y="1119"/>
                </a:lnTo>
                <a:lnTo>
                  <a:pt x="1567" y="1098"/>
                </a:lnTo>
                <a:lnTo>
                  <a:pt x="1563" y="1075"/>
                </a:lnTo>
                <a:lnTo>
                  <a:pt x="1563" y="925"/>
                </a:lnTo>
                <a:lnTo>
                  <a:pt x="1532" y="946"/>
                </a:lnTo>
                <a:lnTo>
                  <a:pt x="1505" y="972"/>
                </a:lnTo>
                <a:lnTo>
                  <a:pt x="1486" y="1004"/>
                </a:lnTo>
                <a:lnTo>
                  <a:pt x="1474" y="1039"/>
                </a:lnTo>
                <a:lnTo>
                  <a:pt x="1471" y="1077"/>
                </a:lnTo>
                <a:lnTo>
                  <a:pt x="1474" y="1115"/>
                </a:lnTo>
                <a:lnTo>
                  <a:pt x="1488" y="1152"/>
                </a:lnTo>
                <a:lnTo>
                  <a:pt x="1507" y="1183"/>
                </a:lnTo>
                <a:lnTo>
                  <a:pt x="1533" y="1210"/>
                </a:lnTo>
                <a:lnTo>
                  <a:pt x="1567" y="1231"/>
                </a:lnTo>
                <a:lnTo>
                  <a:pt x="1601" y="1243"/>
                </a:lnTo>
                <a:lnTo>
                  <a:pt x="1642" y="1248"/>
                </a:lnTo>
                <a:lnTo>
                  <a:pt x="1680" y="1243"/>
                </a:lnTo>
                <a:lnTo>
                  <a:pt x="1717" y="1231"/>
                </a:lnTo>
                <a:lnTo>
                  <a:pt x="1748" y="1210"/>
                </a:lnTo>
                <a:lnTo>
                  <a:pt x="1774" y="1183"/>
                </a:lnTo>
                <a:lnTo>
                  <a:pt x="1795" y="1152"/>
                </a:lnTo>
                <a:lnTo>
                  <a:pt x="1807" y="1115"/>
                </a:lnTo>
                <a:lnTo>
                  <a:pt x="1812" y="1077"/>
                </a:lnTo>
                <a:lnTo>
                  <a:pt x="1807" y="1037"/>
                </a:lnTo>
                <a:lnTo>
                  <a:pt x="1793" y="998"/>
                </a:lnTo>
                <a:lnTo>
                  <a:pt x="1772" y="967"/>
                </a:lnTo>
                <a:lnTo>
                  <a:pt x="1744" y="941"/>
                </a:lnTo>
                <a:lnTo>
                  <a:pt x="1710" y="920"/>
                </a:lnTo>
                <a:close/>
                <a:moveTo>
                  <a:pt x="325" y="728"/>
                </a:moveTo>
                <a:lnTo>
                  <a:pt x="285" y="733"/>
                </a:lnTo>
                <a:lnTo>
                  <a:pt x="248" y="747"/>
                </a:lnTo>
                <a:lnTo>
                  <a:pt x="215" y="768"/>
                </a:lnTo>
                <a:lnTo>
                  <a:pt x="187" y="794"/>
                </a:lnTo>
                <a:lnTo>
                  <a:pt x="166" y="827"/>
                </a:lnTo>
                <a:lnTo>
                  <a:pt x="154" y="864"/>
                </a:lnTo>
                <a:lnTo>
                  <a:pt x="149" y="904"/>
                </a:lnTo>
                <a:lnTo>
                  <a:pt x="149" y="1557"/>
                </a:lnTo>
                <a:lnTo>
                  <a:pt x="4225" y="1557"/>
                </a:lnTo>
                <a:lnTo>
                  <a:pt x="4225" y="904"/>
                </a:lnTo>
                <a:lnTo>
                  <a:pt x="4219" y="864"/>
                </a:lnTo>
                <a:lnTo>
                  <a:pt x="4207" y="827"/>
                </a:lnTo>
                <a:lnTo>
                  <a:pt x="4186" y="794"/>
                </a:lnTo>
                <a:lnTo>
                  <a:pt x="4158" y="768"/>
                </a:lnTo>
                <a:lnTo>
                  <a:pt x="4125" y="747"/>
                </a:lnTo>
                <a:lnTo>
                  <a:pt x="4089" y="733"/>
                </a:lnTo>
                <a:lnTo>
                  <a:pt x="4048" y="728"/>
                </a:lnTo>
                <a:lnTo>
                  <a:pt x="2845" y="728"/>
                </a:lnTo>
                <a:lnTo>
                  <a:pt x="2845" y="766"/>
                </a:lnTo>
                <a:lnTo>
                  <a:pt x="2897" y="782"/>
                </a:lnTo>
                <a:lnTo>
                  <a:pt x="2944" y="806"/>
                </a:lnTo>
                <a:lnTo>
                  <a:pt x="2986" y="838"/>
                </a:lnTo>
                <a:lnTo>
                  <a:pt x="3023" y="876"/>
                </a:lnTo>
                <a:lnTo>
                  <a:pt x="3053" y="920"/>
                </a:lnTo>
                <a:lnTo>
                  <a:pt x="3075" y="969"/>
                </a:lnTo>
                <a:lnTo>
                  <a:pt x="3089" y="1021"/>
                </a:lnTo>
                <a:lnTo>
                  <a:pt x="3094" y="1077"/>
                </a:lnTo>
                <a:lnTo>
                  <a:pt x="3089" y="1135"/>
                </a:lnTo>
                <a:lnTo>
                  <a:pt x="3075" y="1187"/>
                </a:lnTo>
                <a:lnTo>
                  <a:pt x="3051" y="1238"/>
                </a:lnTo>
                <a:lnTo>
                  <a:pt x="3019" y="1281"/>
                </a:lnTo>
                <a:lnTo>
                  <a:pt x="2981" y="1321"/>
                </a:lnTo>
                <a:lnTo>
                  <a:pt x="2937" y="1353"/>
                </a:lnTo>
                <a:lnTo>
                  <a:pt x="2887" y="1375"/>
                </a:lnTo>
                <a:lnTo>
                  <a:pt x="2833" y="1391"/>
                </a:lnTo>
                <a:lnTo>
                  <a:pt x="2775" y="1396"/>
                </a:lnTo>
                <a:lnTo>
                  <a:pt x="2719" y="1391"/>
                </a:lnTo>
                <a:lnTo>
                  <a:pt x="2665" y="1375"/>
                </a:lnTo>
                <a:lnTo>
                  <a:pt x="2615" y="1353"/>
                </a:lnTo>
                <a:lnTo>
                  <a:pt x="2571" y="1321"/>
                </a:lnTo>
                <a:lnTo>
                  <a:pt x="2533" y="1281"/>
                </a:lnTo>
                <a:lnTo>
                  <a:pt x="2501" y="1238"/>
                </a:lnTo>
                <a:lnTo>
                  <a:pt x="2477" y="1187"/>
                </a:lnTo>
                <a:lnTo>
                  <a:pt x="2463" y="1135"/>
                </a:lnTo>
                <a:lnTo>
                  <a:pt x="2458" y="1077"/>
                </a:lnTo>
                <a:lnTo>
                  <a:pt x="2461" y="1023"/>
                </a:lnTo>
                <a:lnTo>
                  <a:pt x="2475" y="970"/>
                </a:lnTo>
                <a:lnTo>
                  <a:pt x="2496" y="923"/>
                </a:lnTo>
                <a:lnTo>
                  <a:pt x="2526" y="880"/>
                </a:lnTo>
                <a:lnTo>
                  <a:pt x="2561" y="843"/>
                </a:lnTo>
                <a:lnTo>
                  <a:pt x="2601" y="810"/>
                </a:lnTo>
                <a:lnTo>
                  <a:pt x="2648" y="785"/>
                </a:lnTo>
                <a:lnTo>
                  <a:pt x="2697" y="768"/>
                </a:lnTo>
                <a:lnTo>
                  <a:pt x="2697" y="728"/>
                </a:lnTo>
                <a:lnTo>
                  <a:pt x="1710" y="728"/>
                </a:lnTo>
                <a:lnTo>
                  <a:pt x="1710" y="766"/>
                </a:lnTo>
                <a:lnTo>
                  <a:pt x="1762" y="782"/>
                </a:lnTo>
                <a:lnTo>
                  <a:pt x="1809" y="806"/>
                </a:lnTo>
                <a:lnTo>
                  <a:pt x="1853" y="838"/>
                </a:lnTo>
                <a:lnTo>
                  <a:pt x="1889" y="876"/>
                </a:lnTo>
                <a:lnTo>
                  <a:pt x="1919" y="920"/>
                </a:lnTo>
                <a:lnTo>
                  <a:pt x="1942" y="969"/>
                </a:lnTo>
                <a:lnTo>
                  <a:pt x="1955" y="1021"/>
                </a:lnTo>
                <a:lnTo>
                  <a:pt x="1961" y="1077"/>
                </a:lnTo>
                <a:lnTo>
                  <a:pt x="1955" y="1135"/>
                </a:lnTo>
                <a:lnTo>
                  <a:pt x="1940" y="1187"/>
                </a:lnTo>
                <a:lnTo>
                  <a:pt x="1917" y="1238"/>
                </a:lnTo>
                <a:lnTo>
                  <a:pt x="1884" y="1281"/>
                </a:lnTo>
                <a:lnTo>
                  <a:pt x="1846" y="1321"/>
                </a:lnTo>
                <a:lnTo>
                  <a:pt x="1802" y="1353"/>
                </a:lnTo>
                <a:lnTo>
                  <a:pt x="1751" y="1375"/>
                </a:lnTo>
                <a:lnTo>
                  <a:pt x="1699" y="1391"/>
                </a:lnTo>
                <a:lnTo>
                  <a:pt x="1642" y="1396"/>
                </a:lnTo>
                <a:lnTo>
                  <a:pt x="1584" y="1391"/>
                </a:lnTo>
                <a:lnTo>
                  <a:pt x="1530" y="1375"/>
                </a:lnTo>
                <a:lnTo>
                  <a:pt x="1481" y="1353"/>
                </a:lnTo>
                <a:lnTo>
                  <a:pt x="1436" y="1321"/>
                </a:lnTo>
                <a:lnTo>
                  <a:pt x="1397" y="1281"/>
                </a:lnTo>
                <a:lnTo>
                  <a:pt x="1366" y="1238"/>
                </a:lnTo>
                <a:lnTo>
                  <a:pt x="1342" y="1187"/>
                </a:lnTo>
                <a:lnTo>
                  <a:pt x="1328" y="1135"/>
                </a:lnTo>
                <a:lnTo>
                  <a:pt x="1322" y="1077"/>
                </a:lnTo>
                <a:lnTo>
                  <a:pt x="1328" y="1023"/>
                </a:lnTo>
                <a:lnTo>
                  <a:pt x="1340" y="970"/>
                </a:lnTo>
                <a:lnTo>
                  <a:pt x="1362" y="923"/>
                </a:lnTo>
                <a:lnTo>
                  <a:pt x="1390" y="880"/>
                </a:lnTo>
                <a:lnTo>
                  <a:pt x="1425" y="843"/>
                </a:lnTo>
                <a:lnTo>
                  <a:pt x="1467" y="810"/>
                </a:lnTo>
                <a:lnTo>
                  <a:pt x="1512" y="785"/>
                </a:lnTo>
                <a:lnTo>
                  <a:pt x="1563" y="768"/>
                </a:lnTo>
                <a:lnTo>
                  <a:pt x="1563" y="728"/>
                </a:lnTo>
                <a:lnTo>
                  <a:pt x="325" y="728"/>
                </a:lnTo>
                <a:close/>
                <a:moveTo>
                  <a:pt x="1636" y="0"/>
                </a:moveTo>
                <a:lnTo>
                  <a:pt x="1659" y="3"/>
                </a:lnTo>
                <a:lnTo>
                  <a:pt x="1680" y="14"/>
                </a:lnTo>
                <a:lnTo>
                  <a:pt x="1696" y="30"/>
                </a:lnTo>
                <a:lnTo>
                  <a:pt x="1706" y="51"/>
                </a:lnTo>
                <a:lnTo>
                  <a:pt x="1710" y="73"/>
                </a:lnTo>
                <a:lnTo>
                  <a:pt x="1710" y="581"/>
                </a:lnTo>
                <a:lnTo>
                  <a:pt x="2697" y="581"/>
                </a:lnTo>
                <a:lnTo>
                  <a:pt x="2697" y="73"/>
                </a:lnTo>
                <a:lnTo>
                  <a:pt x="2700" y="51"/>
                </a:lnTo>
                <a:lnTo>
                  <a:pt x="2711" y="30"/>
                </a:lnTo>
                <a:lnTo>
                  <a:pt x="2728" y="14"/>
                </a:lnTo>
                <a:lnTo>
                  <a:pt x="2747" y="3"/>
                </a:lnTo>
                <a:lnTo>
                  <a:pt x="2772" y="0"/>
                </a:lnTo>
                <a:lnTo>
                  <a:pt x="2794" y="3"/>
                </a:lnTo>
                <a:lnTo>
                  <a:pt x="2815" y="14"/>
                </a:lnTo>
                <a:lnTo>
                  <a:pt x="2831" y="30"/>
                </a:lnTo>
                <a:lnTo>
                  <a:pt x="2841" y="51"/>
                </a:lnTo>
                <a:lnTo>
                  <a:pt x="2845" y="73"/>
                </a:lnTo>
                <a:lnTo>
                  <a:pt x="2845" y="581"/>
                </a:lnTo>
                <a:lnTo>
                  <a:pt x="4048" y="581"/>
                </a:lnTo>
                <a:lnTo>
                  <a:pt x="4106" y="586"/>
                </a:lnTo>
                <a:lnTo>
                  <a:pt x="4162" y="600"/>
                </a:lnTo>
                <a:lnTo>
                  <a:pt x="4212" y="625"/>
                </a:lnTo>
                <a:lnTo>
                  <a:pt x="4256" y="656"/>
                </a:lnTo>
                <a:lnTo>
                  <a:pt x="4296" y="696"/>
                </a:lnTo>
                <a:lnTo>
                  <a:pt x="4328" y="742"/>
                </a:lnTo>
                <a:lnTo>
                  <a:pt x="4352" y="792"/>
                </a:lnTo>
                <a:lnTo>
                  <a:pt x="4368" y="847"/>
                </a:lnTo>
                <a:lnTo>
                  <a:pt x="4373" y="904"/>
                </a:lnTo>
                <a:lnTo>
                  <a:pt x="4373" y="3315"/>
                </a:lnTo>
                <a:lnTo>
                  <a:pt x="4364" y="3315"/>
                </a:lnTo>
                <a:lnTo>
                  <a:pt x="4455" y="3376"/>
                </a:lnTo>
                <a:lnTo>
                  <a:pt x="4540" y="3446"/>
                </a:lnTo>
                <a:lnTo>
                  <a:pt x="4621" y="3521"/>
                </a:lnTo>
                <a:lnTo>
                  <a:pt x="4694" y="3604"/>
                </a:lnTo>
                <a:lnTo>
                  <a:pt x="4760" y="3692"/>
                </a:lnTo>
                <a:lnTo>
                  <a:pt x="4819" y="3786"/>
                </a:lnTo>
                <a:lnTo>
                  <a:pt x="4870" y="3884"/>
                </a:lnTo>
                <a:lnTo>
                  <a:pt x="4912" y="3987"/>
                </a:lnTo>
                <a:lnTo>
                  <a:pt x="4947" y="4095"/>
                </a:lnTo>
                <a:lnTo>
                  <a:pt x="4971" y="4207"/>
                </a:lnTo>
                <a:lnTo>
                  <a:pt x="4987" y="4320"/>
                </a:lnTo>
                <a:lnTo>
                  <a:pt x="4992" y="4437"/>
                </a:lnTo>
                <a:lnTo>
                  <a:pt x="4987" y="4557"/>
                </a:lnTo>
                <a:lnTo>
                  <a:pt x="4971" y="4674"/>
                </a:lnTo>
                <a:lnTo>
                  <a:pt x="4945" y="4790"/>
                </a:lnTo>
                <a:lnTo>
                  <a:pt x="4908" y="4899"/>
                </a:lnTo>
                <a:lnTo>
                  <a:pt x="4865" y="5004"/>
                </a:lnTo>
                <a:lnTo>
                  <a:pt x="4811" y="5104"/>
                </a:lnTo>
                <a:lnTo>
                  <a:pt x="4750" y="5200"/>
                </a:lnTo>
                <a:lnTo>
                  <a:pt x="4680" y="5289"/>
                </a:lnTo>
                <a:lnTo>
                  <a:pt x="4605" y="5373"/>
                </a:lnTo>
                <a:lnTo>
                  <a:pt x="4521" y="5449"/>
                </a:lnTo>
                <a:lnTo>
                  <a:pt x="4432" y="5517"/>
                </a:lnTo>
                <a:lnTo>
                  <a:pt x="4336" y="5578"/>
                </a:lnTo>
                <a:lnTo>
                  <a:pt x="4237" y="5633"/>
                </a:lnTo>
                <a:lnTo>
                  <a:pt x="4130" y="5678"/>
                </a:lnTo>
                <a:lnTo>
                  <a:pt x="4021" y="5713"/>
                </a:lnTo>
                <a:lnTo>
                  <a:pt x="3907" y="5739"/>
                </a:lnTo>
                <a:lnTo>
                  <a:pt x="3790" y="5755"/>
                </a:lnTo>
                <a:lnTo>
                  <a:pt x="3670" y="5760"/>
                </a:lnTo>
                <a:lnTo>
                  <a:pt x="3551" y="5755"/>
                </a:lnTo>
                <a:lnTo>
                  <a:pt x="3436" y="5739"/>
                </a:lnTo>
                <a:lnTo>
                  <a:pt x="3325" y="5713"/>
                </a:lnTo>
                <a:lnTo>
                  <a:pt x="3215" y="5680"/>
                </a:lnTo>
                <a:lnTo>
                  <a:pt x="3112" y="5636"/>
                </a:lnTo>
                <a:lnTo>
                  <a:pt x="3012" y="5584"/>
                </a:lnTo>
                <a:lnTo>
                  <a:pt x="2916" y="5523"/>
                </a:lnTo>
                <a:lnTo>
                  <a:pt x="2829" y="5455"/>
                </a:lnTo>
                <a:lnTo>
                  <a:pt x="2746" y="5381"/>
                </a:lnTo>
                <a:lnTo>
                  <a:pt x="2671" y="5299"/>
                </a:lnTo>
                <a:lnTo>
                  <a:pt x="2601" y="5212"/>
                </a:lnTo>
                <a:lnTo>
                  <a:pt x="2540" y="5118"/>
                </a:lnTo>
                <a:lnTo>
                  <a:pt x="2486" y="5020"/>
                </a:lnTo>
                <a:lnTo>
                  <a:pt x="2440" y="4915"/>
                </a:lnTo>
                <a:lnTo>
                  <a:pt x="325" y="4915"/>
                </a:lnTo>
                <a:lnTo>
                  <a:pt x="267" y="4910"/>
                </a:lnTo>
                <a:lnTo>
                  <a:pt x="211" y="4896"/>
                </a:lnTo>
                <a:lnTo>
                  <a:pt x="161" y="4872"/>
                </a:lnTo>
                <a:lnTo>
                  <a:pt x="115" y="4840"/>
                </a:lnTo>
                <a:lnTo>
                  <a:pt x="77" y="4800"/>
                </a:lnTo>
                <a:lnTo>
                  <a:pt x="46" y="4755"/>
                </a:lnTo>
                <a:lnTo>
                  <a:pt x="21" y="4706"/>
                </a:lnTo>
                <a:lnTo>
                  <a:pt x="5" y="4650"/>
                </a:lnTo>
                <a:lnTo>
                  <a:pt x="0" y="4592"/>
                </a:lnTo>
                <a:lnTo>
                  <a:pt x="0" y="904"/>
                </a:lnTo>
                <a:lnTo>
                  <a:pt x="5" y="847"/>
                </a:lnTo>
                <a:lnTo>
                  <a:pt x="21" y="792"/>
                </a:lnTo>
                <a:lnTo>
                  <a:pt x="46" y="742"/>
                </a:lnTo>
                <a:lnTo>
                  <a:pt x="77" y="696"/>
                </a:lnTo>
                <a:lnTo>
                  <a:pt x="115" y="656"/>
                </a:lnTo>
                <a:lnTo>
                  <a:pt x="161" y="625"/>
                </a:lnTo>
                <a:lnTo>
                  <a:pt x="211" y="600"/>
                </a:lnTo>
                <a:lnTo>
                  <a:pt x="267" y="586"/>
                </a:lnTo>
                <a:lnTo>
                  <a:pt x="325" y="581"/>
                </a:lnTo>
                <a:lnTo>
                  <a:pt x="1563" y="581"/>
                </a:lnTo>
                <a:lnTo>
                  <a:pt x="1563" y="73"/>
                </a:lnTo>
                <a:lnTo>
                  <a:pt x="1567" y="51"/>
                </a:lnTo>
                <a:lnTo>
                  <a:pt x="1577" y="30"/>
                </a:lnTo>
                <a:lnTo>
                  <a:pt x="1593" y="14"/>
                </a:lnTo>
                <a:lnTo>
                  <a:pt x="1614" y="3"/>
                </a:lnTo>
                <a:lnTo>
                  <a:pt x="16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Light"/>
              <a:ea typeface="+mn-ea"/>
              <a:cs typeface="+mn-cs"/>
            </a:endParaRPr>
          </a:p>
        </p:txBody>
      </p:sp>
      <p:sp>
        <p:nvSpPr>
          <p:cNvPr id="25" name="Freeform 9">
            <a:extLst>
              <a:ext uri="{FF2B5EF4-FFF2-40B4-BE49-F238E27FC236}">
                <a16:creationId xmlns:a16="http://schemas.microsoft.com/office/drawing/2014/main" id="{BB00CAD4-D8E8-F943-9CAE-C25F23505164}"/>
              </a:ext>
            </a:extLst>
          </p:cNvPr>
          <p:cNvSpPr>
            <a:spLocks noChangeAspect="1" noEditPoints="1"/>
          </p:cNvSpPr>
          <p:nvPr/>
        </p:nvSpPr>
        <p:spPr bwMode="auto">
          <a:xfrm>
            <a:off x="5982042" y="2047501"/>
            <a:ext cx="678698" cy="653758"/>
          </a:xfrm>
          <a:custGeom>
            <a:avLst/>
            <a:gdLst>
              <a:gd name="T0" fmla="*/ 4357 w 4799"/>
              <a:gd name="T1" fmla="*/ 504 h 4621"/>
              <a:gd name="T2" fmla="*/ 3106 w 4799"/>
              <a:gd name="T3" fmla="*/ 1092 h 4621"/>
              <a:gd name="T4" fmla="*/ 2998 w 4799"/>
              <a:gd name="T5" fmla="*/ 1177 h 4621"/>
              <a:gd name="T6" fmla="*/ 3380 w 4799"/>
              <a:gd name="T7" fmla="*/ 1631 h 4621"/>
              <a:gd name="T8" fmla="*/ 3433 w 4799"/>
              <a:gd name="T9" fmla="*/ 1611 h 4621"/>
              <a:gd name="T10" fmla="*/ 4454 w 4799"/>
              <a:gd name="T11" fmla="*/ 504 h 4621"/>
              <a:gd name="T12" fmla="*/ 4357 w 4799"/>
              <a:gd name="T13" fmla="*/ 504 h 4621"/>
              <a:gd name="T14" fmla="*/ 4662 w 4799"/>
              <a:gd name="T15" fmla="*/ 337 h 4621"/>
              <a:gd name="T16" fmla="*/ 2694 w 4799"/>
              <a:gd name="T17" fmla="*/ 137 h 4621"/>
              <a:gd name="T18" fmla="*/ 2495 w 4799"/>
              <a:gd name="T19" fmla="*/ 1545 h 4621"/>
              <a:gd name="T20" fmla="*/ 3020 w 4799"/>
              <a:gd name="T21" fmla="*/ 1745 h 4621"/>
              <a:gd name="T22" fmla="*/ 3088 w 4799"/>
              <a:gd name="T23" fmla="*/ 1814 h 4621"/>
              <a:gd name="T24" fmla="*/ 3622 w 4799"/>
              <a:gd name="T25" fmla="*/ 1765 h 4621"/>
              <a:gd name="T26" fmla="*/ 4462 w 4799"/>
              <a:gd name="T27" fmla="*/ 1745 h 4621"/>
              <a:gd name="T28" fmla="*/ 4662 w 4799"/>
              <a:gd name="T29" fmla="*/ 337 h 4621"/>
              <a:gd name="T30" fmla="*/ 4799 w 4799"/>
              <a:gd name="T31" fmla="*/ 337 h 4621"/>
              <a:gd name="T32" fmla="*/ 4799 w 4799"/>
              <a:gd name="T33" fmla="*/ 1545 h 4621"/>
              <a:gd name="T34" fmla="*/ 3699 w 4799"/>
              <a:gd name="T35" fmla="*/ 1883 h 4621"/>
              <a:gd name="T36" fmla="*/ 3020 w 4799"/>
              <a:gd name="T37" fmla="*/ 2533 h 4621"/>
              <a:gd name="T38" fmla="*/ 2951 w 4799"/>
              <a:gd name="T39" fmla="*/ 2464 h 4621"/>
              <a:gd name="T40" fmla="*/ 2694 w 4799"/>
              <a:gd name="T41" fmla="*/ 1883 h 4621"/>
              <a:gd name="T42" fmla="*/ 2357 w 4799"/>
              <a:gd name="T43" fmla="*/ 337 h 4621"/>
              <a:gd name="T44" fmla="*/ 4462 w 4799"/>
              <a:gd name="T45" fmla="*/ 0 h 4621"/>
              <a:gd name="T46" fmla="*/ 4799 w 4799"/>
              <a:gd name="T47" fmla="*/ 337 h 4621"/>
              <a:gd name="T48" fmla="*/ 2367 w 4799"/>
              <a:gd name="T49" fmla="*/ 3114 h 4621"/>
              <a:gd name="T50" fmla="*/ 2569 w 4799"/>
              <a:gd name="T51" fmla="*/ 3317 h 4621"/>
              <a:gd name="T52" fmla="*/ 2367 w 4799"/>
              <a:gd name="T53" fmla="*/ 3114 h 4621"/>
              <a:gd name="T54" fmla="*/ 2243 w 4799"/>
              <a:gd name="T55" fmla="*/ 3911 h 4621"/>
              <a:gd name="T56" fmla="*/ 2256 w 4799"/>
              <a:gd name="T57" fmla="*/ 3023 h 4621"/>
              <a:gd name="T58" fmla="*/ 1320 w 4799"/>
              <a:gd name="T59" fmla="*/ 2823 h 4621"/>
              <a:gd name="T60" fmla="*/ 682 w 4799"/>
              <a:gd name="T61" fmla="*/ 3887 h 4621"/>
              <a:gd name="T62" fmla="*/ 1446 w 4799"/>
              <a:gd name="T63" fmla="*/ 4519 h 4621"/>
              <a:gd name="T64" fmla="*/ 2243 w 4799"/>
              <a:gd name="T65" fmla="*/ 3911 h 4621"/>
              <a:gd name="T66" fmla="*/ 553 w 4799"/>
              <a:gd name="T67" fmla="*/ 3520 h 4621"/>
              <a:gd name="T68" fmla="*/ 553 w 4799"/>
              <a:gd name="T69" fmla="*/ 3163 h 4621"/>
              <a:gd name="T70" fmla="*/ 571 w 4799"/>
              <a:gd name="T71" fmla="*/ 3114 h 4621"/>
              <a:gd name="T72" fmla="*/ 553 w 4799"/>
              <a:gd name="T73" fmla="*/ 3520 h 4621"/>
              <a:gd name="T74" fmla="*/ 551 w 4799"/>
              <a:gd name="T75" fmla="*/ 2772 h 4621"/>
              <a:gd name="T76" fmla="*/ 601 w 4799"/>
              <a:gd name="T77" fmla="*/ 2826 h 4621"/>
              <a:gd name="T78" fmla="*/ 659 w 4799"/>
              <a:gd name="T79" fmla="*/ 2779 h 4621"/>
              <a:gd name="T80" fmla="*/ 1442 w 4799"/>
              <a:gd name="T81" fmla="*/ 2210 h 4621"/>
              <a:gd name="T82" fmla="*/ 2257 w 4799"/>
              <a:gd name="T83" fmla="*/ 2778 h 4621"/>
              <a:gd name="T84" fmla="*/ 2365 w 4799"/>
              <a:gd name="T85" fmla="*/ 2769 h 4621"/>
              <a:gd name="T86" fmla="*/ 1473 w 4799"/>
              <a:gd name="T87" fmla="*/ 1968 h 4621"/>
              <a:gd name="T88" fmla="*/ 551 w 4799"/>
              <a:gd name="T89" fmla="*/ 2761 h 4621"/>
              <a:gd name="T90" fmla="*/ 551 w 4799"/>
              <a:gd name="T91" fmla="*/ 2772 h 4621"/>
              <a:gd name="T92" fmla="*/ 2467 w 4799"/>
              <a:gd name="T93" fmla="*/ 2022 h 4621"/>
              <a:gd name="T94" fmla="*/ 2893 w 4799"/>
              <a:gd name="T95" fmla="*/ 3040 h 4621"/>
              <a:gd name="T96" fmla="*/ 2856 w 4799"/>
              <a:gd name="T97" fmla="*/ 4498 h 4621"/>
              <a:gd name="T98" fmla="*/ 2791 w 4799"/>
              <a:gd name="T99" fmla="*/ 4485 h 4621"/>
              <a:gd name="T100" fmla="*/ 1478 w 4799"/>
              <a:gd name="T101" fmla="*/ 4621 h 4621"/>
              <a:gd name="T102" fmla="*/ 595 w 4799"/>
              <a:gd name="T103" fmla="*/ 3997 h 4621"/>
              <a:gd name="T104" fmla="*/ 36 w 4799"/>
              <a:gd name="T105" fmla="*/ 4491 h 4621"/>
              <a:gd name="T106" fmla="*/ 0 w 4799"/>
              <a:gd name="T107" fmla="*/ 3048 h 4621"/>
              <a:gd name="T108" fmla="*/ 2467 w 4799"/>
              <a:gd name="T109" fmla="*/ 2022 h 4621"/>
              <a:gd name="T110" fmla="*/ 1755 w 4799"/>
              <a:gd name="T111" fmla="*/ 3263 h 4621"/>
              <a:gd name="T112" fmla="*/ 1658 w 4799"/>
              <a:gd name="T113" fmla="*/ 3359 h 4621"/>
              <a:gd name="T114" fmla="*/ 1851 w 4799"/>
              <a:gd name="T115" fmla="*/ 3359 h 4621"/>
              <a:gd name="T116" fmla="*/ 1755 w 4799"/>
              <a:gd name="T117" fmla="*/ 3263 h 4621"/>
              <a:gd name="T118" fmla="*/ 1241 w 4799"/>
              <a:gd name="T119" fmla="*/ 3359 h 4621"/>
              <a:gd name="T120" fmla="*/ 1048 w 4799"/>
              <a:gd name="T121" fmla="*/ 3359 h 4621"/>
              <a:gd name="T122" fmla="*/ 1241 w 4799"/>
              <a:gd name="T123" fmla="*/ 3359 h 4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99" h="4621">
                <a:moveTo>
                  <a:pt x="4357" y="504"/>
                </a:moveTo>
                <a:lnTo>
                  <a:pt x="4357" y="504"/>
                </a:lnTo>
                <a:lnTo>
                  <a:pt x="3391" y="1458"/>
                </a:lnTo>
                <a:lnTo>
                  <a:pt x="3106" y="1092"/>
                </a:lnTo>
                <a:cubicBezTo>
                  <a:pt x="3083" y="1062"/>
                  <a:pt x="3040" y="1057"/>
                  <a:pt x="3010" y="1080"/>
                </a:cubicBezTo>
                <a:cubicBezTo>
                  <a:pt x="2980" y="1104"/>
                  <a:pt x="2974" y="1147"/>
                  <a:pt x="2998" y="1177"/>
                </a:cubicBezTo>
                <a:lnTo>
                  <a:pt x="3330" y="1604"/>
                </a:lnTo>
                <a:cubicBezTo>
                  <a:pt x="3342" y="1620"/>
                  <a:pt x="3360" y="1629"/>
                  <a:pt x="3380" y="1631"/>
                </a:cubicBezTo>
                <a:cubicBezTo>
                  <a:pt x="3381" y="1631"/>
                  <a:pt x="3383" y="1631"/>
                  <a:pt x="3384" y="1631"/>
                </a:cubicBezTo>
                <a:cubicBezTo>
                  <a:pt x="3402" y="1631"/>
                  <a:pt x="3420" y="1624"/>
                  <a:pt x="3433" y="1611"/>
                </a:cubicBezTo>
                <a:lnTo>
                  <a:pt x="4454" y="602"/>
                </a:lnTo>
                <a:cubicBezTo>
                  <a:pt x="4481" y="575"/>
                  <a:pt x="4481" y="531"/>
                  <a:pt x="4454" y="504"/>
                </a:cubicBezTo>
                <a:cubicBezTo>
                  <a:pt x="4427" y="477"/>
                  <a:pt x="4384" y="477"/>
                  <a:pt x="4357" y="504"/>
                </a:cubicBezTo>
                <a:lnTo>
                  <a:pt x="4357" y="504"/>
                </a:lnTo>
                <a:close/>
                <a:moveTo>
                  <a:pt x="4662" y="337"/>
                </a:moveTo>
                <a:lnTo>
                  <a:pt x="4662" y="337"/>
                </a:lnTo>
                <a:cubicBezTo>
                  <a:pt x="4662" y="227"/>
                  <a:pt x="4572" y="137"/>
                  <a:pt x="4462" y="137"/>
                </a:cubicBezTo>
                <a:lnTo>
                  <a:pt x="2694" y="137"/>
                </a:lnTo>
                <a:cubicBezTo>
                  <a:pt x="2584" y="137"/>
                  <a:pt x="2495" y="227"/>
                  <a:pt x="2495" y="337"/>
                </a:cubicBezTo>
                <a:lnTo>
                  <a:pt x="2495" y="1545"/>
                </a:lnTo>
                <a:cubicBezTo>
                  <a:pt x="2495" y="1656"/>
                  <a:pt x="2584" y="1745"/>
                  <a:pt x="2694" y="1745"/>
                </a:cubicBezTo>
                <a:lnTo>
                  <a:pt x="3020" y="1745"/>
                </a:lnTo>
                <a:cubicBezTo>
                  <a:pt x="3038" y="1745"/>
                  <a:pt x="3055" y="1752"/>
                  <a:pt x="3068" y="1765"/>
                </a:cubicBezTo>
                <a:cubicBezTo>
                  <a:pt x="3081" y="1778"/>
                  <a:pt x="3088" y="1796"/>
                  <a:pt x="3088" y="1814"/>
                </a:cubicBezTo>
                <a:lnTo>
                  <a:pt x="3088" y="2298"/>
                </a:lnTo>
                <a:lnTo>
                  <a:pt x="3622" y="1765"/>
                </a:lnTo>
                <a:cubicBezTo>
                  <a:pt x="3634" y="1752"/>
                  <a:pt x="3652" y="1745"/>
                  <a:pt x="3670" y="1745"/>
                </a:cubicBezTo>
                <a:lnTo>
                  <a:pt x="4462" y="1745"/>
                </a:lnTo>
                <a:cubicBezTo>
                  <a:pt x="4572" y="1745"/>
                  <a:pt x="4662" y="1656"/>
                  <a:pt x="4662" y="1545"/>
                </a:cubicBezTo>
                <a:lnTo>
                  <a:pt x="4662" y="337"/>
                </a:lnTo>
                <a:lnTo>
                  <a:pt x="4662" y="337"/>
                </a:lnTo>
                <a:close/>
                <a:moveTo>
                  <a:pt x="4799" y="337"/>
                </a:moveTo>
                <a:lnTo>
                  <a:pt x="4799" y="337"/>
                </a:lnTo>
                <a:lnTo>
                  <a:pt x="4799" y="1545"/>
                </a:lnTo>
                <a:cubicBezTo>
                  <a:pt x="4799" y="1731"/>
                  <a:pt x="4648" y="1883"/>
                  <a:pt x="4462" y="1883"/>
                </a:cubicBezTo>
                <a:lnTo>
                  <a:pt x="3699" y="1883"/>
                </a:lnTo>
                <a:lnTo>
                  <a:pt x="3068" y="2513"/>
                </a:lnTo>
                <a:cubicBezTo>
                  <a:pt x="3055" y="2526"/>
                  <a:pt x="3038" y="2533"/>
                  <a:pt x="3020" y="2533"/>
                </a:cubicBezTo>
                <a:cubicBezTo>
                  <a:pt x="3011" y="2533"/>
                  <a:pt x="3002" y="2531"/>
                  <a:pt x="2993" y="2528"/>
                </a:cubicBezTo>
                <a:cubicBezTo>
                  <a:pt x="2968" y="2517"/>
                  <a:pt x="2951" y="2492"/>
                  <a:pt x="2951" y="2464"/>
                </a:cubicBezTo>
                <a:lnTo>
                  <a:pt x="2951" y="1883"/>
                </a:lnTo>
                <a:lnTo>
                  <a:pt x="2694" y="1883"/>
                </a:lnTo>
                <a:cubicBezTo>
                  <a:pt x="2508" y="1883"/>
                  <a:pt x="2357" y="1731"/>
                  <a:pt x="2357" y="1545"/>
                </a:cubicBezTo>
                <a:lnTo>
                  <a:pt x="2357" y="337"/>
                </a:lnTo>
                <a:cubicBezTo>
                  <a:pt x="2357" y="151"/>
                  <a:pt x="2508" y="0"/>
                  <a:pt x="2694" y="0"/>
                </a:cubicBezTo>
                <a:lnTo>
                  <a:pt x="4462" y="0"/>
                </a:lnTo>
                <a:cubicBezTo>
                  <a:pt x="4648" y="0"/>
                  <a:pt x="4799" y="151"/>
                  <a:pt x="4799" y="337"/>
                </a:cubicBezTo>
                <a:lnTo>
                  <a:pt x="4799" y="337"/>
                </a:lnTo>
                <a:close/>
                <a:moveTo>
                  <a:pt x="2367" y="3114"/>
                </a:moveTo>
                <a:lnTo>
                  <a:pt x="2367" y="3114"/>
                </a:lnTo>
                <a:lnTo>
                  <a:pt x="2367" y="3521"/>
                </a:lnTo>
                <a:cubicBezTo>
                  <a:pt x="2479" y="3520"/>
                  <a:pt x="2569" y="3430"/>
                  <a:pt x="2569" y="3317"/>
                </a:cubicBezTo>
                <a:cubicBezTo>
                  <a:pt x="2569" y="3205"/>
                  <a:pt x="2479" y="3115"/>
                  <a:pt x="2367" y="3114"/>
                </a:cubicBezTo>
                <a:lnTo>
                  <a:pt x="2367" y="3114"/>
                </a:lnTo>
                <a:close/>
                <a:moveTo>
                  <a:pt x="2243" y="3911"/>
                </a:moveTo>
                <a:lnTo>
                  <a:pt x="2243" y="3911"/>
                </a:lnTo>
                <a:cubicBezTo>
                  <a:pt x="2243" y="3909"/>
                  <a:pt x="2242" y="3908"/>
                  <a:pt x="2242" y="3906"/>
                </a:cubicBezTo>
                <a:lnTo>
                  <a:pt x="2256" y="3023"/>
                </a:lnTo>
                <a:lnTo>
                  <a:pt x="1822" y="2561"/>
                </a:lnTo>
                <a:cubicBezTo>
                  <a:pt x="1747" y="2616"/>
                  <a:pt x="1582" y="2725"/>
                  <a:pt x="1320" y="2823"/>
                </a:cubicBezTo>
                <a:cubicBezTo>
                  <a:pt x="1031" y="2931"/>
                  <a:pt x="796" y="2935"/>
                  <a:pt x="685" y="2928"/>
                </a:cubicBezTo>
                <a:lnTo>
                  <a:pt x="682" y="3887"/>
                </a:lnTo>
                <a:cubicBezTo>
                  <a:pt x="681" y="3896"/>
                  <a:pt x="680" y="3903"/>
                  <a:pt x="677" y="3911"/>
                </a:cubicBezTo>
                <a:cubicBezTo>
                  <a:pt x="760" y="4259"/>
                  <a:pt x="1073" y="4519"/>
                  <a:pt x="1446" y="4519"/>
                </a:cubicBezTo>
                <a:lnTo>
                  <a:pt x="1478" y="4519"/>
                </a:lnTo>
                <a:cubicBezTo>
                  <a:pt x="1850" y="4519"/>
                  <a:pt x="2161" y="4259"/>
                  <a:pt x="2243" y="3911"/>
                </a:cubicBezTo>
                <a:lnTo>
                  <a:pt x="2243" y="3911"/>
                </a:lnTo>
                <a:close/>
                <a:moveTo>
                  <a:pt x="553" y="3520"/>
                </a:moveTo>
                <a:lnTo>
                  <a:pt x="553" y="3520"/>
                </a:lnTo>
                <a:lnTo>
                  <a:pt x="553" y="3163"/>
                </a:lnTo>
                <a:cubicBezTo>
                  <a:pt x="553" y="3148"/>
                  <a:pt x="560" y="3134"/>
                  <a:pt x="571" y="3125"/>
                </a:cubicBezTo>
                <a:lnTo>
                  <a:pt x="571" y="3114"/>
                </a:lnTo>
                <a:cubicBezTo>
                  <a:pt x="459" y="3114"/>
                  <a:pt x="367" y="3205"/>
                  <a:pt x="367" y="3317"/>
                </a:cubicBezTo>
                <a:cubicBezTo>
                  <a:pt x="367" y="3424"/>
                  <a:pt x="449" y="3510"/>
                  <a:pt x="553" y="3520"/>
                </a:cubicBezTo>
                <a:lnTo>
                  <a:pt x="553" y="3520"/>
                </a:lnTo>
                <a:close/>
                <a:moveTo>
                  <a:pt x="551" y="2772"/>
                </a:moveTo>
                <a:lnTo>
                  <a:pt x="551" y="2772"/>
                </a:lnTo>
                <a:cubicBezTo>
                  <a:pt x="551" y="2800"/>
                  <a:pt x="573" y="2824"/>
                  <a:pt x="601" y="2826"/>
                </a:cubicBezTo>
                <a:cubicBezTo>
                  <a:pt x="603" y="2826"/>
                  <a:pt x="604" y="2826"/>
                  <a:pt x="605" y="2826"/>
                </a:cubicBezTo>
                <a:cubicBezTo>
                  <a:pt x="632" y="2826"/>
                  <a:pt x="655" y="2806"/>
                  <a:pt x="659" y="2779"/>
                </a:cubicBezTo>
                <a:cubicBezTo>
                  <a:pt x="680" y="2626"/>
                  <a:pt x="770" y="2483"/>
                  <a:pt x="912" y="2378"/>
                </a:cubicBezTo>
                <a:cubicBezTo>
                  <a:pt x="1058" y="2270"/>
                  <a:pt x="1246" y="2210"/>
                  <a:pt x="1442" y="2210"/>
                </a:cubicBezTo>
                <a:lnTo>
                  <a:pt x="1473" y="2210"/>
                </a:lnTo>
                <a:cubicBezTo>
                  <a:pt x="1874" y="2210"/>
                  <a:pt x="2211" y="2455"/>
                  <a:pt x="2257" y="2778"/>
                </a:cubicBezTo>
                <a:cubicBezTo>
                  <a:pt x="2261" y="2808"/>
                  <a:pt x="2289" y="2829"/>
                  <a:pt x="2318" y="2824"/>
                </a:cubicBezTo>
                <a:cubicBezTo>
                  <a:pt x="2346" y="2820"/>
                  <a:pt x="2366" y="2796"/>
                  <a:pt x="2365" y="2769"/>
                </a:cubicBezTo>
                <a:cubicBezTo>
                  <a:pt x="2365" y="2766"/>
                  <a:pt x="2365" y="2763"/>
                  <a:pt x="2364" y="2760"/>
                </a:cubicBezTo>
                <a:cubicBezTo>
                  <a:pt x="2311" y="2309"/>
                  <a:pt x="1928" y="1968"/>
                  <a:pt x="1473" y="1968"/>
                </a:cubicBezTo>
                <a:lnTo>
                  <a:pt x="1442" y="1968"/>
                </a:lnTo>
                <a:cubicBezTo>
                  <a:pt x="986" y="1968"/>
                  <a:pt x="604" y="2309"/>
                  <a:pt x="551" y="2761"/>
                </a:cubicBezTo>
                <a:cubicBezTo>
                  <a:pt x="551" y="2764"/>
                  <a:pt x="551" y="2766"/>
                  <a:pt x="551" y="2768"/>
                </a:cubicBezTo>
                <a:lnTo>
                  <a:pt x="551" y="2772"/>
                </a:lnTo>
                <a:lnTo>
                  <a:pt x="551" y="2772"/>
                </a:lnTo>
                <a:close/>
                <a:moveTo>
                  <a:pt x="2467" y="2022"/>
                </a:moveTo>
                <a:lnTo>
                  <a:pt x="2467" y="2022"/>
                </a:lnTo>
                <a:cubicBezTo>
                  <a:pt x="2740" y="2294"/>
                  <a:pt x="2891" y="2656"/>
                  <a:pt x="2893" y="3040"/>
                </a:cubicBezTo>
                <a:lnTo>
                  <a:pt x="2893" y="4443"/>
                </a:lnTo>
                <a:cubicBezTo>
                  <a:pt x="2893" y="4467"/>
                  <a:pt x="2878" y="4489"/>
                  <a:pt x="2856" y="4498"/>
                </a:cubicBezTo>
                <a:cubicBezTo>
                  <a:pt x="2849" y="4501"/>
                  <a:pt x="2841" y="4503"/>
                  <a:pt x="2833" y="4503"/>
                </a:cubicBezTo>
                <a:cubicBezTo>
                  <a:pt x="2818" y="4503"/>
                  <a:pt x="2803" y="4497"/>
                  <a:pt x="2791" y="4485"/>
                </a:cubicBezTo>
                <a:lnTo>
                  <a:pt x="2321" y="4010"/>
                </a:lnTo>
                <a:cubicBezTo>
                  <a:pt x="2203" y="4364"/>
                  <a:pt x="1870" y="4621"/>
                  <a:pt x="1478" y="4621"/>
                </a:cubicBezTo>
                <a:lnTo>
                  <a:pt x="1446" y="4621"/>
                </a:lnTo>
                <a:cubicBezTo>
                  <a:pt x="1048" y="4621"/>
                  <a:pt x="710" y="4358"/>
                  <a:pt x="595" y="3997"/>
                </a:cubicBezTo>
                <a:lnTo>
                  <a:pt x="101" y="4479"/>
                </a:lnTo>
                <a:cubicBezTo>
                  <a:pt x="83" y="4496"/>
                  <a:pt x="58" y="4500"/>
                  <a:pt x="36" y="4491"/>
                </a:cubicBezTo>
                <a:cubicBezTo>
                  <a:pt x="14" y="4482"/>
                  <a:pt x="0" y="4460"/>
                  <a:pt x="0" y="4436"/>
                </a:cubicBezTo>
                <a:lnTo>
                  <a:pt x="0" y="3048"/>
                </a:lnTo>
                <a:cubicBezTo>
                  <a:pt x="0" y="2250"/>
                  <a:pt x="648" y="1601"/>
                  <a:pt x="1446" y="1601"/>
                </a:cubicBezTo>
                <a:cubicBezTo>
                  <a:pt x="1831" y="1601"/>
                  <a:pt x="2194" y="1751"/>
                  <a:pt x="2467" y="2022"/>
                </a:cubicBezTo>
                <a:lnTo>
                  <a:pt x="2467" y="2022"/>
                </a:lnTo>
                <a:close/>
                <a:moveTo>
                  <a:pt x="1755" y="3263"/>
                </a:moveTo>
                <a:lnTo>
                  <a:pt x="1755" y="3263"/>
                </a:lnTo>
                <a:cubicBezTo>
                  <a:pt x="1701" y="3263"/>
                  <a:pt x="1658" y="3306"/>
                  <a:pt x="1658" y="3359"/>
                </a:cubicBezTo>
                <a:cubicBezTo>
                  <a:pt x="1658" y="3412"/>
                  <a:pt x="1701" y="3456"/>
                  <a:pt x="1755" y="3456"/>
                </a:cubicBezTo>
                <a:cubicBezTo>
                  <a:pt x="1808" y="3456"/>
                  <a:pt x="1851" y="3412"/>
                  <a:pt x="1851" y="3359"/>
                </a:cubicBezTo>
                <a:cubicBezTo>
                  <a:pt x="1851" y="3306"/>
                  <a:pt x="1808" y="3263"/>
                  <a:pt x="1755" y="3263"/>
                </a:cubicBezTo>
                <a:lnTo>
                  <a:pt x="1755" y="3263"/>
                </a:lnTo>
                <a:close/>
                <a:moveTo>
                  <a:pt x="1241" y="3359"/>
                </a:moveTo>
                <a:lnTo>
                  <a:pt x="1241" y="3359"/>
                </a:lnTo>
                <a:cubicBezTo>
                  <a:pt x="1241" y="3412"/>
                  <a:pt x="1198" y="3456"/>
                  <a:pt x="1145" y="3456"/>
                </a:cubicBezTo>
                <a:cubicBezTo>
                  <a:pt x="1091" y="3456"/>
                  <a:pt x="1048" y="3412"/>
                  <a:pt x="1048" y="3359"/>
                </a:cubicBezTo>
                <a:cubicBezTo>
                  <a:pt x="1048" y="3306"/>
                  <a:pt x="1091" y="3263"/>
                  <a:pt x="1145" y="3263"/>
                </a:cubicBezTo>
                <a:cubicBezTo>
                  <a:pt x="1198" y="3263"/>
                  <a:pt x="1241" y="3306"/>
                  <a:pt x="1241" y="3359"/>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Light"/>
              <a:ea typeface="+mn-ea"/>
              <a:cs typeface="+mn-cs"/>
            </a:endParaRPr>
          </a:p>
        </p:txBody>
      </p:sp>
      <p:grpSp>
        <p:nvGrpSpPr>
          <p:cNvPr id="26" name="Group 25">
            <a:extLst>
              <a:ext uri="{FF2B5EF4-FFF2-40B4-BE49-F238E27FC236}">
                <a16:creationId xmlns:a16="http://schemas.microsoft.com/office/drawing/2014/main" id="{AC5262FB-ED6B-864D-84A0-1A7803EA20AB}"/>
              </a:ext>
            </a:extLst>
          </p:cNvPr>
          <p:cNvGrpSpPr>
            <a:grpSpLocks noChangeAspect="1"/>
          </p:cNvGrpSpPr>
          <p:nvPr/>
        </p:nvGrpSpPr>
        <p:grpSpPr>
          <a:xfrm>
            <a:off x="7583263" y="1977305"/>
            <a:ext cx="802839" cy="785480"/>
            <a:chOff x="1557338" y="565150"/>
            <a:chExt cx="1174750" cy="1149350"/>
          </a:xfrm>
          <a:solidFill>
            <a:schemeClr val="bg1"/>
          </a:solidFill>
        </p:grpSpPr>
        <p:sp>
          <p:nvSpPr>
            <p:cNvPr id="27" name="Freeform 5">
              <a:extLst>
                <a:ext uri="{FF2B5EF4-FFF2-40B4-BE49-F238E27FC236}">
                  <a16:creationId xmlns:a16="http://schemas.microsoft.com/office/drawing/2014/main" id="{304960F6-702D-1049-BAD5-B32608CE1027}"/>
                </a:ext>
              </a:extLst>
            </p:cNvPr>
            <p:cNvSpPr>
              <a:spLocks noEditPoints="1"/>
            </p:cNvSpPr>
            <p:nvPr/>
          </p:nvSpPr>
          <p:spPr bwMode="auto">
            <a:xfrm>
              <a:off x="1774826" y="766763"/>
              <a:ext cx="738188" cy="425450"/>
            </a:xfrm>
            <a:custGeom>
              <a:avLst/>
              <a:gdLst>
                <a:gd name="T0" fmla="*/ 2765 w 3004"/>
                <a:gd name="T1" fmla="*/ 126 h 1730"/>
                <a:gd name="T2" fmla="*/ 2765 w 3004"/>
                <a:gd name="T3" fmla="*/ 126 h 1730"/>
                <a:gd name="T4" fmla="*/ 2878 w 3004"/>
                <a:gd name="T5" fmla="*/ 238 h 1730"/>
                <a:gd name="T6" fmla="*/ 2765 w 3004"/>
                <a:gd name="T7" fmla="*/ 351 h 1730"/>
                <a:gd name="T8" fmla="*/ 2653 w 3004"/>
                <a:gd name="T9" fmla="*/ 238 h 1730"/>
                <a:gd name="T10" fmla="*/ 2765 w 3004"/>
                <a:gd name="T11" fmla="*/ 126 h 1730"/>
                <a:gd name="T12" fmla="*/ 1515 w 3004"/>
                <a:gd name="T13" fmla="*/ 1601 h 1730"/>
                <a:gd name="T14" fmla="*/ 1515 w 3004"/>
                <a:gd name="T15" fmla="*/ 1601 h 1730"/>
                <a:gd name="T16" fmla="*/ 1402 w 3004"/>
                <a:gd name="T17" fmla="*/ 1489 h 1730"/>
                <a:gd name="T18" fmla="*/ 1515 w 3004"/>
                <a:gd name="T19" fmla="*/ 1376 h 1730"/>
                <a:gd name="T20" fmla="*/ 1627 w 3004"/>
                <a:gd name="T21" fmla="*/ 1489 h 1730"/>
                <a:gd name="T22" fmla="*/ 1515 w 3004"/>
                <a:gd name="T23" fmla="*/ 1601 h 1730"/>
                <a:gd name="T24" fmla="*/ 848 w 3004"/>
                <a:gd name="T25" fmla="*/ 935 h 1730"/>
                <a:gd name="T26" fmla="*/ 848 w 3004"/>
                <a:gd name="T27" fmla="*/ 935 h 1730"/>
                <a:gd name="T28" fmla="*/ 960 w 3004"/>
                <a:gd name="T29" fmla="*/ 822 h 1730"/>
                <a:gd name="T30" fmla="*/ 1073 w 3004"/>
                <a:gd name="T31" fmla="*/ 935 h 1730"/>
                <a:gd name="T32" fmla="*/ 960 w 3004"/>
                <a:gd name="T33" fmla="*/ 1047 h 1730"/>
                <a:gd name="T34" fmla="*/ 848 w 3004"/>
                <a:gd name="T35" fmla="*/ 935 h 1730"/>
                <a:gd name="T36" fmla="*/ 238 w 3004"/>
                <a:gd name="T37" fmla="*/ 1604 h 1730"/>
                <a:gd name="T38" fmla="*/ 238 w 3004"/>
                <a:gd name="T39" fmla="*/ 1604 h 1730"/>
                <a:gd name="T40" fmla="*/ 125 w 3004"/>
                <a:gd name="T41" fmla="*/ 1492 h 1730"/>
                <a:gd name="T42" fmla="*/ 238 w 3004"/>
                <a:gd name="T43" fmla="*/ 1379 h 1730"/>
                <a:gd name="T44" fmla="*/ 350 w 3004"/>
                <a:gd name="T45" fmla="*/ 1492 h 1730"/>
                <a:gd name="T46" fmla="*/ 238 w 3004"/>
                <a:gd name="T47" fmla="*/ 1604 h 1730"/>
                <a:gd name="T48" fmla="*/ 1515 w 3004"/>
                <a:gd name="T49" fmla="*/ 1250 h 1730"/>
                <a:gd name="T50" fmla="*/ 1515 w 3004"/>
                <a:gd name="T51" fmla="*/ 1250 h 1730"/>
                <a:gd name="T52" fmla="*/ 1397 w 3004"/>
                <a:gd name="T53" fmla="*/ 1282 h 1730"/>
                <a:gd name="T54" fmla="*/ 1167 w 3004"/>
                <a:gd name="T55" fmla="*/ 1052 h 1730"/>
                <a:gd name="T56" fmla="*/ 1199 w 3004"/>
                <a:gd name="T57" fmla="*/ 935 h 1730"/>
                <a:gd name="T58" fmla="*/ 960 w 3004"/>
                <a:gd name="T59" fmla="*/ 696 h 1730"/>
                <a:gd name="T60" fmla="*/ 722 w 3004"/>
                <a:gd name="T61" fmla="*/ 935 h 1730"/>
                <a:gd name="T62" fmla="*/ 740 w 3004"/>
                <a:gd name="T63" fmla="*/ 1026 h 1730"/>
                <a:gd name="T64" fmla="*/ 372 w 3004"/>
                <a:gd name="T65" fmla="*/ 1295 h 1730"/>
                <a:gd name="T66" fmla="*/ 238 w 3004"/>
                <a:gd name="T67" fmla="*/ 1254 h 1730"/>
                <a:gd name="T68" fmla="*/ 0 w 3004"/>
                <a:gd name="T69" fmla="*/ 1492 h 1730"/>
                <a:gd name="T70" fmla="*/ 238 w 3004"/>
                <a:gd name="T71" fmla="*/ 1730 h 1730"/>
                <a:gd name="T72" fmla="*/ 476 w 3004"/>
                <a:gd name="T73" fmla="*/ 1492 h 1730"/>
                <a:gd name="T74" fmla="*/ 453 w 3004"/>
                <a:gd name="T75" fmla="*/ 1391 h 1730"/>
                <a:gd name="T76" fmla="*/ 818 w 3004"/>
                <a:gd name="T77" fmla="*/ 1125 h 1730"/>
                <a:gd name="T78" fmla="*/ 960 w 3004"/>
                <a:gd name="T79" fmla="*/ 1173 h 1730"/>
                <a:gd name="T80" fmla="*/ 1078 w 3004"/>
                <a:gd name="T81" fmla="*/ 1141 h 1730"/>
                <a:gd name="T82" fmla="*/ 1308 w 3004"/>
                <a:gd name="T83" fmla="*/ 1371 h 1730"/>
                <a:gd name="T84" fmla="*/ 1276 w 3004"/>
                <a:gd name="T85" fmla="*/ 1489 h 1730"/>
                <a:gd name="T86" fmla="*/ 1515 w 3004"/>
                <a:gd name="T87" fmla="*/ 1727 h 1730"/>
                <a:gd name="T88" fmla="*/ 1753 w 3004"/>
                <a:gd name="T89" fmla="*/ 1489 h 1730"/>
                <a:gd name="T90" fmla="*/ 1724 w 3004"/>
                <a:gd name="T91" fmla="*/ 1375 h 1730"/>
                <a:gd name="T92" fmla="*/ 2653 w 3004"/>
                <a:gd name="T93" fmla="*/ 449 h 1730"/>
                <a:gd name="T94" fmla="*/ 2765 w 3004"/>
                <a:gd name="T95" fmla="*/ 477 h 1730"/>
                <a:gd name="T96" fmla="*/ 3004 w 3004"/>
                <a:gd name="T97" fmla="*/ 238 h 1730"/>
                <a:gd name="T98" fmla="*/ 2765 w 3004"/>
                <a:gd name="T99" fmla="*/ 0 h 1730"/>
                <a:gd name="T100" fmla="*/ 2527 w 3004"/>
                <a:gd name="T101" fmla="*/ 238 h 1730"/>
                <a:gd name="T102" fmla="*/ 2562 w 3004"/>
                <a:gd name="T103" fmla="*/ 362 h 1730"/>
                <a:gd name="T104" fmla="*/ 1637 w 3004"/>
                <a:gd name="T105" fmla="*/ 1284 h 1730"/>
                <a:gd name="T106" fmla="*/ 1515 w 3004"/>
                <a:gd name="T107" fmla="*/ 1250 h 1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04" h="1730">
                  <a:moveTo>
                    <a:pt x="2765" y="126"/>
                  </a:moveTo>
                  <a:lnTo>
                    <a:pt x="2765" y="126"/>
                  </a:lnTo>
                  <a:cubicBezTo>
                    <a:pt x="2827" y="126"/>
                    <a:pt x="2878" y="176"/>
                    <a:pt x="2878" y="238"/>
                  </a:cubicBezTo>
                  <a:cubicBezTo>
                    <a:pt x="2878" y="301"/>
                    <a:pt x="2827" y="351"/>
                    <a:pt x="2765" y="351"/>
                  </a:cubicBezTo>
                  <a:cubicBezTo>
                    <a:pt x="2703" y="351"/>
                    <a:pt x="2653" y="301"/>
                    <a:pt x="2653" y="238"/>
                  </a:cubicBezTo>
                  <a:cubicBezTo>
                    <a:pt x="2653" y="176"/>
                    <a:pt x="2703" y="126"/>
                    <a:pt x="2765" y="126"/>
                  </a:cubicBezTo>
                  <a:close/>
                  <a:moveTo>
                    <a:pt x="1515" y="1601"/>
                  </a:moveTo>
                  <a:lnTo>
                    <a:pt x="1515" y="1601"/>
                  </a:lnTo>
                  <a:cubicBezTo>
                    <a:pt x="1453" y="1601"/>
                    <a:pt x="1402" y="1551"/>
                    <a:pt x="1402" y="1489"/>
                  </a:cubicBezTo>
                  <a:cubicBezTo>
                    <a:pt x="1402" y="1427"/>
                    <a:pt x="1453" y="1376"/>
                    <a:pt x="1515" y="1376"/>
                  </a:cubicBezTo>
                  <a:cubicBezTo>
                    <a:pt x="1577" y="1376"/>
                    <a:pt x="1627" y="1427"/>
                    <a:pt x="1627" y="1489"/>
                  </a:cubicBezTo>
                  <a:cubicBezTo>
                    <a:pt x="1627" y="1551"/>
                    <a:pt x="1577" y="1601"/>
                    <a:pt x="1515" y="1601"/>
                  </a:cubicBezTo>
                  <a:close/>
                  <a:moveTo>
                    <a:pt x="848" y="935"/>
                  </a:moveTo>
                  <a:lnTo>
                    <a:pt x="848" y="935"/>
                  </a:lnTo>
                  <a:cubicBezTo>
                    <a:pt x="848" y="872"/>
                    <a:pt x="898" y="822"/>
                    <a:pt x="960" y="822"/>
                  </a:cubicBezTo>
                  <a:cubicBezTo>
                    <a:pt x="1022" y="822"/>
                    <a:pt x="1073" y="872"/>
                    <a:pt x="1073" y="935"/>
                  </a:cubicBezTo>
                  <a:cubicBezTo>
                    <a:pt x="1073" y="997"/>
                    <a:pt x="1022" y="1047"/>
                    <a:pt x="960" y="1047"/>
                  </a:cubicBezTo>
                  <a:cubicBezTo>
                    <a:pt x="898" y="1047"/>
                    <a:pt x="848" y="997"/>
                    <a:pt x="848" y="935"/>
                  </a:cubicBezTo>
                  <a:close/>
                  <a:moveTo>
                    <a:pt x="238" y="1604"/>
                  </a:moveTo>
                  <a:lnTo>
                    <a:pt x="238" y="1604"/>
                  </a:lnTo>
                  <a:cubicBezTo>
                    <a:pt x="176" y="1604"/>
                    <a:pt x="125" y="1554"/>
                    <a:pt x="125" y="1492"/>
                  </a:cubicBezTo>
                  <a:cubicBezTo>
                    <a:pt x="125" y="1430"/>
                    <a:pt x="176" y="1379"/>
                    <a:pt x="238" y="1379"/>
                  </a:cubicBezTo>
                  <a:cubicBezTo>
                    <a:pt x="300" y="1379"/>
                    <a:pt x="350" y="1430"/>
                    <a:pt x="350" y="1492"/>
                  </a:cubicBezTo>
                  <a:cubicBezTo>
                    <a:pt x="350" y="1554"/>
                    <a:pt x="300" y="1604"/>
                    <a:pt x="238" y="1604"/>
                  </a:cubicBezTo>
                  <a:close/>
                  <a:moveTo>
                    <a:pt x="1515" y="1250"/>
                  </a:moveTo>
                  <a:lnTo>
                    <a:pt x="1515" y="1250"/>
                  </a:lnTo>
                  <a:cubicBezTo>
                    <a:pt x="1472" y="1250"/>
                    <a:pt x="1432" y="1262"/>
                    <a:pt x="1397" y="1282"/>
                  </a:cubicBezTo>
                  <a:lnTo>
                    <a:pt x="1167" y="1052"/>
                  </a:lnTo>
                  <a:cubicBezTo>
                    <a:pt x="1187" y="1018"/>
                    <a:pt x="1199" y="977"/>
                    <a:pt x="1199" y="935"/>
                  </a:cubicBezTo>
                  <a:cubicBezTo>
                    <a:pt x="1199" y="803"/>
                    <a:pt x="1092" y="696"/>
                    <a:pt x="960" y="696"/>
                  </a:cubicBezTo>
                  <a:cubicBezTo>
                    <a:pt x="829" y="696"/>
                    <a:pt x="722" y="803"/>
                    <a:pt x="722" y="935"/>
                  </a:cubicBezTo>
                  <a:cubicBezTo>
                    <a:pt x="722" y="967"/>
                    <a:pt x="729" y="998"/>
                    <a:pt x="740" y="1026"/>
                  </a:cubicBezTo>
                  <a:lnTo>
                    <a:pt x="372" y="1295"/>
                  </a:lnTo>
                  <a:cubicBezTo>
                    <a:pt x="333" y="1269"/>
                    <a:pt x="287" y="1254"/>
                    <a:pt x="238" y="1254"/>
                  </a:cubicBezTo>
                  <a:cubicBezTo>
                    <a:pt x="106" y="1254"/>
                    <a:pt x="0" y="1360"/>
                    <a:pt x="0" y="1492"/>
                  </a:cubicBezTo>
                  <a:cubicBezTo>
                    <a:pt x="0" y="1623"/>
                    <a:pt x="106" y="1730"/>
                    <a:pt x="238" y="1730"/>
                  </a:cubicBezTo>
                  <a:cubicBezTo>
                    <a:pt x="369" y="1730"/>
                    <a:pt x="476" y="1623"/>
                    <a:pt x="476" y="1492"/>
                  </a:cubicBezTo>
                  <a:cubicBezTo>
                    <a:pt x="476" y="1456"/>
                    <a:pt x="468" y="1421"/>
                    <a:pt x="453" y="1391"/>
                  </a:cubicBezTo>
                  <a:lnTo>
                    <a:pt x="818" y="1125"/>
                  </a:lnTo>
                  <a:cubicBezTo>
                    <a:pt x="858" y="1155"/>
                    <a:pt x="907" y="1173"/>
                    <a:pt x="960" y="1173"/>
                  </a:cubicBezTo>
                  <a:cubicBezTo>
                    <a:pt x="1003" y="1173"/>
                    <a:pt x="1044" y="1161"/>
                    <a:pt x="1078" y="1141"/>
                  </a:cubicBezTo>
                  <a:lnTo>
                    <a:pt x="1308" y="1371"/>
                  </a:lnTo>
                  <a:cubicBezTo>
                    <a:pt x="1288" y="1406"/>
                    <a:pt x="1276" y="1446"/>
                    <a:pt x="1276" y="1489"/>
                  </a:cubicBezTo>
                  <a:cubicBezTo>
                    <a:pt x="1276" y="1620"/>
                    <a:pt x="1383" y="1727"/>
                    <a:pt x="1515" y="1727"/>
                  </a:cubicBezTo>
                  <a:cubicBezTo>
                    <a:pt x="1646" y="1727"/>
                    <a:pt x="1753" y="1620"/>
                    <a:pt x="1753" y="1489"/>
                  </a:cubicBezTo>
                  <a:cubicBezTo>
                    <a:pt x="1753" y="1448"/>
                    <a:pt x="1743" y="1409"/>
                    <a:pt x="1724" y="1375"/>
                  </a:cubicBezTo>
                  <a:lnTo>
                    <a:pt x="2653" y="449"/>
                  </a:lnTo>
                  <a:cubicBezTo>
                    <a:pt x="2686" y="467"/>
                    <a:pt x="2725" y="477"/>
                    <a:pt x="2765" y="477"/>
                  </a:cubicBezTo>
                  <a:cubicBezTo>
                    <a:pt x="2897" y="477"/>
                    <a:pt x="3004" y="370"/>
                    <a:pt x="3004" y="238"/>
                  </a:cubicBezTo>
                  <a:cubicBezTo>
                    <a:pt x="3004" y="107"/>
                    <a:pt x="2897" y="0"/>
                    <a:pt x="2765" y="0"/>
                  </a:cubicBezTo>
                  <a:cubicBezTo>
                    <a:pt x="2634" y="0"/>
                    <a:pt x="2527" y="107"/>
                    <a:pt x="2527" y="238"/>
                  </a:cubicBezTo>
                  <a:cubicBezTo>
                    <a:pt x="2527" y="284"/>
                    <a:pt x="2540" y="326"/>
                    <a:pt x="2562" y="362"/>
                  </a:cubicBezTo>
                  <a:lnTo>
                    <a:pt x="1637" y="1284"/>
                  </a:lnTo>
                  <a:cubicBezTo>
                    <a:pt x="1601" y="1263"/>
                    <a:pt x="1559" y="1250"/>
                    <a:pt x="1515" y="125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Light"/>
                <a:ea typeface="+mn-ea"/>
                <a:cs typeface="+mn-cs"/>
              </a:endParaRPr>
            </a:p>
          </p:txBody>
        </p:sp>
        <p:sp>
          <p:nvSpPr>
            <p:cNvPr id="28" name="Freeform 6">
              <a:extLst>
                <a:ext uri="{FF2B5EF4-FFF2-40B4-BE49-F238E27FC236}">
                  <a16:creationId xmlns:a16="http://schemas.microsoft.com/office/drawing/2014/main" id="{F1F9145B-A2FD-1849-A84D-1F3D2F6BBDB1}"/>
                </a:ext>
              </a:extLst>
            </p:cNvPr>
            <p:cNvSpPr>
              <a:spLocks noEditPoints="1"/>
            </p:cNvSpPr>
            <p:nvPr/>
          </p:nvSpPr>
          <p:spPr bwMode="auto">
            <a:xfrm>
              <a:off x="1785938" y="1203325"/>
              <a:ext cx="169863" cy="290513"/>
            </a:xfrm>
            <a:custGeom>
              <a:avLst/>
              <a:gdLst>
                <a:gd name="T0" fmla="*/ 565 w 691"/>
                <a:gd name="T1" fmla="*/ 955 h 1181"/>
                <a:gd name="T2" fmla="*/ 565 w 691"/>
                <a:gd name="T3" fmla="*/ 955 h 1181"/>
                <a:gd name="T4" fmla="*/ 465 w 691"/>
                <a:gd name="T5" fmla="*/ 1055 h 1181"/>
                <a:gd name="T6" fmla="*/ 226 w 691"/>
                <a:gd name="T7" fmla="*/ 1055 h 1181"/>
                <a:gd name="T8" fmla="*/ 126 w 691"/>
                <a:gd name="T9" fmla="*/ 955 h 1181"/>
                <a:gd name="T10" fmla="*/ 126 w 691"/>
                <a:gd name="T11" fmla="*/ 226 h 1181"/>
                <a:gd name="T12" fmla="*/ 226 w 691"/>
                <a:gd name="T13" fmla="*/ 126 h 1181"/>
                <a:gd name="T14" fmla="*/ 465 w 691"/>
                <a:gd name="T15" fmla="*/ 126 h 1181"/>
                <a:gd name="T16" fmla="*/ 565 w 691"/>
                <a:gd name="T17" fmla="*/ 226 h 1181"/>
                <a:gd name="T18" fmla="*/ 565 w 691"/>
                <a:gd name="T19" fmla="*/ 955 h 1181"/>
                <a:gd name="T20" fmla="*/ 465 w 691"/>
                <a:gd name="T21" fmla="*/ 0 h 1181"/>
                <a:gd name="T22" fmla="*/ 465 w 691"/>
                <a:gd name="T23" fmla="*/ 0 h 1181"/>
                <a:gd name="T24" fmla="*/ 226 w 691"/>
                <a:gd name="T25" fmla="*/ 0 h 1181"/>
                <a:gd name="T26" fmla="*/ 0 w 691"/>
                <a:gd name="T27" fmla="*/ 226 h 1181"/>
                <a:gd name="T28" fmla="*/ 0 w 691"/>
                <a:gd name="T29" fmla="*/ 955 h 1181"/>
                <a:gd name="T30" fmla="*/ 226 w 691"/>
                <a:gd name="T31" fmla="*/ 1181 h 1181"/>
                <a:gd name="T32" fmla="*/ 465 w 691"/>
                <a:gd name="T33" fmla="*/ 1181 h 1181"/>
                <a:gd name="T34" fmla="*/ 691 w 691"/>
                <a:gd name="T35" fmla="*/ 955 h 1181"/>
                <a:gd name="T36" fmla="*/ 691 w 691"/>
                <a:gd name="T37" fmla="*/ 226 h 1181"/>
                <a:gd name="T38" fmla="*/ 465 w 691"/>
                <a:gd name="T39" fmla="*/ 0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1" h="1181">
                  <a:moveTo>
                    <a:pt x="565" y="955"/>
                  </a:moveTo>
                  <a:lnTo>
                    <a:pt x="565" y="955"/>
                  </a:lnTo>
                  <a:cubicBezTo>
                    <a:pt x="565" y="1011"/>
                    <a:pt x="520" y="1055"/>
                    <a:pt x="465" y="1055"/>
                  </a:cubicBezTo>
                  <a:lnTo>
                    <a:pt x="226" y="1055"/>
                  </a:lnTo>
                  <a:cubicBezTo>
                    <a:pt x="171" y="1055"/>
                    <a:pt x="126" y="1011"/>
                    <a:pt x="126" y="955"/>
                  </a:cubicBezTo>
                  <a:lnTo>
                    <a:pt x="126" y="226"/>
                  </a:lnTo>
                  <a:cubicBezTo>
                    <a:pt x="126" y="171"/>
                    <a:pt x="171" y="126"/>
                    <a:pt x="226" y="126"/>
                  </a:cubicBezTo>
                  <a:lnTo>
                    <a:pt x="465" y="126"/>
                  </a:lnTo>
                  <a:cubicBezTo>
                    <a:pt x="520" y="126"/>
                    <a:pt x="565" y="171"/>
                    <a:pt x="565" y="226"/>
                  </a:cubicBezTo>
                  <a:lnTo>
                    <a:pt x="565" y="955"/>
                  </a:lnTo>
                  <a:close/>
                  <a:moveTo>
                    <a:pt x="465" y="0"/>
                  </a:moveTo>
                  <a:lnTo>
                    <a:pt x="465" y="0"/>
                  </a:lnTo>
                  <a:lnTo>
                    <a:pt x="226" y="0"/>
                  </a:lnTo>
                  <a:cubicBezTo>
                    <a:pt x="101" y="0"/>
                    <a:pt x="0" y="101"/>
                    <a:pt x="0" y="226"/>
                  </a:cubicBezTo>
                  <a:lnTo>
                    <a:pt x="0" y="955"/>
                  </a:lnTo>
                  <a:cubicBezTo>
                    <a:pt x="0" y="1080"/>
                    <a:pt x="101" y="1181"/>
                    <a:pt x="226" y="1181"/>
                  </a:cubicBezTo>
                  <a:lnTo>
                    <a:pt x="465" y="1181"/>
                  </a:lnTo>
                  <a:cubicBezTo>
                    <a:pt x="590" y="1181"/>
                    <a:pt x="691" y="1080"/>
                    <a:pt x="691" y="955"/>
                  </a:cubicBezTo>
                  <a:lnTo>
                    <a:pt x="691" y="226"/>
                  </a:lnTo>
                  <a:cubicBezTo>
                    <a:pt x="691" y="101"/>
                    <a:pt x="590" y="0"/>
                    <a:pt x="465"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Light"/>
                <a:ea typeface="+mn-ea"/>
                <a:cs typeface="+mn-cs"/>
              </a:endParaRPr>
            </a:p>
          </p:txBody>
        </p:sp>
        <p:sp>
          <p:nvSpPr>
            <p:cNvPr id="29" name="Freeform 7">
              <a:extLst>
                <a:ext uri="{FF2B5EF4-FFF2-40B4-BE49-F238E27FC236}">
                  <a16:creationId xmlns:a16="http://schemas.microsoft.com/office/drawing/2014/main" id="{89AF68C7-FC36-2046-AED9-D06F0B977B76}"/>
                </a:ext>
              </a:extLst>
            </p:cNvPr>
            <p:cNvSpPr>
              <a:spLocks noEditPoints="1"/>
            </p:cNvSpPr>
            <p:nvPr/>
          </p:nvSpPr>
          <p:spPr bwMode="auto">
            <a:xfrm>
              <a:off x="2217738" y="1155700"/>
              <a:ext cx="169863" cy="338138"/>
            </a:xfrm>
            <a:custGeom>
              <a:avLst/>
              <a:gdLst>
                <a:gd name="T0" fmla="*/ 564 w 690"/>
                <a:gd name="T1" fmla="*/ 226 h 1379"/>
                <a:gd name="T2" fmla="*/ 564 w 690"/>
                <a:gd name="T3" fmla="*/ 226 h 1379"/>
                <a:gd name="T4" fmla="*/ 564 w 690"/>
                <a:gd name="T5" fmla="*/ 1153 h 1379"/>
                <a:gd name="T6" fmla="*/ 464 w 690"/>
                <a:gd name="T7" fmla="*/ 1253 h 1379"/>
                <a:gd name="T8" fmla="*/ 226 w 690"/>
                <a:gd name="T9" fmla="*/ 1253 h 1379"/>
                <a:gd name="T10" fmla="*/ 126 w 690"/>
                <a:gd name="T11" fmla="*/ 1153 h 1379"/>
                <a:gd name="T12" fmla="*/ 126 w 690"/>
                <a:gd name="T13" fmla="*/ 226 h 1379"/>
                <a:gd name="T14" fmla="*/ 226 w 690"/>
                <a:gd name="T15" fmla="*/ 126 h 1379"/>
                <a:gd name="T16" fmla="*/ 464 w 690"/>
                <a:gd name="T17" fmla="*/ 126 h 1379"/>
                <a:gd name="T18" fmla="*/ 564 w 690"/>
                <a:gd name="T19" fmla="*/ 226 h 1379"/>
                <a:gd name="T20" fmla="*/ 226 w 690"/>
                <a:gd name="T21" fmla="*/ 0 h 1379"/>
                <a:gd name="T22" fmla="*/ 226 w 690"/>
                <a:gd name="T23" fmla="*/ 0 h 1379"/>
                <a:gd name="T24" fmla="*/ 0 w 690"/>
                <a:gd name="T25" fmla="*/ 226 h 1379"/>
                <a:gd name="T26" fmla="*/ 0 w 690"/>
                <a:gd name="T27" fmla="*/ 1153 h 1379"/>
                <a:gd name="T28" fmla="*/ 226 w 690"/>
                <a:gd name="T29" fmla="*/ 1379 h 1379"/>
                <a:gd name="T30" fmla="*/ 464 w 690"/>
                <a:gd name="T31" fmla="*/ 1379 h 1379"/>
                <a:gd name="T32" fmla="*/ 690 w 690"/>
                <a:gd name="T33" fmla="*/ 1153 h 1379"/>
                <a:gd name="T34" fmla="*/ 690 w 690"/>
                <a:gd name="T35" fmla="*/ 226 h 1379"/>
                <a:gd name="T36" fmla="*/ 464 w 690"/>
                <a:gd name="T37" fmla="*/ 0 h 1379"/>
                <a:gd name="T38" fmla="*/ 226 w 690"/>
                <a:gd name="T39" fmla="*/ 0 h 1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0" h="1379">
                  <a:moveTo>
                    <a:pt x="564" y="226"/>
                  </a:moveTo>
                  <a:lnTo>
                    <a:pt x="564" y="226"/>
                  </a:lnTo>
                  <a:lnTo>
                    <a:pt x="564" y="1153"/>
                  </a:lnTo>
                  <a:cubicBezTo>
                    <a:pt x="564" y="1209"/>
                    <a:pt x="519" y="1253"/>
                    <a:pt x="464" y="1253"/>
                  </a:cubicBezTo>
                  <a:lnTo>
                    <a:pt x="226" y="1253"/>
                  </a:lnTo>
                  <a:cubicBezTo>
                    <a:pt x="171" y="1253"/>
                    <a:pt x="126" y="1209"/>
                    <a:pt x="126" y="1153"/>
                  </a:cubicBezTo>
                  <a:lnTo>
                    <a:pt x="126" y="226"/>
                  </a:lnTo>
                  <a:cubicBezTo>
                    <a:pt x="126" y="171"/>
                    <a:pt x="171" y="126"/>
                    <a:pt x="226" y="126"/>
                  </a:cubicBezTo>
                  <a:lnTo>
                    <a:pt x="464" y="126"/>
                  </a:lnTo>
                  <a:cubicBezTo>
                    <a:pt x="519" y="126"/>
                    <a:pt x="564" y="171"/>
                    <a:pt x="564" y="226"/>
                  </a:cubicBezTo>
                  <a:close/>
                  <a:moveTo>
                    <a:pt x="226" y="0"/>
                  </a:moveTo>
                  <a:lnTo>
                    <a:pt x="226" y="0"/>
                  </a:lnTo>
                  <a:cubicBezTo>
                    <a:pt x="101" y="0"/>
                    <a:pt x="0" y="101"/>
                    <a:pt x="0" y="226"/>
                  </a:cubicBezTo>
                  <a:lnTo>
                    <a:pt x="0" y="1153"/>
                  </a:lnTo>
                  <a:cubicBezTo>
                    <a:pt x="0" y="1278"/>
                    <a:pt x="101" y="1379"/>
                    <a:pt x="226" y="1379"/>
                  </a:cubicBezTo>
                  <a:lnTo>
                    <a:pt x="464" y="1379"/>
                  </a:lnTo>
                  <a:cubicBezTo>
                    <a:pt x="589" y="1379"/>
                    <a:pt x="690" y="1278"/>
                    <a:pt x="690" y="1153"/>
                  </a:cubicBezTo>
                  <a:lnTo>
                    <a:pt x="690" y="226"/>
                  </a:lnTo>
                  <a:cubicBezTo>
                    <a:pt x="690" y="101"/>
                    <a:pt x="589" y="0"/>
                    <a:pt x="464" y="0"/>
                  </a:cubicBezTo>
                  <a:lnTo>
                    <a:pt x="22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Light"/>
                <a:ea typeface="+mn-ea"/>
                <a:cs typeface="+mn-cs"/>
              </a:endParaRPr>
            </a:p>
          </p:txBody>
        </p:sp>
        <p:sp>
          <p:nvSpPr>
            <p:cNvPr id="30" name="Freeform 8">
              <a:extLst>
                <a:ext uri="{FF2B5EF4-FFF2-40B4-BE49-F238E27FC236}">
                  <a16:creationId xmlns:a16="http://schemas.microsoft.com/office/drawing/2014/main" id="{E96A8A86-17C8-F14A-A665-CD8B225CE8C6}"/>
                </a:ext>
              </a:extLst>
            </p:cNvPr>
            <p:cNvSpPr>
              <a:spLocks noEditPoints="1"/>
            </p:cNvSpPr>
            <p:nvPr/>
          </p:nvSpPr>
          <p:spPr bwMode="auto">
            <a:xfrm>
              <a:off x="2000251" y="1292225"/>
              <a:ext cx="171450" cy="201613"/>
            </a:xfrm>
            <a:custGeom>
              <a:avLst/>
              <a:gdLst>
                <a:gd name="T0" fmla="*/ 577 w 703"/>
                <a:gd name="T1" fmla="*/ 594 h 820"/>
                <a:gd name="T2" fmla="*/ 577 w 703"/>
                <a:gd name="T3" fmla="*/ 594 h 820"/>
                <a:gd name="T4" fmla="*/ 477 w 703"/>
                <a:gd name="T5" fmla="*/ 694 h 820"/>
                <a:gd name="T6" fmla="*/ 226 w 703"/>
                <a:gd name="T7" fmla="*/ 694 h 820"/>
                <a:gd name="T8" fmla="*/ 126 w 703"/>
                <a:gd name="T9" fmla="*/ 594 h 820"/>
                <a:gd name="T10" fmla="*/ 126 w 703"/>
                <a:gd name="T11" fmla="*/ 226 h 820"/>
                <a:gd name="T12" fmla="*/ 226 w 703"/>
                <a:gd name="T13" fmla="*/ 126 h 820"/>
                <a:gd name="T14" fmla="*/ 477 w 703"/>
                <a:gd name="T15" fmla="*/ 126 h 820"/>
                <a:gd name="T16" fmla="*/ 577 w 703"/>
                <a:gd name="T17" fmla="*/ 226 h 820"/>
                <a:gd name="T18" fmla="*/ 577 w 703"/>
                <a:gd name="T19" fmla="*/ 594 h 820"/>
                <a:gd name="T20" fmla="*/ 703 w 703"/>
                <a:gd name="T21" fmla="*/ 226 h 820"/>
                <a:gd name="T22" fmla="*/ 703 w 703"/>
                <a:gd name="T23" fmla="*/ 226 h 820"/>
                <a:gd name="T24" fmla="*/ 477 w 703"/>
                <a:gd name="T25" fmla="*/ 0 h 820"/>
                <a:gd name="T26" fmla="*/ 226 w 703"/>
                <a:gd name="T27" fmla="*/ 0 h 820"/>
                <a:gd name="T28" fmla="*/ 0 w 703"/>
                <a:gd name="T29" fmla="*/ 226 h 820"/>
                <a:gd name="T30" fmla="*/ 0 w 703"/>
                <a:gd name="T31" fmla="*/ 594 h 820"/>
                <a:gd name="T32" fmla="*/ 226 w 703"/>
                <a:gd name="T33" fmla="*/ 820 h 820"/>
                <a:gd name="T34" fmla="*/ 477 w 703"/>
                <a:gd name="T35" fmla="*/ 820 h 820"/>
                <a:gd name="T36" fmla="*/ 703 w 703"/>
                <a:gd name="T37" fmla="*/ 594 h 820"/>
                <a:gd name="T38" fmla="*/ 703 w 703"/>
                <a:gd name="T39" fmla="*/ 226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3" h="820">
                  <a:moveTo>
                    <a:pt x="577" y="594"/>
                  </a:moveTo>
                  <a:lnTo>
                    <a:pt x="577" y="594"/>
                  </a:lnTo>
                  <a:cubicBezTo>
                    <a:pt x="577" y="650"/>
                    <a:pt x="532" y="694"/>
                    <a:pt x="477" y="694"/>
                  </a:cubicBezTo>
                  <a:lnTo>
                    <a:pt x="226" y="694"/>
                  </a:lnTo>
                  <a:cubicBezTo>
                    <a:pt x="171" y="694"/>
                    <a:pt x="126" y="650"/>
                    <a:pt x="126" y="594"/>
                  </a:cubicBezTo>
                  <a:lnTo>
                    <a:pt x="126" y="226"/>
                  </a:lnTo>
                  <a:cubicBezTo>
                    <a:pt x="126" y="171"/>
                    <a:pt x="171" y="126"/>
                    <a:pt x="226" y="126"/>
                  </a:cubicBezTo>
                  <a:lnTo>
                    <a:pt x="477" y="126"/>
                  </a:lnTo>
                  <a:cubicBezTo>
                    <a:pt x="532" y="126"/>
                    <a:pt x="577" y="171"/>
                    <a:pt x="577" y="226"/>
                  </a:cubicBezTo>
                  <a:lnTo>
                    <a:pt x="577" y="594"/>
                  </a:lnTo>
                  <a:close/>
                  <a:moveTo>
                    <a:pt x="703" y="226"/>
                  </a:moveTo>
                  <a:lnTo>
                    <a:pt x="703" y="226"/>
                  </a:lnTo>
                  <a:cubicBezTo>
                    <a:pt x="703" y="101"/>
                    <a:pt x="602" y="0"/>
                    <a:pt x="477" y="0"/>
                  </a:cubicBezTo>
                  <a:lnTo>
                    <a:pt x="226" y="0"/>
                  </a:lnTo>
                  <a:cubicBezTo>
                    <a:pt x="102" y="0"/>
                    <a:pt x="0" y="101"/>
                    <a:pt x="0" y="226"/>
                  </a:cubicBezTo>
                  <a:lnTo>
                    <a:pt x="0" y="594"/>
                  </a:lnTo>
                  <a:cubicBezTo>
                    <a:pt x="0" y="719"/>
                    <a:pt x="102" y="820"/>
                    <a:pt x="226" y="820"/>
                  </a:cubicBezTo>
                  <a:lnTo>
                    <a:pt x="477" y="820"/>
                  </a:lnTo>
                  <a:cubicBezTo>
                    <a:pt x="602" y="820"/>
                    <a:pt x="703" y="719"/>
                    <a:pt x="703" y="594"/>
                  </a:cubicBezTo>
                  <a:lnTo>
                    <a:pt x="703" y="22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Light"/>
                <a:ea typeface="+mn-ea"/>
                <a:cs typeface="+mn-cs"/>
              </a:endParaRPr>
            </a:p>
          </p:txBody>
        </p:sp>
        <p:sp>
          <p:nvSpPr>
            <p:cNvPr id="31" name="Freeform 9">
              <a:extLst>
                <a:ext uri="{FF2B5EF4-FFF2-40B4-BE49-F238E27FC236}">
                  <a16:creationId xmlns:a16="http://schemas.microsoft.com/office/drawing/2014/main" id="{44DFF8F3-8571-7247-B6A5-1131E960D989}"/>
                </a:ext>
              </a:extLst>
            </p:cNvPr>
            <p:cNvSpPr>
              <a:spLocks/>
            </p:cNvSpPr>
            <p:nvPr/>
          </p:nvSpPr>
          <p:spPr bwMode="auto">
            <a:xfrm>
              <a:off x="2160588" y="635000"/>
              <a:ext cx="571500" cy="1079500"/>
            </a:xfrm>
            <a:custGeom>
              <a:avLst/>
              <a:gdLst>
                <a:gd name="T0" fmla="*/ 1110 w 2329"/>
                <a:gd name="T1" fmla="*/ 17 h 4387"/>
                <a:gd name="T2" fmla="*/ 1110 w 2329"/>
                <a:gd name="T3" fmla="*/ 17 h 4387"/>
                <a:gd name="T4" fmla="*/ 1025 w 2329"/>
                <a:gd name="T5" fmla="*/ 42 h 4387"/>
                <a:gd name="T6" fmla="*/ 1050 w 2329"/>
                <a:gd name="T7" fmla="*/ 127 h 4387"/>
                <a:gd name="T8" fmla="*/ 2203 w 2329"/>
                <a:gd name="T9" fmla="*/ 2065 h 4387"/>
                <a:gd name="T10" fmla="*/ 1816 w 2329"/>
                <a:gd name="T11" fmla="*/ 3313 h 4387"/>
                <a:gd name="T12" fmla="*/ 1009 w 2329"/>
                <a:gd name="T13" fmla="*/ 4023 h 4387"/>
                <a:gd name="T14" fmla="*/ 969 w 2329"/>
                <a:gd name="T15" fmla="*/ 3836 h 4387"/>
                <a:gd name="T16" fmla="*/ 0 w 2329"/>
                <a:gd name="T17" fmla="*/ 4331 h 4387"/>
                <a:gd name="T18" fmla="*/ 1087 w 2329"/>
                <a:gd name="T19" fmla="*/ 4387 h 4387"/>
                <a:gd name="T20" fmla="*/ 1036 w 2329"/>
                <a:gd name="T21" fmla="*/ 4151 h 4387"/>
                <a:gd name="T22" fmla="*/ 1919 w 2329"/>
                <a:gd name="T23" fmla="*/ 3384 h 4387"/>
                <a:gd name="T24" fmla="*/ 2329 w 2329"/>
                <a:gd name="T25" fmla="*/ 2065 h 4387"/>
                <a:gd name="T26" fmla="*/ 1110 w 2329"/>
                <a:gd name="T27" fmla="*/ 17 h 4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29" h="4387">
                  <a:moveTo>
                    <a:pt x="1110" y="17"/>
                  </a:moveTo>
                  <a:lnTo>
                    <a:pt x="1110" y="17"/>
                  </a:lnTo>
                  <a:cubicBezTo>
                    <a:pt x="1080" y="0"/>
                    <a:pt x="1041" y="11"/>
                    <a:pt x="1025" y="42"/>
                  </a:cubicBezTo>
                  <a:cubicBezTo>
                    <a:pt x="1008" y="73"/>
                    <a:pt x="1019" y="111"/>
                    <a:pt x="1050" y="127"/>
                  </a:cubicBezTo>
                  <a:cubicBezTo>
                    <a:pt x="1761" y="514"/>
                    <a:pt x="2203" y="1256"/>
                    <a:pt x="2203" y="2065"/>
                  </a:cubicBezTo>
                  <a:cubicBezTo>
                    <a:pt x="2203" y="2513"/>
                    <a:pt x="2069" y="2945"/>
                    <a:pt x="1816" y="3313"/>
                  </a:cubicBezTo>
                  <a:cubicBezTo>
                    <a:pt x="1608" y="3615"/>
                    <a:pt x="1331" y="3857"/>
                    <a:pt x="1009" y="4023"/>
                  </a:cubicBezTo>
                  <a:lnTo>
                    <a:pt x="969" y="3836"/>
                  </a:lnTo>
                  <a:lnTo>
                    <a:pt x="0" y="4331"/>
                  </a:lnTo>
                  <a:lnTo>
                    <a:pt x="1087" y="4387"/>
                  </a:lnTo>
                  <a:lnTo>
                    <a:pt x="1036" y="4151"/>
                  </a:lnTo>
                  <a:cubicBezTo>
                    <a:pt x="1390" y="3975"/>
                    <a:pt x="1693" y="3713"/>
                    <a:pt x="1919" y="3384"/>
                  </a:cubicBezTo>
                  <a:cubicBezTo>
                    <a:pt x="2187" y="2995"/>
                    <a:pt x="2329" y="2539"/>
                    <a:pt x="2329" y="2065"/>
                  </a:cubicBezTo>
                  <a:cubicBezTo>
                    <a:pt x="2329" y="1210"/>
                    <a:pt x="1862" y="425"/>
                    <a:pt x="1110" y="17"/>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Light"/>
                <a:ea typeface="+mn-ea"/>
                <a:cs typeface="+mn-cs"/>
              </a:endParaRPr>
            </a:p>
          </p:txBody>
        </p:sp>
        <p:sp>
          <p:nvSpPr>
            <p:cNvPr id="32" name="Freeform 10">
              <a:extLst>
                <a:ext uri="{FF2B5EF4-FFF2-40B4-BE49-F238E27FC236}">
                  <a16:creationId xmlns:a16="http://schemas.microsoft.com/office/drawing/2014/main" id="{AE756E11-B80D-2C45-9203-0D2FAF4D8CD0}"/>
                </a:ext>
              </a:extLst>
            </p:cNvPr>
            <p:cNvSpPr>
              <a:spLocks/>
            </p:cNvSpPr>
            <p:nvPr/>
          </p:nvSpPr>
          <p:spPr bwMode="auto">
            <a:xfrm>
              <a:off x="1557338" y="565150"/>
              <a:ext cx="571500" cy="1074738"/>
            </a:xfrm>
            <a:custGeom>
              <a:avLst/>
              <a:gdLst>
                <a:gd name="T0" fmla="*/ 1278 w 2328"/>
                <a:gd name="T1" fmla="*/ 4258 h 4377"/>
                <a:gd name="T2" fmla="*/ 1278 w 2328"/>
                <a:gd name="T3" fmla="*/ 4258 h 4377"/>
                <a:gd name="T4" fmla="*/ 125 w 2328"/>
                <a:gd name="T5" fmla="*/ 2321 h 4377"/>
                <a:gd name="T6" fmla="*/ 513 w 2328"/>
                <a:gd name="T7" fmla="*/ 1073 h 4377"/>
                <a:gd name="T8" fmla="*/ 1319 w 2328"/>
                <a:gd name="T9" fmla="*/ 362 h 4377"/>
                <a:gd name="T10" fmla="*/ 1359 w 2328"/>
                <a:gd name="T11" fmla="*/ 550 h 4377"/>
                <a:gd name="T12" fmla="*/ 2328 w 2328"/>
                <a:gd name="T13" fmla="*/ 55 h 4377"/>
                <a:gd name="T14" fmla="*/ 1242 w 2328"/>
                <a:gd name="T15" fmla="*/ 0 h 4377"/>
                <a:gd name="T16" fmla="*/ 1292 w 2328"/>
                <a:gd name="T17" fmla="*/ 235 h 4377"/>
                <a:gd name="T18" fmla="*/ 409 w 2328"/>
                <a:gd name="T19" fmla="*/ 1001 h 4377"/>
                <a:gd name="T20" fmla="*/ 0 w 2328"/>
                <a:gd name="T21" fmla="*/ 2321 h 4377"/>
                <a:gd name="T22" fmla="*/ 1218 w 2328"/>
                <a:gd name="T23" fmla="*/ 4369 h 4377"/>
                <a:gd name="T24" fmla="*/ 1248 w 2328"/>
                <a:gd name="T25" fmla="*/ 4377 h 4377"/>
                <a:gd name="T26" fmla="*/ 1304 w 2328"/>
                <a:gd name="T27" fmla="*/ 4344 h 4377"/>
                <a:gd name="T28" fmla="*/ 1278 w 2328"/>
                <a:gd name="T29" fmla="*/ 4258 h 4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8" h="4377">
                  <a:moveTo>
                    <a:pt x="1278" y="4258"/>
                  </a:moveTo>
                  <a:lnTo>
                    <a:pt x="1278" y="4258"/>
                  </a:lnTo>
                  <a:cubicBezTo>
                    <a:pt x="567" y="3872"/>
                    <a:pt x="125" y="3130"/>
                    <a:pt x="125" y="2321"/>
                  </a:cubicBezTo>
                  <a:cubicBezTo>
                    <a:pt x="125" y="1872"/>
                    <a:pt x="259" y="1441"/>
                    <a:pt x="513" y="1073"/>
                  </a:cubicBezTo>
                  <a:cubicBezTo>
                    <a:pt x="721" y="771"/>
                    <a:pt x="997" y="528"/>
                    <a:pt x="1319" y="362"/>
                  </a:cubicBezTo>
                  <a:lnTo>
                    <a:pt x="1359" y="550"/>
                  </a:lnTo>
                  <a:lnTo>
                    <a:pt x="2328" y="55"/>
                  </a:lnTo>
                  <a:lnTo>
                    <a:pt x="1242" y="0"/>
                  </a:lnTo>
                  <a:lnTo>
                    <a:pt x="1292" y="235"/>
                  </a:lnTo>
                  <a:cubicBezTo>
                    <a:pt x="938" y="411"/>
                    <a:pt x="636" y="673"/>
                    <a:pt x="409" y="1001"/>
                  </a:cubicBezTo>
                  <a:cubicBezTo>
                    <a:pt x="141" y="1391"/>
                    <a:pt x="0" y="1847"/>
                    <a:pt x="0" y="2321"/>
                  </a:cubicBezTo>
                  <a:cubicBezTo>
                    <a:pt x="0" y="3176"/>
                    <a:pt x="467" y="3960"/>
                    <a:pt x="1218" y="4369"/>
                  </a:cubicBezTo>
                  <a:cubicBezTo>
                    <a:pt x="1228" y="4374"/>
                    <a:pt x="1238" y="4377"/>
                    <a:pt x="1248" y="4377"/>
                  </a:cubicBezTo>
                  <a:cubicBezTo>
                    <a:pt x="1271" y="4377"/>
                    <a:pt x="1292" y="4365"/>
                    <a:pt x="1304" y="4344"/>
                  </a:cubicBezTo>
                  <a:cubicBezTo>
                    <a:pt x="1320" y="4313"/>
                    <a:pt x="1309" y="4275"/>
                    <a:pt x="1278" y="4258"/>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Light"/>
                <a:ea typeface="+mn-ea"/>
                <a:cs typeface="+mn-cs"/>
              </a:endParaRPr>
            </a:p>
          </p:txBody>
        </p:sp>
      </p:grpSp>
    </p:spTree>
    <p:extLst>
      <p:ext uri="{BB962C8B-B14F-4D97-AF65-F5344CB8AC3E}">
        <p14:creationId xmlns:p14="http://schemas.microsoft.com/office/powerpoint/2010/main" val="415166323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180198-095C-F149-AB88-AFA244774D95}"/>
              </a:ext>
            </a:extLst>
          </p:cNvPr>
          <p:cNvSpPr>
            <a:spLocks noGrp="1"/>
          </p:cNvSpPr>
          <p:nvPr>
            <p:ph type="body" sz="quarter" idx="15"/>
          </p:nvPr>
        </p:nvSpPr>
        <p:spPr>
          <a:xfrm>
            <a:off x="382506" y="289626"/>
            <a:ext cx="8573691" cy="472678"/>
          </a:xfrm>
        </p:spPr>
        <p:txBody>
          <a:bodyPr>
            <a:normAutofit/>
          </a:bodyPr>
          <a:lstStyle/>
          <a:p>
            <a:r>
              <a:rPr lang="en-US" dirty="0"/>
              <a:t>Telenor </a:t>
            </a:r>
            <a:r>
              <a:rPr lang="en-US" dirty="0" err="1"/>
              <a:t>Norvège</a:t>
            </a:r>
            <a:endParaRPr lang="en-US" dirty="0"/>
          </a:p>
        </p:txBody>
      </p:sp>
      <p:sp>
        <p:nvSpPr>
          <p:cNvPr id="3" name="Content Placeholder 2">
            <a:extLst>
              <a:ext uri="{FF2B5EF4-FFF2-40B4-BE49-F238E27FC236}">
                <a16:creationId xmlns:a16="http://schemas.microsoft.com/office/drawing/2014/main" id="{B8222066-E982-E64A-845F-FDB86F376CA5}"/>
              </a:ext>
            </a:extLst>
          </p:cNvPr>
          <p:cNvSpPr>
            <a:spLocks noGrp="1"/>
          </p:cNvSpPr>
          <p:nvPr>
            <p:ph sz="quarter" idx="16"/>
          </p:nvPr>
        </p:nvSpPr>
        <p:spPr/>
        <p:txBody>
          <a:bodyPr>
            <a:normAutofit fontScale="92500"/>
          </a:bodyPr>
          <a:lstStyle/>
          <a:p>
            <a:r>
              <a:rPr lang="en-US" dirty="0"/>
              <a:t>SAS® Intelligent Decisioning</a:t>
            </a:r>
          </a:p>
        </p:txBody>
      </p:sp>
      <p:sp>
        <p:nvSpPr>
          <p:cNvPr id="4" name="Content Placeholder 3">
            <a:extLst>
              <a:ext uri="{FF2B5EF4-FFF2-40B4-BE49-F238E27FC236}">
                <a16:creationId xmlns:a16="http://schemas.microsoft.com/office/drawing/2014/main" id="{99D51109-E53E-B345-8409-9C5E75366431}"/>
              </a:ext>
            </a:extLst>
          </p:cNvPr>
          <p:cNvSpPr>
            <a:spLocks noGrp="1"/>
          </p:cNvSpPr>
          <p:nvPr>
            <p:ph sz="quarter" idx="17"/>
          </p:nvPr>
        </p:nvSpPr>
        <p:spPr>
          <a:xfrm>
            <a:off x="398860" y="817960"/>
            <a:ext cx="8346366" cy="873919"/>
          </a:xfrm>
        </p:spPr>
        <p:txBody>
          <a:bodyPr numCol="1">
            <a:normAutofit fontScale="92500" lnSpcReduction="20000"/>
          </a:bodyPr>
          <a:lstStyle/>
          <a:p>
            <a:r>
              <a:rPr lang="fr-CA" dirty="0"/>
              <a:t>Pour </a:t>
            </a:r>
            <a:r>
              <a:rPr lang="fr-CA" dirty="0" err="1"/>
              <a:t>Telenor</a:t>
            </a:r>
            <a:r>
              <a:rPr lang="fr-CA" dirty="0"/>
              <a:t> Norvège, le client est au centre de tout ce qu’il fait. Être pertinent pour les clients et être capable d’adapter les produits en fonction des attentes des clients est plus important que jamais. La personnalisation est la clé et, pour </a:t>
            </a:r>
            <a:r>
              <a:rPr lang="fr-CA" dirty="0" err="1"/>
              <a:t>Telenor</a:t>
            </a:r>
            <a:r>
              <a:rPr lang="fr-CA" dirty="0"/>
              <a:t>, la personnalisation signifie être pertinente pour le client.
 Pour </a:t>
            </a:r>
            <a:r>
              <a:rPr lang="fr-CA" b="1" dirty="0">
                <a:solidFill>
                  <a:srgbClr val="FFFF00"/>
                </a:solidFill>
              </a:rPr>
              <a:t>s’assurer de rencontrer le client avec le bon message, au bon moment, dans le canal préféré</a:t>
            </a:r>
            <a:r>
              <a:rPr lang="fr-CA" dirty="0"/>
              <a:t>, </a:t>
            </a:r>
            <a:r>
              <a:rPr lang="fr-CA" dirty="0" err="1"/>
              <a:t>Telenor</a:t>
            </a:r>
            <a:r>
              <a:rPr lang="fr-CA" dirty="0"/>
              <a:t> Norvège s’est associé à SAS. Avec SAS®, </a:t>
            </a:r>
            <a:r>
              <a:rPr lang="fr-CA" dirty="0" err="1"/>
              <a:t>Viya</a:t>
            </a:r>
            <a:r>
              <a:rPr lang="fr-CA" dirty="0"/>
              <a:t>® </a:t>
            </a:r>
            <a:r>
              <a:rPr lang="fr-CA" dirty="0" err="1"/>
              <a:t>Telenor</a:t>
            </a:r>
            <a:r>
              <a:rPr lang="fr-CA" dirty="0"/>
              <a:t> Norvège améliore ses décisions commerciales et s’adapte continuellement aux besoins de ses clients.
</a:t>
            </a:r>
            <a:endParaRPr lang="en-US" dirty="0"/>
          </a:p>
        </p:txBody>
      </p:sp>
      <p:sp>
        <p:nvSpPr>
          <p:cNvPr id="5" name="Text Placeholder 4">
            <a:extLst>
              <a:ext uri="{FF2B5EF4-FFF2-40B4-BE49-F238E27FC236}">
                <a16:creationId xmlns:a16="http://schemas.microsoft.com/office/drawing/2014/main" id="{0D56DAC9-0D8D-1E41-81DF-B2AF0A31BFEC}"/>
              </a:ext>
            </a:extLst>
          </p:cNvPr>
          <p:cNvSpPr>
            <a:spLocks noGrp="1"/>
          </p:cNvSpPr>
          <p:nvPr>
            <p:ph type="body" sz="quarter" idx="19"/>
          </p:nvPr>
        </p:nvSpPr>
        <p:spPr/>
        <p:txBody>
          <a:bodyPr>
            <a:noAutofit/>
          </a:bodyPr>
          <a:lstStyle/>
          <a:p>
            <a:r>
              <a:rPr lang="fr-CA" dirty="0"/>
              <a:t>Créés une </a:t>
            </a:r>
            <a:r>
              <a:rPr lang="fr-CA" b="1" dirty="0">
                <a:solidFill>
                  <a:srgbClr val="FFFF00"/>
                </a:solidFill>
              </a:rPr>
              <a:t>expérience client en temps réel</a:t>
            </a:r>
            <a:r>
              <a:rPr lang="fr-CA" dirty="0"/>
              <a:t> efficace et supérieure
</a:t>
            </a:r>
            <a:endParaRPr lang="en-US" dirty="0"/>
          </a:p>
        </p:txBody>
      </p:sp>
      <p:sp>
        <p:nvSpPr>
          <p:cNvPr id="6" name="Text Placeholder 5">
            <a:extLst>
              <a:ext uri="{FF2B5EF4-FFF2-40B4-BE49-F238E27FC236}">
                <a16:creationId xmlns:a16="http://schemas.microsoft.com/office/drawing/2014/main" id="{625497F7-23B5-B144-A708-53EF26064EE8}"/>
              </a:ext>
            </a:extLst>
          </p:cNvPr>
          <p:cNvSpPr>
            <a:spLocks noGrp="1"/>
          </p:cNvSpPr>
          <p:nvPr>
            <p:ph type="body" sz="quarter" idx="20"/>
          </p:nvPr>
        </p:nvSpPr>
        <p:spPr>
          <a:xfrm>
            <a:off x="2237725" y="3084967"/>
            <a:ext cx="1215413" cy="709295"/>
          </a:xfrm>
        </p:spPr>
        <p:txBody>
          <a:bodyPr>
            <a:noAutofit/>
          </a:bodyPr>
          <a:lstStyle/>
          <a:p>
            <a:r>
              <a:rPr lang="fr-CA" dirty="0"/>
              <a:t>Augmentés la </a:t>
            </a:r>
            <a:r>
              <a:rPr lang="fr-CA" b="1" dirty="0">
                <a:solidFill>
                  <a:srgbClr val="FFFF00"/>
                </a:solidFill>
              </a:rPr>
              <a:t>croissance des ventes de 40% à 50%</a:t>
            </a:r>
            <a:r>
              <a:rPr lang="fr-CA" dirty="0"/>
              <a:t> sur deux ans
</a:t>
            </a:r>
            <a:endParaRPr lang="en-US" dirty="0"/>
          </a:p>
        </p:txBody>
      </p:sp>
      <p:sp>
        <p:nvSpPr>
          <p:cNvPr id="7" name="Text Placeholder 6">
            <a:extLst>
              <a:ext uri="{FF2B5EF4-FFF2-40B4-BE49-F238E27FC236}">
                <a16:creationId xmlns:a16="http://schemas.microsoft.com/office/drawing/2014/main" id="{F8510C83-3A03-CC41-A2D0-B185FC1597FB}"/>
              </a:ext>
            </a:extLst>
          </p:cNvPr>
          <p:cNvSpPr>
            <a:spLocks noGrp="1"/>
          </p:cNvSpPr>
          <p:nvPr>
            <p:ph type="body" sz="quarter" idx="21"/>
          </p:nvPr>
        </p:nvSpPr>
        <p:spPr>
          <a:xfrm>
            <a:off x="3964294" y="3081696"/>
            <a:ext cx="1291022" cy="872615"/>
          </a:xfrm>
        </p:spPr>
        <p:txBody>
          <a:bodyPr>
            <a:normAutofit fontScale="92500"/>
          </a:bodyPr>
          <a:lstStyle/>
          <a:p>
            <a:r>
              <a:rPr lang="fr-CA" dirty="0"/>
              <a:t>Envoyés </a:t>
            </a:r>
            <a:r>
              <a:rPr lang="fr-CA" b="1" dirty="0">
                <a:solidFill>
                  <a:srgbClr val="FFFF00"/>
                </a:solidFill>
              </a:rPr>
              <a:t>50 millions de meilleures offres </a:t>
            </a:r>
            <a:r>
              <a:rPr lang="fr-CA" dirty="0"/>
              <a:t>personnalisées à ses clients </a:t>
            </a:r>
            <a:r>
              <a:rPr lang="fr-CA" b="1" dirty="0">
                <a:solidFill>
                  <a:srgbClr val="FFFF00"/>
                </a:solidFill>
              </a:rPr>
              <a:t>en un an</a:t>
            </a:r>
            <a:endParaRPr lang="en-US" b="1" dirty="0">
              <a:solidFill>
                <a:srgbClr val="FFFF00"/>
              </a:solidFill>
            </a:endParaRPr>
          </a:p>
        </p:txBody>
      </p:sp>
      <p:sp>
        <p:nvSpPr>
          <p:cNvPr id="8" name="Content Placeholder 7">
            <a:extLst>
              <a:ext uri="{FF2B5EF4-FFF2-40B4-BE49-F238E27FC236}">
                <a16:creationId xmlns:a16="http://schemas.microsoft.com/office/drawing/2014/main" id="{C349E33F-939E-2F41-9637-121F339DACAA}"/>
              </a:ext>
            </a:extLst>
          </p:cNvPr>
          <p:cNvSpPr>
            <a:spLocks noGrp="1"/>
          </p:cNvSpPr>
          <p:nvPr>
            <p:ph sz="quarter" idx="22"/>
          </p:nvPr>
        </p:nvSpPr>
        <p:spPr>
          <a:xfrm>
            <a:off x="1108701" y="4255031"/>
            <a:ext cx="7045469" cy="383182"/>
          </a:xfrm>
        </p:spPr>
        <p:txBody>
          <a:bodyPr/>
          <a:lstStyle/>
          <a:p>
            <a:r>
              <a:rPr lang="en-US" dirty="0"/>
              <a:t>“</a:t>
            </a:r>
            <a:r>
              <a:rPr lang="fr-CA" dirty="0"/>
              <a:t>Il s’agit de rencontrer le client avec le bon message, au bon moment, dans le canal préféré. Pour atteindre ce niveau de personnalisation, tout ce que nous faisons et ne faisons pas doit être basé sur la perspicacité.</a:t>
            </a:r>
            <a:endParaRPr lang="en-US" dirty="0"/>
          </a:p>
        </p:txBody>
      </p:sp>
      <p:sp>
        <p:nvSpPr>
          <p:cNvPr id="9" name="Content Placeholder 8">
            <a:extLst>
              <a:ext uri="{FF2B5EF4-FFF2-40B4-BE49-F238E27FC236}">
                <a16:creationId xmlns:a16="http://schemas.microsoft.com/office/drawing/2014/main" id="{92217E7C-9330-2640-9621-B8A554AE0F1C}"/>
              </a:ext>
            </a:extLst>
          </p:cNvPr>
          <p:cNvSpPr>
            <a:spLocks noGrp="1"/>
          </p:cNvSpPr>
          <p:nvPr>
            <p:ph sz="quarter" idx="23"/>
          </p:nvPr>
        </p:nvSpPr>
        <p:spPr>
          <a:xfrm>
            <a:off x="1108701" y="4617634"/>
            <a:ext cx="7045469" cy="257975"/>
          </a:xfrm>
        </p:spPr>
        <p:txBody>
          <a:bodyPr/>
          <a:lstStyle/>
          <a:p>
            <a:r>
              <a:rPr lang="en-US" dirty="0"/>
              <a:t>Liv Elise Saue Tøftum, Director of Analytics and Customer Lifecycle Management, Telenor Norway</a:t>
            </a:r>
          </a:p>
        </p:txBody>
      </p:sp>
      <p:sp>
        <p:nvSpPr>
          <p:cNvPr id="10" name="Text Placeholder 9">
            <a:extLst>
              <a:ext uri="{FF2B5EF4-FFF2-40B4-BE49-F238E27FC236}">
                <a16:creationId xmlns:a16="http://schemas.microsoft.com/office/drawing/2014/main" id="{C36F636A-63EC-B34F-BBD9-FFC423D2CB18}"/>
              </a:ext>
            </a:extLst>
          </p:cNvPr>
          <p:cNvSpPr>
            <a:spLocks noGrp="1"/>
          </p:cNvSpPr>
          <p:nvPr>
            <p:ph type="body" sz="quarter" idx="24"/>
          </p:nvPr>
        </p:nvSpPr>
        <p:spPr>
          <a:xfrm>
            <a:off x="5690863" y="3069093"/>
            <a:ext cx="1215413" cy="948541"/>
          </a:xfrm>
        </p:spPr>
        <p:txBody>
          <a:bodyPr>
            <a:normAutofit fontScale="85000" lnSpcReduction="20000"/>
          </a:bodyPr>
          <a:lstStyle/>
          <a:p>
            <a:r>
              <a:rPr lang="fr-CA" sz="1275" dirty="0"/>
              <a:t>Accrus la sensibilisation des clients et </a:t>
            </a:r>
            <a:r>
              <a:rPr lang="fr-CA" sz="1275" b="1" dirty="0">
                <a:solidFill>
                  <a:srgbClr val="FFFF00"/>
                </a:solidFill>
              </a:rPr>
              <a:t>réduits le taux de désabonnement</a:t>
            </a:r>
            <a:r>
              <a:rPr lang="fr-CA" sz="1275" dirty="0"/>
              <a:t> dans le segment des jeunes de </a:t>
            </a:r>
            <a:r>
              <a:rPr lang="fr-CA" sz="1275" b="1" dirty="0">
                <a:solidFill>
                  <a:srgbClr val="FFFF00"/>
                </a:solidFill>
              </a:rPr>
              <a:t>8%</a:t>
            </a:r>
            <a:endParaRPr lang="en-US" b="1" dirty="0">
              <a:solidFill>
                <a:srgbClr val="FFFF00"/>
              </a:solidFill>
            </a:endParaRPr>
          </a:p>
        </p:txBody>
      </p:sp>
      <p:sp>
        <p:nvSpPr>
          <p:cNvPr id="11" name="Text Placeholder 10">
            <a:extLst>
              <a:ext uri="{FF2B5EF4-FFF2-40B4-BE49-F238E27FC236}">
                <a16:creationId xmlns:a16="http://schemas.microsoft.com/office/drawing/2014/main" id="{A4738C8B-0BF9-D043-B4DF-E672CF4FCC38}"/>
              </a:ext>
            </a:extLst>
          </p:cNvPr>
          <p:cNvSpPr>
            <a:spLocks noGrp="1"/>
          </p:cNvSpPr>
          <p:nvPr>
            <p:ph type="body" sz="quarter" idx="25"/>
          </p:nvPr>
        </p:nvSpPr>
        <p:spPr>
          <a:xfrm>
            <a:off x="7341824" y="3075394"/>
            <a:ext cx="1215413" cy="885218"/>
          </a:xfrm>
        </p:spPr>
        <p:txBody>
          <a:bodyPr>
            <a:noAutofit/>
          </a:bodyPr>
          <a:lstStyle/>
          <a:p>
            <a:r>
              <a:rPr lang="fr-CA" b="1" dirty="0">
                <a:solidFill>
                  <a:srgbClr val="FFFF00"/>
                </a:solidFill>
              </a:rPr>
              <a:t>Automatisés</a:t>
            </a:r>
            <a:r>
              <a:rPr lang="fr-CA" dirty="0"/>
              <a:t> les activités en fonction de déclencheurs contextuels
</a:t>
            </a:r>
            <a:endParaRPr lang="en-US" dirty="0"/>
          </a:p>
        </p:txBody>
      </p:sp>
      <p:sp>
        <p:nvSpPr>
          <p:cNvPr id="12" name="Freeform 6">
            <a:extLst>
              <a:ext uri="{FF2B5EF4-FFF2-40B4-BE49-F238E27FC236}">
                <a16:creationId xmlns:a16="http://schemas.microsoft.com/office/drawing/2014/main" id="{B035E34A-E147-49E3-AABE-4609DC1B9505}"/>
              </a:ext>
            </a:extLst>
          </p:cNvPr>
          <p:cNvSpPr>
            <a:spLocks noChangeAspect="1" noEditPoints="1"/>
          </p:cNvSpPr>
          <p:nvPr/>
        </p:nvSpPr>
        <p:spPr bwMode="auto">
          <a:xfrm>
            <a:off x="4370959" y="1974487"/>
            <a:ext cx="488956" cy="794947"/>
          </a:xfrm>
          <a:custGeom>
            <a:avLst/>
            <a:gdLst>
              <a:gd name="T0" fmla="*/ 741 w 2478"/>
              <a:gd name="T1" fmla="*/ 3516 h 4032"/>
              <a:gd name="T2" fmla="*/ 774 w 2478"/>
              <a:gd name="T3" fmla="*/ 3668 h 4032"/>
              <a:gd name="T4" fmla="*/ 929 w 2478"/>
              <a:gd name="T5" fmla="*/ 3668 h 4032"/>
              <a:gd name="T6" fmla="*/ 963 w 2478"/>
              <a:gd name="T7" fmla="*/ 3516 h 4032"/>
              <a:gd name="T8" fmla="*/ 852 w 2478"/>
              <a:gd name="T9" fmla="*/ 3336 h 4032"/>
              <a:gd name="T10" fmla="*/ 1054 w 2478"/>
              <a:gd name="T11" fmla="*/ 3453 h 4032"/>
              <a:gd name="T12" fmla="*/ 1054 w 2478"/>
              <a:gd name="T13" fmla="*/ 3689 h 4032"/>
              <a:gd name="T14" fmla="*/ 852 w 2478"/>
              <a:gd name="T15" fmla="*/ 3806 h 4032"/>
              <a:gd name="T16" fmla="*/ 649 w 2478"/>
              <a:gd name="T17" fmla="*/ 3689 h 4032"/>
              <a:gd name="T18" fmla="*/ 649 w 2478"/>
              <a:gd name="T19" fmla="*/ 3453 h 4032"/>
              <a:gd name="T20" fmla="*/ 852 w 2478"/>
              <a:gd name="T21" fmla="*/ 3336 h 4032"/>
              <a:gd name="T22" fmla="*/ 293 w 2478"/>
              <a:gd name="T23" fmla="*/ 3121 h 4032"/>
              <a:gd name="T24" fmla="*/ 1382 w 2478"/>
              <a:gd name="T25" fmla="*/ 3156 h 4032"/>
              <a:gd name="T26" fmla="*/ 1394 w 2478"/>
              <a:gd name="T27" fmla="*/ 1258 h 4032"/>
              <a:gd name="T28" fmla="*/ 1397 w 2478"/>
              <a:gd name="T29" fmla="*/ 1139 h 4032"/>
              <a:gd name="T30" fmla="*/ 1514 w 2478"/>
              <a:gd name="T31" fmla="*/ 1255 h 4032"/>
              <a:gd name="T32" fmla="*/ 1473 w 2478"/>
              <a:gd name="T33" fmla="*/ 3227 h 4032"/>
              <a:gd name="T34" fmla="*/ 303 w 2478"/>
              <a:gd name="T35" fmla="*/ 3267 h 4032"/>
              <a:gd name="T36" fmla="*/ 186 w 2478"/>
              <a:gd name="T37" fmla="*/ 3151 h 4032"/>
              <a:gd name="T38" fmla="*/ 227 w 2478"/>
              <a:gd name="T39" fmla="*/ 1179 h 4032"/>
              <a:gd name="T40" fmla="*/ 1037 w 2478"/>
              <a:gd name="T41" fmla="*/ 966 h 4032"/>
              <a:gd name="T42" fmla="*/ 1091 w 2478"/>
              <a:gd name="T43" fmla="*/ 1040 h 4032"/>
              <a:gd name="T44" fmla="*/ 636 w 2478"/>
              <a:gd name="T45" fmla="*/ 1074 h 4032"/>
              <a:gd name="T46" fmla="*/ 609 w 2478"/>
              <a:gd name="T47" fmla="*/ 988 h 4032"/>
              <a:gd name="T48" fmla="*/ 186 w 2478"/>
              <a:gd name="T49" fmla="*/ 894 h 4032"/>
              <a:gd name="T50" fmla="*/ 110 w 2478"/>
              <a:gd name="T51" fmla="*/ 3786 h 4032"/>
              <a:gd name="T52" fmla="*/ 214 w 2478"/>
              <a:gd name="T53" fmla="*/ 3917 h 4032"/>
              <a:gd name="T54" fmla="*/ 1553 w 2478"/>
              <a:gd name="T55" fmla="*/ 3871 h 4032"/>
              <a:gd name="T56" fmla="*/ 1569 w 2478"/>
              <a:gd name="T57" fmla="*/ 955 h 4032"/>
              <a:gd name="T58" fmla="*/ 246 w 2478"/>
              <a:gd name="T59" fmla="*/ 880 h 4032"/>
              <a:gd name="T60" fmla="*/ 1593 w 2478"/>
              <a:gd name="T61" fmla="*/ 816 h 4032"/>
              <a:gd name="T62" fmla="*/ 1693 w 2478"/>
              <a:gd name="T63" fmla="*/ 1015 h 4032"/>
              <a:gd name="T64" fmla="*/ 1621 w 2478"/>
              <a:gd name="T65" fmla="*/ 3960 h 4032"/>
              <a:gd name="T66" fmla="*/ 246 w 2478"/>
              <a:gd name="T67" fmla="*/ 4032 h 4032"/>
              <a:gd name="T68" fmla="*/ 46 w 2478"/>
              <a:gd name="T69" fmla="*/ 3932 h 4032"/>
              <a:gd name="T70" fmla="*/ 2 w 2478"/>
              <a:gd name="T71" fmla="*/ 975 h 4032"/>
              <a:gd name="T72" fmla="*/ 132 w 2478"/>
              <a:gd name="T73" fmla="*/ 797 h 4032"/>
              <a:gd name="T74" fmla="*/ 1647 w 2478"/>
              <a:gd name="T75" fmla="*/ 601 h 4032"/>
              <a:gd name="T76" fmla="*/ 1855 w 2478"/>
              <a:gd name="T77" fmla="*/ 784 h 4032"/>
              <a:gd name="T78" fmla="*/ 1862 w 2478"/>
              <a:gd name="T79" fmla="*/ 935 h 4032"/>
              <a:gd name="T80" fmla="*/ 1786 w 2478"/>
              <a:gd name="T81" fmla="*/ 918 h 4032"/>
              <a:gd name="T82" fmla="*/ 1660 w 2478"/>
              <a:gd name="T83" fmla="*/ 731 h 4032"/>
              <a:gd name="T84" fmla="*/ 1499 w 2478"/>
              <a:gd name="T85" fmla="*/ 662 h 4032"/>
              <a:gd name="T86" fmla="*/ 1536 w 2478"/>
              <a:gd name="T87" fmla="*/ 580 h 4032"/>
              <a:gd name="T88" fmla="*/ 1840 w 2478"/>
              <a:gd name="T89" fmla="*/ 365 h 4032"/>
              <a:gd name="T90" fmla="*/ 2111 w 2478"/>
              <a:gd name="T91" fmla="*/ 641 h 4032"/>
              <a:gd name="T92" fmla="*/ 2188 w 2478"/>
              <a:gd name="T93" fmla="*/ 1030 h 4032"/>
              <a:gd name="T94" fmla="*/ 2127 w 2478"/>
              <a:gd name="T95" fmla="*/ 1079 h 4032"/>
              <a:gd name="T96" fmla="*/ 2081 w 2478"/>
              <a:gd name="T97" fmla="*/ 957 h 4032"/>
              <a:gd name="T98" fmla="*/ 1971 w 2478"/>
              <a:gd name="T99" fmla="*/ 626 h 4032"/>
              <a:gd name="T100" fmla="*/ 1691 w 2478"/>
              <a:gd name="T101" fmla="*/ 422 h 4032"/>
              <a:gd name="T102" fmla="*/ 1523 w 2478"/>
              <a:gd name="T103" fmla="*/ 353 h 4032"/>
              <a:gd name="T104" fmla="*/ 1583 w 2478"/>
              <a:gd name="T105" fmla="*/ 286 h 4032"/>
              <a:gd name="T106" fmla="*/ 1995 w 2478"/>
              <a:gd name="T107" fmla="*/ 125 h 4032"/>
              <a:gd name="T108" fmla="*/ 2330 w 2478"/>
              <a:gd name="T109" fmla="*/ 447 h 4032"/>
              <a:gd name="T110" fmla="*/ 2476 w 2478"/>
              <a:gd name="T111" fmla="*/ 894 h 4032"/>
              <a:gd name="T112" fmla="*/ 2434 w 2478"/>
              <a:gd name="T113" fmla="*/ 1107 h 4032"/>
              <a:gd name="T114" fmla="*/ 2363 w 2478"/>
              <a:gd name="T115" fmla="*/ 1065 h 4032"/>
              <a:gd name="T116" fmla="*/ 2318 w 2478"/>
              <a:gd name="T117" fmla="*/ 676 h 4032"/>
              <a:gd name="T118" fmla="*/ 2075 w 2478"/>
              <a:gd name="T119" fmla="*/ 316 h 4032"/>
              <a:gd name="T120" fmla="*/ 1677 w 2478"/>
              <a:gd name="T121" fmla="*/ 122 h 4032"/>
              <a:gd name="T122" fmla="*/ 1551 w 2478"/>
              <a:gd name="T123" fmla="*/ 50 h 4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8" h="4032">
                <a:moveTo>
                  <a:pt x="852" y="3447"/>
                </a:moveTo>
                <a:lnTo>
                  <a:pt x="823" y="3450"/>
                </a:lnTo>
                <a:lnTo>
                  <a:pt x="797" y="3460"/>
                </a:lnTo>
                <a:lnTo>
                  <a:pt x="774" y="3475"/>
                </a:lnTo>
                <a:lnTo>
                  <a:pt x="756" y="3493"/>
                </a:lnTo>
                <a:lnTo>
                  <a:pt x="741" y="3516"/>
                </a:lnTo>
                <a:lnTo>
                  <a:pt x="731" y="3542"/>
                </a:lnTo>
                <a:lnTo>
                  <a:pt x="727" y="3571"/>
                </a:lnTo>
                <a:lnTo>
                  <a:pt x="731" y="3599"/>
                </a:lnTo>
                <a:lnTo>
                  <a:pt x="741" y="3625"/>
                </a:lnTo>
                <a:lnTo>
                  <a:pt x="756" y="3648"/>
                </a:lnTo>
                <a:lnTo>
                  <a:pt x="774" y="3668"/>
                </a:lnTo>
                <a:lnTo>
                  <a:pt x="797" y="3683"/>
                </a:lnTo>
                <a:lnTo>
                  <a:pt x="823" y="3691"/>
                </a:lnTo>
                <a:lnTo>
                  <a:pt x="852" y="3695"/>
                </a:lnTo>
                <a:lnTo>
                  <a:pt x="880" y="3691"/>
                </a:lnTo>
                <a:lnTo>
                  <a:pt x="906" y="3683"/>
                </a:lnTo>
                <a:lnTo>
                  <a:pt x="929" y="3668"/>
                </a:lnTo>
                <a:lnTo>
                  <a:pt x="949" y="3648"/>
                </a:lnTo>
                <a:lnTo>
                  <a:pt x="963" y="3625"/>
                </a:lnTo>
                <a:lnTo>
                  <a:pt x="972" y="3599"/>
                </a:lnTo>
                <a:lnTo>
                  <a:pt x="976" y="3571"/>
                </a:lnTo>
                <a:lnTo>
                  <a:pt x="972" y="3542"/>
                </a:lnTo>
                <a:lnTo>
                  <a:pt x="963" y="3516"/>
                </a:lnTo>
                <a:lnTo>
                  <a:pt x="949" y="3493"/>
                </a:lnTo>
                <a:lnTo>
                  <a:pt x="929" y="3475"/>
                </a:lnTo>
                <a:lnTo>
                  <a:pt x="906" y="3460"/>
                </a:lnTo>
                <a:lnTo>
                  <a:pt x="880" y="3450"/>
                </a:lnTo>
                <a:lnTo>
                  <a:pt x="852" y="3447"/>
                </a:lnTo>
                <a:close/>
                <a:moveTo>
                  <a:pt x="852" y="3336"/>
                </a:moveTo>
                <a:lnTo>
                  <a:pt x="894" y="3340"/>
                </a:lnTo>
                <a:lnTo>
                  <a:pt x="934" y="3351"/>
                </a:lnTo>
                <a:lnTo>
                  <a:pt x="970" y="3369"/>
                </a:lnTo>
                <a:lnTo>
                  <a:pt x="1003" y="3392"/>
                </a:lnTo>
                <a:lnTo>
                  <a:pt x="1031" y="3420"/>
                </a:lnTo>
                <a:lnTo>
                  <a:pt x="1054" y="3453"/>
                </a:lnTo>
                <a:lnTo>
                  <a:pt x="1072" y="3490"/>
                </a:lnTo>
                <a:lnTo>
                  <a:pt x="1083" y="3529"/>
                </a:lnTo>
                <a:lnTo>
                  <a:pt x="1087" y="3571"/>
                </a:lnTo>
                <a:lnTo>
                  <a:pt x="1083" y="3613"/>
                </a:lnTo>
                <a:lnTo>
                  <a:pt x="1072" y="3653"/>
                </a:lnTo>
                <a:lnTo>
                  <a:pt x="1054" y="3689"/>
                </a:lnTo>
                <a:lnTo>
                  <a:pt x="1031" y="3722"/>
                </a:lnTo>
                <a:lnTo>
                  <a:pt x="1003" y="3750"/>
                </a:lnTo>
                <a:lnTo>
                  <a:pt x="970" y="3773"/>
                </a:lnTo>
                <a:lnTo>
                  <a:pt x="934" y="3791"/>
                </a:lnTo>
                <a:lnTo>
                  <a:pt x="894" y="3802"/>
                </a:lnTo>
                <a:lnTo>
                  <a:pt x="852" y="3806"/>
                </a:lnTo>
                <a:lnTo>
                  <a:pt x="809" y="3802"/>
                </a:lnTo>
                <a:lnTo>
                  <a:pt x="770" y="3791"/>
                </a:lnTo>
                <a:lnTo>
                  <a:pt x="734" y="3773"/>
                </a:lnTo>
                <a:lnTo>
                  <a:pt x="701" y="3750"/>
                </a:lnTo>
                <a:lnTo>
                  <a:pt x="672" y="3722"/>
                </a:lnTo>
                <a:lnTo>
                  <a:pt x="649" y="3689"/>
                </a:lnTo>
                <a:lnTo>
                  <a:pt x="632" y="3653"/>
                </a:lnTo>
                <a:lnTo>
                  <a:pt x="621" y="3613"/>
                </a:lnTo>
                <a:lnTo>
                  <a:pt x="617" y="3571"/>
                </a:lnTo>
                <a:lnTo>
                  <a:pt x="621" y="3529"/>
                </a:lnTo>
                <a:lnTo>
                  <a:pt x="632" y="3490"/>
                </a:lnTo>
                <a:lnTo>
                  <a:pt x="649" y="3453"/>
                </a:lnTo>
                <a:lnTo>
                  <a:pt x="672" y="3420"/>
                </a:lnTo>
                <a:lnTo>
                  <a:pt x="701" y="3392"/>
                </a:lnTo>
                <a:lnTo>
                  <a:pt x="734" y="3369"/>
                </a:lnTo>
                <a:lnTo>
                  <a:pt x="770" y="3351"/>
                </a:lnTo>
                <a:lnTo>
                  <a:pt x="809" y="3340"/>
                </a:lnTo>
                <a:lnTo>
                  <a:pt x="852" y="3336"/>
                </a:lnTo>
                <a:close/>
                <a:moveTo>
                  <a:pt x="333" y="1246"/>
                </a:moveTo>
                <a:lnTo>
                  <a:pt x="318" y="1250"/>
                </a:lnTo>
                <a:lnTo>
                  <a:pt x="306" y="1258"/>
                </a:lnTo>
                <a:lnTo>
                  <a:pt x="297" y="1271"/>
                </a:lnTo>
                <a:lnTo>
                  <a:pt x="293" y="1285"/>
                </a:lnTo>
                <a:lnTo>
                  <a:pt x="293" y="3121"/>
                </a:lnTo>
                <a:lnTo>
                  <a:pt x="297" y="3135"/>
                </a:lnTo>
                <a:lnTo>
                  <a:pt x="306" y="3147"/>
                </a:lnTo>
                <a:lnTo>
                  <a:pt x="318" y="3156"/>
                </a:lnTo>
                <a:lnTo>
                  <a:pt x="333" y="3160"/>
                </a:lnTo>
                <a:lnTo>
                  <a:pt x="1367" y="3160"/>
                </a:lnTo>
                <a:lnTo>
                  <a:pt x="1382" y="3156"/>
                </a:lnTo>
                <a:lnTo>
                  <a:pt x="1395" y="3147"/>
                </a:lnTo>
                <a:lnTo>
                  <a:pt x="1402" y="3135"/>
                </a:lnTo>
                <a:lnTo>
                  <a:pt x="1406" y="3121"/>
                </a:lnTo>
                <a:lnTo>
                  <a:pt x="1406" y="1285"/>
                </a:lnTo>
                <a:lnTo>
                  <a:pt x="1402" y="1271"/>
                </a:lnTo>
                <a:lnTo>
                  <a:pt x="1394" y="1258"/>
                </a:lnTo>
                <a:lnTo>
                  <a:pt x="1382" y="1250"/>
                </a:lnTo>
                <a:lnTo>
                  <a:pt x="1367" y="1246"/>
                </a:lnTo>
                <a:lnTo>
                  <a:pt x="333" y="1246"/>
                </a:lnTo>
                <a:close/>
                <a:moveTo>
                  <a:pt x="333" y="1135"/>
                </a:moveTo>
                <a:lnTo>
                  <a:pt x="1367" y="1135"/>
                </a:lnTo>
                <a:lnTo>
                  <a:pt x="1397" y="1139"/>
                </a:lnTo>
                <a:lnTo>
                  <a:pt x="1426" y="1147"/>
                </a:lnTo>
                <a:lnTo>
                  <a:pt x="1451" y="1161"/>
                </a:lnTo>
                <a:lnTo>
                  <a:pt x="1473" y="1179"/>
                </a:lnTo>
                <a:lnTo>
                  <a:pt x="1492" y="1202"/>
                </a:lnTo>
                <a:lnTo>
                  <a:pt x="1505" y="1227"/>
                </a:lnTo>
                <a:lnTo>
                  <a:pt x="1514" y="1255"/>
                </a:lnTo>
                <a:lnTo>
                  <a:pt x="1517" y="1285"/>
                </a:lnTo>
                <a:lnTo>
                  <a:pt x="1517" y="3121"/>
                </a:lnTo>
                <a:lnTo>
                  <a:pt x="1514" y="3151"/>
                </a:lnTo>
                <a:lnTo>
                  <a:pt x="1505" y="3179"/>
                </a:lnTo>
                <a:lnTo>
                  <a:pt x="1492" y="3204"/>
                </a:lnTo>
                <a:lnTo>
                  <a:pt x="1473" y="3227"/>
                </a:lnTo>
                <a:lnTo>
                  <a:pt x="1451" y="3245"/>
                </a:lnTo>
                <a:lnTo>
                  <a:pt x="1426" y="3259"/>
                </a:lnTo>
                <a:lnTo>
                  <a:pt x="1397" y="3267"/>
                </a:lnTo>
                <a:lnTo>
                  <a:pt x="1367" y="3271"/>
                </a:lnTo>
                <a:lnTo>
                  <a:pt x="333" y="3271"/>
                </a:lnTo>
                <a:lnTo>
                  <a:pt x="303" y="3267"/>
                </a:lnTo>
                <a:lnTo>
                  <a:pt x="275" y="3259"/>
                </a:lnTo>
                <a:lnTo>
                  <a:pt x="249" y="3245"/>
                </a:lnTo>
                <a:lnTo>
                  <a:pt x="227" y="3227"/>
                </a:lnTo>
                <a:lnTo>
                  <a:pt x="209" y="3204"/>
                </a:lnTo>
                <a:lnTo>
                  <a:pt x="194" y="3179"/>
                </a:lnTo>
                <a:lnTo>
                  <a:pt x="186" y="3151"/>
                </a:lnTo>
                <a:lnTo>
                  <a:pt x="183" y="3121"/>
                </a:lnTo>
                <a:lnTo>
                  <a:pt x="183" y="1285"/>
                </a:lnTo>
                <a:lnTo>
                  <a:pt x="186" y="1255"/>
                </a:lnTo>
                <a:lnTo>
                  <a:pt x="194" y="1227"/>
                </a:lnTo>
                <a:lnTo>
                  <a:pt x="209" y="1202"/>
                </a:lnTo>
                <a:lnTo>
                  <a:pt x="227" y="1179"/>
                </a:lnTo>
                <a:lnTo>
                  <a:pt x="249" y="1161"/>
                </a:lnTo>
                <a:lnTo>
                  <a:pt x="275" y="1147"/>
                </a:lnTo>
                <a:lnTo>
                  <a:pt x="303" y="1139"/>
                </a:lnTo>
                <a:lnTo>
                  <a:pt x="333" y="1135"/>
                </a:lnTo>
                <a:close/>
                <a:moveTo>
                  <a:pt x="654" y="966"/>
                </a:moveTo>
                <a:lnTo>
                  <a:pt x="1037" y="966"/>
                </a:lnTo>
                <a:lnTo>
                  <a:pt x="1055" y="969"/>
                </a:lnTo>
                <a:lnTo>
                  <a:pt x="1070" y="977"/>
                </a:lnTo>
                <a:lnTo>
                  <a:pt x="1082" y="988"/>
                </a:lnTo>
                <a:lnTo>
                  <a:pt x="1091" y="1004"/>
                </a:lnTo>
                <a:lnTo>
                  <a:pt x="1093" y="1021"/>
                </a:lnTo>
                <a:lnTo>
                  <a:pt x="1091" y="1040"/>
                </a:lnTo>
                <a:lnTo>
                  <a:pt x="1082" y="1054"/>
                </a:lnTo>
                <a:lnTo>
                  <a:pt x="1070" y="1067"/>
                </a:lnTo>
                <a:lnTo>
                  <a:pt x="1055" y="1074"/>
                </a:lnTo>
                <a:lnTo>
                  <a:pt x="1037" y="1078"/>
                </a:lnTo>
                <a:lnTo>
                  <a:pt x="654" y="1078"/>
                </a:lnTo>
                <a:lnTo>
                  <a:pt x="636" y="1074"/>
                </a:lnTo>
                <a:lnTo>
                  <a:pt x="621" y="1067"/>
                </a:lnTo>
                <a:lnTo>
                  <a:pt x="609" y="1054"/>
                </a:lnTo>
                <a:lnTo>
                  <a:pt x="602" y="1040"/>
                </a:lnTo>
                <a:lnTo>
                  <a:pt x="598" y="1021"/>
                </a:lnTo>
                <a:lnTo>
                  <a:pt x="602" y="1004"/>
                </a:lnTo>
                <a:lnTo>
                  <a:pt x="609" y="988"/>
                </a:lnTo>
                <a:lnTo>
                  <a:pt x="621" y="977"/>
                </a:lnTo>
                <a:lnTo>
                  <a:pt x="636" y="969"/>
                </a:lnTo>
                <a:lnTo>
                  <a:pt x="654" y="966"/>
                </a:lnTo>
                <a:close/>
                <a:moveTo>
                  <a:pt x="246" y="880"/>
                </a:moveTo>
                <a:lnTo>
                  <a:pt x="214" y="883"/>
                </a:lnTo>
                <a:lnTo>
                  <a:pt x="186" y="894"/>
                </a:lnTo>
                <a:lnTo>
                  <a:pt x="161" y="910"/>
                </a:lnTo>
                <a:lnTo>
                  <a:pt x="141" y="931"/>
                </a:lnTo>
                <a:lnTo>
                  <a:pt x="125" y="955"/>
                </a:lnTo>
                <a:lnTo>
                  <a:pt x="114" y="985"/>
                </a:lnTo>
                <a:lnTo>
                  <a:pt x="110" y="1015"/>
                </a:lnTo>
                <a:lnTo>
                  <a:pt x="110" y="3786"/>
                </a:lnTo>
                <a:lnTo>
                  <a:pt x="114" y="3817"/>
                </a:lnTo>
                <a:lnTo>
                  <a:pt x="125" y="3845"/>
                </a:lnTo>
                <a:lnTo>
                  <a:pt x="141" y="3871"/>
                </a:lnTo>
                <a:lnTo>
                  <a:pt x="161" y="3891"/>
                </a:lnTo>
                <a:lnTo>
                  <a:pt x="186" y="3907"/>
                </a:lnTo>
                <a:lnTo>
                  <a:pt x="214" y="3917"/>
                </a:lnTo>
                <a:lnTo>
                  <a:pt x="246" y="3921"/>
                </a:lnTo>
                <a:lnTo>
                  <a:pt x="1448" y="3921"/>
                </a:lnTo>
                <a:lnTo>
                  <a:pt x="1479" y="3917"/>
                </a:lnTo>
                <a:lnTo>
                  <a:pt x="1507" y="3907"/>
                </a:lnTo>
                <a:lnTo>
                  <a:pt x="1532" y="3891"/>
                </a:lnTo>
                <a:lnTo>
                  <a:pt x="1553" y="3871"/>
                </a:lnTo>
                <a:lnTo>
                  <a:pt x="1569" y="3845"/>
                </a:lnTo>
                <a:lnTo>
                  <a:pt x="1580" y="3817"/>
                </a:lnTo>
                <a:lnTo>
                  <a:pt x="1583" y="3786"/>
                </a:lnTo>
                <a:lnTo>
                  <a:pt x="1583" y="1015"/>
                </a:lnTo>
                <a:lnTo>
                  <a:pt x="1580" y="985"/>
                </a:lnTo>
                <a:lnTo>
                  <a:pt x="1569" y="955"/>
                </a:lnTo>
                <a:lnTo>
                  <a:pt x="1553" y="931"/>
                </a:lnTo>
                <a:lnTo>
                  <a:pt x="1532" y="910"/>
                </a:lnTo>
                <a:lnTo>
                  <a:pt x="1507" y="894"/>
                </a:lnTo>
                <a:lnTo>
                  <a:pt x="1479" y="883"/>
                </a:lnTo>
                <a:lnTo>
                  <a:pt x="1448" y="880"/>
                </a:lnTo>
                <a:lnTo>
                  <a:pt x="246" y="880"/>
                </a:lnTo>
                <a:close/>
                <a:moveTo>
                  <a:pt x="246" y="770"/>
                </a:moveTo>
                <a:lnTo>
                  <a:pt x="1448" y="770"/>
                </a:lnTo>
                <a:lnTo>
                  <a:pt x="1488" y="772"/>
                </a:lnTo>
                <a:lnTo>
                  <a:pt x="1526" y="782"/>
                </a:lnTo>
                <a:lnTo>
                  <a:pt x="1561" y="797"/>
                </a:lnTo>
                <a:lnTo>
                  <a:pt x="1593" y="816"/>
                </a:lnTo>
                <a:lnTo>
                  <a:pt x="1621" y="842"/>
                </a:lnTo>
                <a:lnTo>
                  <a:pt x="1647" y="870"/>
                </a:lnTo>
                <a:lnTo>
                  <a:pt x="1666" y="902"/>
                </a:lnTo>
                <a:lnTo>
                  <a:pt x="1681" y="937"/>
                </a:lnTo>
                <a:lnTo>
                  <a:pt x="1691" y="975"/>
                </a:lnTo>
                <a:lnTo>
                  <a:pt x="1693" y="1015"/>
                </a:lnTo>
                <a:lnTo>
                  <a:pt x="1693" y="3786"/>
                </a:lnTo>
                <a:lnTo>
                  <a:pt x="1691" y="3826"/>
                </a:lnTo>
                <a:lnTo>
                  <a:pt x="1681" y="3863"/>
                </a:lnTo>
                <a:lnTo>
                  <a:pt x="1666" y="3899"/>
                </a:lnTo>
                <a:lnTo>
                  <a:pt x="1647" y="3932"/>
                </a:lnTo>
                <a:lnTo>
                  <a:pt x="1621" y="3960"/>
                </a:lnTo>
                <a:lnTo>
                  <a:pt x="1593" y="3984"/>
                </a:lnTo>
                <a:lnTo>
                  <a:pt x="1561" y="4005"/>
                </a:lnTo>
                <a:lnTo>
                  <a:pt x="1526" y="4020"/>
                </a:lnTo>
                <a:lnTo>
                  <a:pt x="1488" y="4028"/>
                </a:lnTo>
                <a:lnTo>
                  <a:pt x="1448" y="4032"/>
                </a:lnTo>
                <a:lnTo>
                  <a:pt x="246" y="4032"/>
                </a:lnTo>
                <a:lnTo>
                  <a:pt x="205" y="4028"/>
                </a:lnTo>
                <a:lnTo>
                  <a:pt x="167" y="4020"/>
                </a:lnTo>
                <a:lnTo>
                  <a:pt x="132" y="4005"/>
                </a:lnTo>
                <a:lnTo>
                  <a:pt x="100" y="3984"/>
                </a:lnTo>
                <a:lnTo>
                  <a:pt x="72" y="3960"/>
                </a:lnTo>
                <a:lnTo>
                  <a:pt x="46" y="3932"/>
                </a:lnTo>
                <a:lnTo>
                  <a:pt x="27" y="3899"/>
                </a:lnTo>
                <a:lnTo>
                  <a:pt x="12" y="3863"/>
                </a:lnTo>
                <a:lnTo>
                  <a:pt x="2" y="3826"/>
                </a:lnTo>
                <a:lnTo>
                  <a:pt x="0" y="3786"/>
                </a:lnTo>
                <a:lnTo>
                  <a:pt x="0" y="1015"/>
                </a:lnTo>
                <a:lnTo>
                  <a:pt x="2" y="975"/>
                </a:lnTo>
                <a:lnTo>
                  <a:pt x="12" y="937"/>
                </a:lnTo>
                <a:lnTo>
                  <a:pt x="27" y="902"/>
                </a:lnTo>
                <a:lnTo>
                  <a:pt x="46" y="870"/>
                </a:lnTo>
                <a:lnTo>
                  <a:pt x="72" y="842"/>
                </a:lnTo>
                <a:lnTo>
                  <a:pt x="100" y="816"/>
                </a:lnTo>
                <a:lnTo>
                  <a:pt x="132" y="797"/>
                </a:lnTo>
                <a:lnTo>
                  <a:pt x="167" y="782"/>
                </a:lnTo>
                <a:lnTo>
                  <a:pt x="205" y="772"/>
                </a:lnTo>
                <a:lnTo>
                  <a:pt x="246" y="770"/>
                </a:lnTo>
                <a:close/>
                <a:moveTo>
                  <a:pt x="1553" y="579"/>
                </a:moveTo>
                <a:lnTo>
                  <a:pt x="1600" y="586"/>
                </a:lnTo>
                <a:lnTo>
                  <a:pt x="1647" y="601"/>
                </a:lnTo>
                <a:lnTo>
                  <a:pt x="1690" y="619"/>
                </a:lnTo>
                <a:lnTo>
                  <a:pt x="1731" y="644"/>
                </a:lnTo>
                <a:lnTo>
                  <a:pt x="1768" y="673"/>
                </a:lnTo>
                <a:lnTo>
                  <a:pt x="1801" y="706"/>
                </a:lnTo>
                <a:lnTo>
                  <a:pt x="1830" y="744"/>
                </a:lnTo>
                <a:lnTo>
                  <a:pt x="1855" y="784"/>
                </a:lnTo>
                <a:lnTo>
                  <a:pt x="1873" y="828"/>
                </a:lnTo>
                <a:lnTo>
                  <a:pt x="1888" y="875"/>
                </a:lnTo>
                <a:lnTo>
                  <a:pt x="1888" y="893"/>
                </a:lnTo>
                <a:lnTo>
                  <a:pt x="1884" y="909"/>
                </a:lnTo>
                <a:lnTo>
                  <a:pt x="1875" y="924"/>
                </a:lnTo>
                <a:lnTo>
                  <a:pt x="1862" y="935"/>
                </a:lnTo>
                <a:lnTo>
                  <a:pt x="1845" y="942"/>
                </a:lnTo>
                <a:lnTo>
                  <a:pt x="1839" y="942"/>
                </a:lnTo>
                <a:lnTo>
                  <a:pt x="1833" y="943"/>
                </a:lnTo>
                <a:lnTo>
                  <a:pt x="1814" y="940"/>
                </a:lnTo>
                <a:lnTo>
                  <a:pt x="1798" y="931"/>
                </a:lnTo>
                <a:lnTo>
                  <a:pt x="1786" y="918"/>
                </a:lnTo>
                <a:lnTo>
                  <a:pt x="1779" y="899"/>
                </a:lnTo>
                <a:lnTo>
                  <a:pt x="1765" y="859"/>
                </a:lnTo>
                <a:lnTo>
                  <a:pt x="1747" y="820"/>
                </a:lnTo>
                <a:lnTo>
                  <a:pt x="1723" y="786"/>
                </a:lnTo>
                <a:lnTo>
                  <a:pt x="1695" y="756"/>
                </a:lnTo>
                <a:lnTo>
                  <a:pt x="1660" y="731"/>
                </a:lnTo>
                <a:lnTo>
                  <a:pt x="1624" y="711"/>
                </a:lnTo>
                <a:lnTo>
                  <a:pt x="1583" y="696"/>
                </a:lnTo>
                <a:lnTo>
                  <a:pt x="1542" y="689"/>
                </a:lnTo>
                <a:lnTo>
                  <a:pt x="1525" y="684"/>
                </a:lnTo>
                <a:lnTo>
                  <a:pt x="1510" y="676"/>
                </a:lnTo>
                <a:lnTo>
                  <a:pt x="1499" y="662"/>
                </a:lnTo>
                <a:lnTo>
                  <a:pt x="1493" y="646"/>
                </a:lnTo>
                <a:lnTo>
                  <a:pt x="1492" y="628"/>
                </a:lnTo>
                <a:lnTo>
                  <a:pt x="1496" y="611"/>
                </a:lnTo>
                <a:lnTo>
                  <a:pt x="1506" y="597"/>
                </a:lnTo>
                <a:lnTo>
                  <a:pt x="1520" y="586"/>
                </a:lnTo>
                <a:lnTo>
                  <a:pt x="1536" y="580"/>
                </a:lnTo>
                <a:lnTo>
                  <a:pt x="1553" y="579"/>
                </a:lnTo>
                <a:close/>
                <a:moveTo>
                  <a:pt x="1583" y="286"/>
                </a:moveTo>
                <a:lnTo>
                  <a:pt x="1652" y="296"/>
                </a:lnTo>
                <a:lnTo>
                  <a:pt x="1718" y="313"/>
                </a:lnTo>
                <a:lnTo>
                  <a:pt x="1780" y="336"/>
                </a:lnTo>
                <a:lnTo>
                  <a:pt x="1840" y="365"/>
                </a:lnTo>
                <a:lnTo>
                  <a:pt x="1896" y="401"/>
                </a:lnTo>
                <a:lnTo>
                  <a:pt x="1948" y="440"/>
                </a:lnTo>
                <a:lnTo>
                  <a:pt x="1997" y="484"/>
                </a:lnTo>
                <a:lnTo>
                  <a:pt x="2039" y="533"/>
                </a:lnTo>
                <a:lnTo>
                  <a:pt x="2078" y="585"/>
                </a:lnTo>
                <a:lnTo>
                  <a:pt x="2111" y="641"/>
                </a:lnTo>
                <a:lnTo>
                  <a:pt x="2140" y="700"/>
                </a:lnTo>
                <a:lnTo>
                  <a:pt x="2162" y="762"/>
                </a:lnTo>
                <a:lnTo>
                  <a:pt x="2179" y="826"/>
                </a:lnTo>
                <a:lnTo>
                  <a:pt x="2188" y="893"/>
                </a:lnTo>
                <a:lnTo>
                  <a:pt x="2192" y="960"/>
                </a:lnTo>
                <a:lnTo>
                  <a:pt x="2188" y="1030"/>
                </a:lnTo>
                <a:lnTo>
                  <a:pt x="2184" y="1046"/>
                </a:lnTo>
                <a:lnTo>
                  <a:pt x="2175" y="1059"/>
                </a:lnTo>
                <a:lnTo>
                  <a:pt x="2164" y="1070"/>
                </a:lnTo>
                <a:lnTo>
                  <a:pt x="2149" y="1078"/>
                </a:lnTo>
                <a:lnTo>
                  <a:pt x="2132" y="1079"/>
                </a:lnTo>
                <a:lnTo>
                  <a:pt x="2127" y="1079"/>
                </a:lnTo>
                <a:lnTo>
                  <a:pt x="2110" y="1074"/>
                </a:lnTo>
                <a:lnTo>
                  <a:pt x="2096" y="1065"/>
                </a:lnTo>
                <a:lnTo>
                  <a:pt x="2085" y="1052"/>
                </a:lnTo>
                <a:lnTo>
                  <a:pt x="2078" y="1036"/>
                </a:lnTo>
                <a:lnTo>
                  <a:pt x="2077" y="1018"/>
                </a:lnTo>
                <a:lnTo>
                  <a:pt x="2081" y="957"/>
                </a:lnTo>
                <a:lnTo>
                  <a:pt x="2077" y="896"/>
                </a:lnTo>
                <a:lnTo>
                  <a:pt x="2067" y="837"/>
                </a:lnTo>
                <a:lnTo>
                  <a:pt x="2052" y="781"/>
                </a:lnTo>
                <a:lnTo>
                  <a:pt x="2030" y="726"/>
                </a:lnTo>
                <a:lnTo>
                  <a:pt x="2003" y="674"/>
                </a:lnTo>
                <a:lnTo>
                  <a:pt x="1971" y="626"/>
                </a:lnTo>
                <a:lnTo>
                  <a:pt x="1934" y="580"/>
                </a:lnTo>
                <a:lnTo>
                  <a:pt x="1894" y="539"/>
                </a:lnTo>
                <a:lnTo>
                  <a:pt x="1849" y="502"/>
                </a:lnTo>
                <a:lnTo>
                  <a:pt x="1800" y="470"/>
                </a:lnTo>
                <a:lnTo>
                  <a:pt x="1747" y="444"/>
                </a:lnTo>
                <a:lnTo>
                  <a:pt x="1691" y="422"/>
                </a:lnTo>
                <a:lnTo>
                  <a:pt x="1632" y="406"/>
                </a:lnTo>
                <a:lnTo>
                  <a:pt x="1571" y="396"/>
                </a:lnTo>
                <a:lnTo>
                  <a:pt x="1554" y="391"/>
                </a:lnTo>
                <a:lnTo>
                  <a:pt x="1540" y="381"/>
                </a:lnTo>
                <a:lnTo>
                  <a:pt x="1529" y="369"/>
                </a:lnTo>
                <a:lnTo>
                  <a:pt x="1523" y="353"/>
                </a:lnTo>
                <a:lnTo>
                  <a:pt x="1522" y="335"/>
                </a:lnTo>
                <a:lnTo>
                  <a:pt x="1527" y="318"/>
                </a:lnTo>
                <a:lnTo>
                  <a:pt x="1536" y="303"/>
                </a:lnTo>
                <a:lnTo>
                  <a:pt x="1549" y="293"/>
                </a:lnTo>
                <a:lnTo>
                  <a:pt x="1565" y="287"/>
                </a:lnTo>
                <a:lnTo>
                  <a:pt x="1583" y="286"/>
                </a:lnTo>
                <a:close/>
                <a:moveTo>
                  <a:pt x="1613" y="0"/>
                </a:moveTo>
                <a:lnTo>
                  <a:pt x="1695" y="12"/>
                </a:lnTo>
                <a:lnTo>
                  <a:pt x="1775" y="31"/>
                </a:lnTo>
                <a:lnTo>
                  <a:pt x="1851" y="56"/>
                </a:lnTo>
                <a:lnTo>
                  <a:pt x="1926" y="87"/>
                </a:lnTo>
                <a:lnTo>
                  <a:pt x="1995" y="125"/>
                </a:lnTo>
                <a:lnTo>
                  <a:pt x="2063" y="166"/>
                </a:lnTo>
                <a:lnTo>
                  <a:pt x="2125" y="214"/>
                </a:lnTo>
                <a:lnTo>
                  <a:pt x="2182" y="265"/>
                </a:lnTo>
                <a:lnTo>
                  <a:pt x="2237" y="323"/>
                </a:lnTo>
                <a:lnTo>
                  <a:pt x="2286" y="382"/>
                </a:lnTo>
                <a:lnTo>
                  <a:pt x="2330" y="447"/>
                </a:lnTo>
                <a:lnTo>
                  <a:pt x="2369" y="514"/>
                </a:lnTo>
                <a:lnTo>
                  <a:pt x="2402" y="585"/>
                </a:lnTo>
                <a:lnTo>
                  <a:pt x="2431" y="660"/>
                </a:lnTo>
                <a:lnTo>
                  <a:pt x="2453" y="736"/>
                </a:lnTo>
                <a:lnTo>
                  <a:pt x="2467" y="814"/>
                </a:lnTo>
                <a:lnTo>
                  <a:pt x="2476" y="894"/>
                </a:lnTo>
                <a:lnTo>
                  <a:pt x="2478" y="976"/>
                </a:lnTo>
                <a:lnTo>
                  <a:pt x="2473" y="1059"/>
                </a:lnTo>
                <a:lnTo>
                  <a:pt x="2470" y="1075"/>
                </a:lnTo>
                <a:lnTo>
                  <a:pt x="2461" y="1089"/>
                </a:lnTo>
                <a:lnTo>
                  <a:pt x="2449" y="1100"/>
                </a:lnTo>
                <a:lnTo>
                  <a:pt x="2434" y="1107"/>
                </a:lnTo>
                <a:lnTo>
                  <a:pt x="2418" y="1109"/>
                </a:lnTo>
                <a:lnTo>
                  <a:pt x="2412" y="1108"/>
                </a:lnTo>
                <a:lnTo>
                  <a:pt x="2395" y="1105"/>
                </a:lnTo>
                <a:lnTo>
                  <a:pt x="2380" y="1095"/>
                </a:lnTo>
                <a:lnTo>
                  <a:pt x="2371" y="1081"/>
                </a:lnTo>
                <a:lnTo>
                  <a:pt x="2363" y="1065"/>
                </a:lnTo>
                <a:lnTo>
                  <a:pt x="2363" y="1048"/>
                </a:lnTo>
                <a:lnTo>
                  <a:pt x="2367" y="970"/>
                </a:lnTo>
                <a:lnTo>
                  <a:pt x="2365" y="894"/>
                </a:lnTo>
                <a:lnTo>
                  <a:pt x="2356" y="819"/>
                </a:lnTo>
                <a:lnTo>
                  <a:pt x="2340" y="747"/>
                </a:lnTo>
                <a:lnTo>
                  <a:pt x="2318" y="676"/>
                </a:lnTo>
                <a:lnTo>
                  <a:pt x="2291" y="607"/>
                </a:lnTo>
                <a:lnTo>
                  <a:pt x="2258" y="542"/>
                </a:lnTo>
                <a:lnTo>
                  <a:pt x="2219" y="480"/>
                </a:lnTo>
                <a:lnTo>
                  <a:pt x="2176" y="422"/>
                </a:lnTo>
                <a:lnTo>
                  <a:pt x="2127" y="368"/>
                </a:lnTo>
                <a:lnTo>
                  <a:pt x="2075" y="316"/>
                </a:lnTo>
                <a:lnTo>
                  <a:pt x="2017" y="271"/>
                </a:lnTo>
                <a:lnTo>
                  <a:pt x="1956" y="230"/>
                </a:lnTo>
                <a:lnTo>
                  <a:pt x="1891" y="194"/>
                </a:lnTo>
                <a:lnTo>
                  <a:pt x="1824" y="165"/>
                </a:lnTo>
                <a:lnTo>
                  <a:pt x="1752" y="141"/>
                </a:lnTo>
                <a:lnTo>
                  <a:pt x="1677" y="122"/>
                </a:lnTo>
                <a:lnTo>
                  <a:pt x="1602" y="111"/>
                </a:lnTo>
                <a:lnTo>
                  <a:pt x="1584" y="106"/>
                </a:lnTo>
                <a:lnTo>
                  <a:pt x="1570" y="97"/>
                </a:lnTo>
                <a:lnTo>
                  <a:pt x="1559" y="83"/>
                </a:lnTo>
                <a:lnTo>
                  <a:pt x="1553" y="67"/>
                </a:lnTo>
                <a:lnTo>
                  <a:pt x="1551" y="50"/>
                </a:lnTo>
                <a:lnTo>
                  <a:pt x="1556" y="33"/>
                </a:lnTo>
                <a:lnTo>
                  <a:pt x="1566" y="18"/>
                </a:lnTo>
                <a:lnTo>
                  <a:pt x="1578" y="7"/>
                </a:lnTo>
                <a:lnTo>
                  <a:pt x="1594" y="1"/>
                </a:lnTo>
                <a:lnTo>
                  <a:pt x="1613"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white"/>
              </a:solidFill>
              <a:latin typeface="Calibri" panose="020F0502020204030204"/>
            </a:endParaRPr>
          </a:p>
        </p:txBody>
      </p:sp>
      <p:sp>
        <p:nvSpPr>
          <p:cNvPr id="14" name="Freeform 13">
            <a:extLst>
              <a:ext uri="{FF2B5EF4-FFF2-40B4-BE49-F238E27FC236}">
                <a16:creationId xmlns:a16="http://schemas.microsoft.com/office/drawing/2014/main" id="{357D4F62-5B3D-4FD1-BB31-F90657CB896C}"/>
              </a:ext>
            </a:extLst>
          </p:cNvPr>
          <p:cNvSpPr>
            <a:spLocks noChangeAspect="1" noEditPoints="1"/>
          </p:cNvSpPr>
          <p:nvPr/>
        </p:nvSpPr>
        <p:spPr bwMode="auto">
          <a:xfrm>
            <a:off x="7646973" y="1958838"/>
            <a:ext cx="719284" cy="810829"/>
          </a:xfrm>
          <a:custGeom>
            <a:avLst/>
            <a:gdLst>
              <a:gd name="T0" fmla="*/ 2484 w 4272"/>
              <a:gd name="T1" fmla="*/ 1639 h 4809"/>
              <a:gd name="T2" fmla="*/ 2176 w 4272"/>
              <a:gd name="T3" fmla="*/ 1753 h 4809"/>
              <a:gd name="T4" fmla="*/ 3715 w 4272"/>
              <a:gd name="T5" fmla="*/ 2891 h 4809"/>
              <a:gd name="T6" fmla="*/ 3987 w 4272"/>
              <a:gd name="T7" fmla="*/ 2807 h 4809"/>
              <a:gd name="T8" fmla="*/ 3766 w 4272"/>
              <a:gd name="T9" fmla="*/ 1967 h 4809"/>
              <a:gd name="T10" fmla="*/ 4046 w 4272"/>
              <a:gd name="T11" fmla="*/ 2067 h 4809"/>
              <a:gd name="T12" fmla="*/ 3323 w 4272"/>
              <a:gd name="T13" fmla="*/ 1731 h 4809"/>
              <a:gd name="T14" fmla="*/ 2168 w 4272"/>
              <a:gd name="T15" fmla="*/ 897 h 4809"/>
              <a:gd name="T16" fmla="*/ 1287 w 4272"/>
              <a:gd name="T17" fmla="*/ 2836 h 4809"/>
              <a:gd name="T18" fmla="*/ 1842 w 4272"/>
              <a:gd name="T19" fmla="*/ 3814 h 4809"/>
              <a:gd name="T20" fmla="*/ 1488 w 4272"/>
              <a:gd name="T21" fmla="*/ 2878 h 4809"/>
              <a:gd name="T22" fmla="*/ 1524 w 4272"/>
              <a:gd name="T23" fmla="*/ 2744 h 4809"/>
              <a:gd name="T24" fmla="*/ 2885 w 4272"/>
              <a:gd name="T25" fmla="*/ 1316 h 4809"/>
              <a:gd name="T26" fmla="*/ 3030 w 4272"/>
              <a:gd name="T27" fmla="*/ 1540 h 4809"/>
              <a:gd name="T28" fmla="*/ 2676 w 4272"/>
              <a:gd name="T29" fmla="*/ 3247 h 4809"/>
              <a:gd name="T30" fmla="*/ 2808 w 4272"/>
              <a:gd name="T31" fmla="*/ 3531 h 4809"/>
              <a:gd name="T32" fmla="*/ 3318 w 4272"/>
              <a:gd name="T33" fmla="*/ 1868 h 4809"/>
              <a:gd name="T34" fmla="*/ 3533 w 4272"/>
              <a:gd name="T35" fmla="*/ 1799 h 4809"/>
              <a:gd name="T36" fmla="*/ 2984 w 4272"/>
              <a:gd name="T37" fmla="*/ 1650 h 4809"/>
              <a:gd name="T38" fmla="*/ 2958 w 4272"/>
              <a:gd name="T39" fmla="*/ 1779 h 4809"/>
              <a:gd name="T40" fmla="*/ 3216 w 4272"/>
              <a:gd name="T41" fmla="*/ 3200 h 4809"/>
              <a:gd name="T42" fmla="*/ 3404 w 4272"/>
              <a:gd name="T43" fmla="*/ 3012 h 4809"/>
              <a:gd name="T44" fmla="*/ 4140 w 4272"/>
              <a:gd name="T45" fmla="*/ 2455 h 4809"/>
              <a:gd name="T46" fmla="*/ 4272 w 4272"/>
              <a:gd name="T47" fmla="*/ 2455 h 4809"/>
              <a:gd name="T48" fmla="*/ 1860 w 4272"/>
              <a:gd name="T49" fmla="*/ 2788 h 4809"/>
              <a:gd name="T50" fmla="*/ 2235 w 4272"/>
              <a:gd name="T51" fmla="*/ 2872 h 4809"/>
              <a:gd name="T52" fmla="*/ 2795 w 4272"/>
              <a:gd name="T53" fmla="*/ 816 h 4809"/>
              <a:gd name="T54" fmla="*/ 2923 w 4272"/>
              <a:gd name="T55" fmla="*/ 784 h 4809"/>
              <a:gd name="T56" fmla="*/ 2696 w 4272"/>
              <a:gd name="T57" fmla="*/ 510 h 4809"/>
              <a:gd name="T58" fmla="*/ 2622 w 4272"/>
              <a:gd name="T59" fmla="*/ 244 h 4809"/>
              <a:gd name="T60" fmla="*/ 2206 w 4272"/>
              <a:gd name="T61" fmla="*/ 166 h 4809"/>
              <a:gd name="T62" fmla="*/ 2181 w 4272"/>
              <a:gd name="T63" fmla="*/ 38 h 4809"/>
              <a:gd name="T64" fmla="*/ 1578 w 4272"/>
              <a:gd name="T65" fmla="*/ 1031 h 4809"/>
              <a:gd name="T66" fmla="*/ 1619 w 4272"/>
              <a:gd name="T67" fmla="*/ 748 h 4809"/>
              <a:gd name="T68" fmla="*/ 1796 w 4272"/>
              <a:gd name="T69" fmla="*/ 535 h 4809"/>
              <a:gd name="T70" fmla="*/ 1900 w 4272"/>
              <a:gd name="T71" fmla="*/ 265 h 4809"/>
              <a:gd name="T72" fmla="*/ 500 w 4272"/>
              <a:gd name="T73" fmla="*/ 1476 h 4809"/>
              <a:gd name="T74" fmla="*/ 557 w 4272"/>
              <a:gd name="T75" fmla="*/ 1595 h 4809"/>
              <a:gd name="T76" fmla="*/ 986 w 4272"/>
              <a:gd name="T77" fmla="*/ 2627 h 4809"/>
              <a:gd name="T78" fmla="*/ 968 w 4272"/>
              <a:gd name="T79" fmla="*/ 2757 h 4809"/>
              <a:gd name="T80" fmla="*/ 480 w 4272"/>
              <a:gd name="T81" fmla="*/ 2428 h 4809"/>
              <a:gd name="T82" fmla="*/ 448 w 4272"/>
              <a:gd name="T83" fmla="*/ 2552 h 4809"/>
              <a:gd name="T84" fmla="*/ 133 w 4272"/>
              <a:gd name="T85" fmla="*/ 1825 h 4809"/>
              <a:gd name="T86" fmla="*/ 86 w 4272"/>
              <a:gd name="T87" fmla="*/ 2158 h 4809"/>
              <a:gd name="T88" fmla="*/ 133 w 4272"/>
              <a:gd name="T89" fmla="*/ 1825 h 4809"/>
              <a:gd name="T90" fmla="*/ 1120 w 4272"/>
              <a:gd name="T91" fmla="*/ 1335 h 4809"/>
              <a:gd name="T92" fmla="*/ 847 w 4272"/>
              <a:gd name="T93" fmla="*/ 1477 h 4809"/>
              <a:gd name="T94" fmla="*/ 1800 w 4272"/>
              <a:gd name="T95" fmla="*/ 4540 h 4809"/>
              <a:gd name="T96" fmla="*/ 2579 w 4272"/>
              <a:gd name="T97" fmla="*/ 4297 h 4809"/>
              <a:gd name="T98" fmla="*/ 1738 w 4272"/>
              <a:gd name="T99" fmla="*/ 4216 h 4809"/>
              <a:gd name="T100" fmla="*/ 2639 w 4272"/>
              <a:gd name="T101" fmla="*/ 3959 h 4809"/>
              <a:gd name="T102" fmla="*/ 2035 w 4272"/>
              <a:gd name="T103" fmla="*/ 4809 h 4809"/>
              <a:gd name="T104" fmla="*/ 2472 w 4272"/>
              <a:gd name="T105" fmla="*/ 4634 h 4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72" h="4809">
                <a:moveTo>
                  <a:pt x="2295" y="1688"/>
                </a:moveTo>
                <a:lnTo>
                  <a:pt x="2295" y="1688"/>
                </a:lnTo>
                <a:cubicBezTo>
                  <a:pt x="2334" y="1691"/>
                  <a:pt x="2373" y="1694"/>
                  <a:pt x="2412" y="1698"/>
                </a:cubicBezTo>
                <a:cubicBezTo>
                  <a:pt x="2414" y="1698"/>
                  <a:pt x="2416" y="1698"/>
                  <a:pt x="2418" y="1698"/>
                </a:cubicBezTo>
                <a:cubicBezTo>
                  <a:pt x="2452" y="1698"/>
                  <a:pt x="2480" y="1673"/>
                  <a:pt x="2484" y="1639"/>
                </a:cubicBezTo>
                <a:cubicBezTo>
                  <a:pt x="2488" y="1602"/>
                  <a:pt x="2461" y="1570"/>
                  <a:pt x="2425" y="1566"/>
                </a:cubicBezTo>
                <a:cubicBezTo>
                  <a:pt x="2385" y="1562"/>
                  <a:pt x="2344" y="1559"/>
                  <a:pt x="2304" y="1556"/>
                </a:cubicBezTo>
                <a:cubicBezTo>
                  <a:pt x="2282" y="1507"/>
                  <a:pt x="2233" y="1473"/>
                  <a:pt x="2176" y="1473"/>
                </a:cubicBezTo>
                <a:cubicBezTo>
                  <a:pt x="2099" y="1473"/>
                  <a:pt x="2036" y="1536"/>
                  <a:pt x="2036" y="1613"/>
                </a:cubicBezTo>
                <a:cubicBezTo>
                  <a:pt x="2036" y="1690"/>
                  <a:pt x="2099" y="1753"/>
                  <a:pt x="2176" y="1753"/>
                </a:cubicBezTo>
                <a:cubicBezTo>
                  <a:pt x="2226" y="1753"/>
                  <a:pt x="2270" y="1727"/>
                  <a:pt x="2295" y="1688"/>
                </a:cubicBezTo>
                <a:lnTo>
                  <a:pt x="2295" y="1688"/>
                </a:lnTo>
                <a:close/>
                <a:moveTo>
                  <a:pt x="3895" y="2789"/>
                </a:moveTo>
                <a:lnTo>
                  <a:pt x="3895" y="2789"/>
                </a:lnTo>
                <a:cubicBezTo>
                  <a:pt x="3843" y="2824"/>
                  <a:pt x="3782" y="2859"/>
                  <a:pt x="3715" y="2891"/>
                </a:cubicBezTo>
                <a:cubicBezTo>
                  <a:pt x="3682" y="2907"/>
                  <a:pt x="3668" y="2946"/>
                  <a:pt x="3684" y="2979"/>
                </a:cubicBezTo>
                <a:cubicBezTo>
                  <a:pt x="3695" y="3003"/>
                  <a:pt x="3719" y="3016"/>
                  <a:pt x="3743" y="3016"/>
                </a:cubicBezTo>
                <a:cubicBezTo>
                  <a:pt x="3753" y="3016"/>
                  <a:pt x="3763" y="3014"/>
                  <a:pt x="3772" y="3010"/>
                </a:cubicBezTo>
                <a:cubicBezTo>
                  <a:pt x="3845" y="2975"/>
                  <a:pt x="3911" y="2937"/>
                  <a:pt x="3969" y="2899"/>
                </a:cubicBezTo>
                <a:cubicBezTo>
                  <a:pt x="3999" y="2879"/>
                  <a:pt x="4007" y="2838"/>
                  <a:pt x="3987" y="2807"/>
                </a:cubicBezTo>
                <a:cubicBezTo>
                  <a:pt x="3967" y="2777"/>
                  <a:pt x="3926" y="2769"/>
                  <a:pt x="3895" y="2789"/>
                </a:cubicBezTo>
                <a:lnTo>
                  <a:pt x="3895" y="2789"/>
                </a:lnTo>
                <a:close/>
                <a:moveTo>
                  <a:pt x="3856" y="1941"/>
                </a:moveTo>
                <a:lnTo>
                  <a:pt x="3856" y="1941"/>
                </a:lnTo>
                <a:cubicBezTo>
                  <a:pt x="3824" y="1924"/>
                  <a:pt x="3783" y="1935"/>
                  <a:pt x="3766" y="1967"/>
                </a:cubicBezTo>
                <a:cubicBezTo>
                  <a:pt x="3748" y="1999"/>
                  <a:pt x="3760" y="2040"/>
                  <a:pt x="3792" y="2057"/>
                </a:cubicBezTo>
                <a:cubicBezTo>
                  <a:pt x="3858" y="2093"/>
                  <a:pt x="3916" y="2131"/>
                  <a:pt x="3963" y="2170"/>
                </a:cubicBezTo>
                <a:cubicBezTo>
                  <a:pt x="3976" y="2179"/>
                  <a:pt x="3990" y="2184"/>
                  <a:pt x="4005" y="2184"/>
                </a:cubicBezTo>
                <a:cubicBezTo>
                  <a:pt x="4024" y="2184"/>
                  <a:pt x="4043" y="2176"/>
                  <a:pt x="4056" y="2159"/>
                </a:cubicBezTo>
                <a:cubicBezTo>
                  <a:pt x="4079" y="2131"/>
                  <a:pt x="4075" y="2090"/>
                  <a:pt x="4046" y="2067"/>
                </a:cubicBezTo>
                <a:cubicBezTo>
                  <a:pt x="3992" y="2023"/>
                  <a:pt x="3928" y="1981"/>
                  <a:pt x="3856" y="1941"/>
                </a:cubicBezTo>
                <a:lnTo>
                  <a:pt x="3856" y="1941"/>
                </a:lnTo>
                <a:close/>
                <a:moveTo>
                  <a:pt x="3533" y="1799"/>
                </a:moveTo>
                <a:lnTo>
                  <a:pt x="3533" y="1799"/>
                </a:lnTo>
                <a:cubicBezTo>
                  <a:pt x="3467" y="1775"/>
                  <a:pt x="3396" y="1752"/>
                  <a:pt x="3323" y="1731"/>
                </a:cubicBezTo>
                <a:cubicBezTo>
                  <a:pt x="3311" y="1728"/>
                  <a:pt x="3299" y="1729"/>
                  <a:pt x="3288" y="1732"/>
                </a:cubicBezTo>
                <a:cubicBezTo>
                  <a:pt x="3148" y="1258"/>
                  <a:pt x="2714" y="908"/>
                  <a:pt x="2198" y="897"/>
                </a:cubicBezTo>
                <a:cubicBezTo>
                  <a:pt x="2196" y="897"/>
                  <a:pt x="2194" y="897"/>
                  <a:pt x="2192" y="897"/>
                </a:cubicBezTo>
                <a:lnTo>
                  <a:pt x="2174" y="897"/>
                </a:lnTo>
                <a:cubicBezTo>
                  <a:pt x="2172" y="897"/>
                  <a:pt x="2170" y="897"/>
                  <a:pt x="2168" y="897"/>
                </a:cubicBezTo>
                <a:cubicBezTo>
                  <a:pt x="1539" y="910"/>
                  <a:pt x="1031" y="1426"/>
                  <a:pt x="1031" y="2059"/>
                </a:cubicBezTo>
                <a:cubicBezTo>
                  <a:pt x="1031" y="2255"/>
                  <a:pt x="1081" y="2449"/>
                  <a:pt x="1174" y="2617"/>
                </a:cubicBezTo>
                <a:cubicBezTo>
                  <a:pt x="1176" y="2621"/>
                  <a:pt x="1201" y="2675"/>
                  <a:pt x="1241" y="2745"/>
                </a:cubicBezTo>
                <a:cubicBezTo>
                  <a:pt x="1239" y="2750"/>
                  <a:pt x="1237" y="2753"/>
                  <a:pt x="1236" y="2758"/>
                </a:cubicBezTo>
                <a:cubicBezTo>
                  <a:pt x="1229" y="2794"/>
                  <a:pt x="1252" y="2829"/>
                  <a:pt x="1287" y="2836"/>
                </a:cubicBezTo>
                <a:cubicBezTo>
                  <a:pt x="1290" y="2836"/>
                  <a:pt x="1294" y="2837"/>
                  <a:pt x="1297" y="2837"/>
                </a:cubicBezTo>
                <a:cubicBezTo>
                  <a:pt x="1324" y="2881"/>
                  <a:pt x="1355" y="2925"/>
                  <a:pt x="1387" y="2963"/>
                </a:cubicBezTo>
                <a:cubicBezTo>
                  <a:pt x="1529" y="3130"/>
                  <a:pt x="1558" y="3210"/>
                  <a:pt x="1558" y="3247"/>
                </a:cubicBezTo>
                <a:lnTo>
                  <a:pt x="1558" y="3531"/>
                </a:lnTo>
                <a:cubicBezTo>
                  <a:pt x="1558" y="3687"/>
                  <a:pt x="1686" y="3814"/>
                  <a:pt x="1842" y="3814"/>
                </a:cubicBezTo>
                <a:cubicBezTo>
                  <a:pt x="1878" y="3814"/>
                  <a:pt x="1908" y="3785"/>
                  <a:pt x="1908" y="3748"/>
                </a:cubicBezTo>
                <a:cubicBezTo>
                  <a:pt x="1908" y="3712"/>
                  <a:pt x="1878" y="3682"/>
                  <a:pt x="1842" y="3682"/>
                </a:cubicBezTo>
                <a:cubicBezTo>
                  <a:pt x="1758" y="3682"/>
                  <a:pt x="1690" y="3614"/>
                  <a:pt x="1690" y="3531"/>
                </a:cubicBezTo>
                <a:lnTo>
                  <a:pt x="1690" y="3247"/>
                </a:lnTo>
                <a:cubicBezTo>
                  <a:pt x="1690" y="3157"/>
                  <a:pt x="1628" y="3043"/>
                  <a:pt x="1488" y="2878"/>
                </a:cubicBezTo>
                <a:cubicBezTo>
                  <a:pt x="1486" y="2876"/>
                  <a:pt x="1485" y="2873"/>
                  <a:pt x="1483" y="2871"/>
                </a:cubicBezTo>
                <a:cubicBezTo>
                  <a:pt x="1490" y="2872"/>
                  <a:pt x="1497" y="2873"/>
                  <a:pt x="1504" y="2875"/>
                </a:cubicBezTo>
                <a:cubicBezTo>
                  <a:pt x="1507" y="2875"/>
                  <a:pt x="1511" y="2875"/>
                  <a:pt x="1514" y="2875"/>
                </a:cubicBezTo>
                <a:cubicBezTo>
                  <a:pt x="1546" y="2875"/>
                  <a:pt x="1574" y="2852"/>
                  <a:pt x="1579" y="2820"/>
                </a:cubicBezTo>
                <a:cubicBezTo>
                  <a:pt x="1585" y="2784"/>
                  <a:pt x="1560" y="2750"/>
                  <a:pt x="1524" y="2744"/>
                </a:cubicBezTo>
                <a:cubicBezTo>
                  <a:pt x="1474" y="2736"/>
                  <a:pt x="1426" y="2727"/>
                  <a:pt x="1378" y="2718"/>
                </a:cubicBezTo>
                <a:cubicBezTo>
                  <a:pt x="1328" y="2634"/>
                  <a:pt x="1293" y="2560"/>
                  <a:pt x="1291" y="2557"/>
                </a:cubicBezTo>
                <a:cubicBezTo>
                  <a:pt x="1207" y="2405"/>
                  <a:pt x="1163" y="2233"/>
                  <a:pt x="1163" y="2059"/>
                </a:cubicBezTo>
                <a:cubicBezTo>
                  <a:pt x="1163" y="1494"/>
                  <a:pt x="1620" y="1034"/>
                  <a:pt x="2183" y="1029"/>
                </a:cubicBezTo>
                <a:cubicBezTo>
                  <a:pt x="2455" y="1032"/>
                  <a:pt x="2702" y="1141"/>
                  <a:pt x="2885" y="1316"/>
                </a:cubicBezTo>
                <a:cubicBezTo>
                  <a:pt x="2882" y="1324"/>
                  <a:pt x="2881" y="1332"/>
                  <a:pt x="2882" y="1341"/>
                </a:cubicBezTo>
                <a:cubicBezTo>
                  <a:pt x="2889" y="1408"/>
                  <a:pt x="2894" y="1477"/>
                  <a:pt x="2898" y="1548"/>
                </a:cubicBezTo>
                <a:cubicBezTo>
                  <a:pt x="2900" y="1583"/>
                  <a:pt x="2929" y="1610"/>
                  <a:pt x="2964" y="1610"/>
                </a:cubicBezTo>
                <a:cubicBezTo>
                  <a:pt x="2965" y="1610"/>
                  <a:pt x="2966" y="1610"/>
                  <a:pt x="2968" y="1610"/>
                </a:cubicBezTo>
                <a:cubicBezTo>
                  <a:pt x="3004" y="1608"/>
                  <a:pt x="3032" y="1577"/>
                  <a:pt x="3030" y="1540"/>
                </a:cubicBezTo>
                <a:cubicBezTo>
                  <a:pt x="3029" y="1520"/>
                  <a:pt x="3027" y="1501"/>
                  <a:pt x="3025" y="1481"/>
                </a:cubicBezTo>
                <a:cubicBezTo>
                  <a:pt x="3137" y="1646"/>
                  <a:pt x="3203" y="1845"/>
                  <a:pt x="3203" y="2059"/>
                </a:cubicBezTo>
                <a:cubicBezTo>
                  <a:pt x="3203" y="2233"/>
                  <a:pt x="3159" y="2405"/>
                  <a:pt x="3073" y="2560"/>
                </a:cubicBezTo>
                <a:cubicBezTo>
                  <a:pt x="3072" y="2562"/>
                  <a:pt x="2979" y="2757"/>
                  <a:pt x="2878" y="2878"/>
                </a:cubicBezTo>
                <a:cubicBezTo>
                  <a:pt x="2738" y="3043"/>
                  <a:pt x="2676" y="3157"/>
                  <a:pt x="2676" y="3247"/>
                </a:cubicBezTo>
                <a:lnTo>
                  <a:pt x="2676" y="3531"/>
                </a:lnTo>
                <a:cubicBezTo>
                  <a:pt x="2676" y="3614"/>
                  <a:pt x="2608" y="3682"/>
                  <a:pt x="2524" y="3682"/>
                </a:cubicBezTo>
                <a:cubicBezTo>
                  <a:pt x="2487" y="3682"/>
                  <a:pt x="2458" y="3712"/>
                  <a:pt x="2458" y="3748"/>
                </a:cubicBezTo>
                <a:cubicBezTo>
                  <a:pt x="2458" y="3785"/>
                  <a:pt x="2487" y="3814"/>
                  <a:pt x="2524" y="3814"/>
                </a:cubicBezTo>
                <a:cubicBezTo>
                  <a:pt x="2680" y="3814"/>
                  <a:pt x="2808" y="3687"/>
                  <a:pt x="2808" y="3531"/>
                </a:cubicBezTo>
                <a:lnTo>
                  <a:pt x="2808" y="3247"/>
                </a:lnTo>
                <a:cubicBezTo>
                  <a:pt x="2808" y="3210"/>
                  <a:pt x="2837" y="3130"/>
                  <a:pt x="2979" y="2963"/>
                </a:cubicBezTo>
                <a:cubicBezTo>
                  <a:pt x="3092" y="2829"/>
                  <a:pt x="3188" y="2625"/>
                  <a:pt x="3190" y="2620"/>
                </a:cubicBezTo>
                <a:cubicBezTo>
                  <a:pt x="3285" y="2449"/>
                  <a:pt x="3335" y="2255"/>
                  <a:pt x="3335" y="2059"/>
                </a:cubicBezTo>
                <a:cubicBezTo>
                  <a:pt x="3335" y="1993"/>
                  <a:pt x="3328" y="1930"/>
                  <a:pt x="3318" y="1868"/>
                </a:cubicBezTo>
                <a:cubicBezTo>
                  <a:pt x="3377" y="1885"/>
                  <a:pt x="3435" y="1904"/>
                  <a:pt x="3488" y="1923"/>
                </a:cubicBezTo>
                <a:cubicBezTo>
                  <a:pt x="3496" y="1926"/>
                  <a:pt x="3503" y="1927"/>
                  <a:pt x="3511" y="1927"/>
                </a:cubicBezTo>
                <a:cubicBezTo>
                  <a:pt x="3538" y="1927"/>
                  <a:pt x="3563" y="1910"/>
                  <a:pt x="3573" y="1883"/>
                </a:cubicBezTo>
                <a:cubicBezTo>
                  <a:pt x="3585" y="1849"/>
                  <a:pt x="3567" y="1811"/>
                  <a:pt x="3533" y="1799"/>
                </a:cubicBezTo>
                <a:lnTo>
                  <a:pt x="3533" y="1799"/>
                </a:lnTo>
                <a:close/>
                <a:moveTo>
                  <a:pt x="2958" y="1779"/>
                </a:moveTo>
                <a:lnTo>
                  <a:pt x="2958" y="1779"/>
                </a:lnTo>
                <a:cubicBezTo>
                  <a:pt x="2963" y="1780"/>
                  <a:pt x="2967" y="1780"/>
                  <a:pt x="2972" y="1780"/>
                </a:cubicBezTo>
                <a:cubicBezTo>
                  <a:pt x="3002" y="1780"/>
                  <a:pt x="3030" y="1759"/>
                  <a:pt x="3036" y="1727"/>
                </a:cubicBezTo>
                <a:cubicBezTo>
                  <a:pt x="3043" y="1692"/>
                  <a:pt x="3020" y="1657"/>
                  <a:pt x="2984" y="1650"/>
                </a:cubicBezTo>
                <a:cubicBezTo>
                  <a:pt x="2914" y="1635"/>
                  <a:pt x="2841" y="1622"/>
                  <a:pt x="2768" y="1611"/>
                </a:cubicBezTo>
                <a:cubicBezTo>
                  <a:pt x="2732" y="1605"/>
                  <a:pt x="2699" y="1630"/>
                  <a:pt x="2693" y="1666"/>
                </a:cubicBezTo>
                <a:cubicBezTo>
                  <a:pt x="2687" y="1702"/>
                  <a:pt x="2712" y="1736"/>
                  <a:pt x="2748" y="1741"/>
                </a:cubicBezTo>
                <a:cubicBezTo>
                  <a:pt x="2819" y="1753"/>
                  <a:pt x="2890" y="1765"/>
                  <a:pt x="2958" y="1779"/>
                </a:cubicBezTo>
                <a:lnTo>
                  <a:pt x="2958" y="1779"/>
                </a:lnTo>
                <a:close/>
                <a:moveTo>
                  <a:pt x="3404" y="3012"/>
                </a:moveTo>
                <a:lnTo>
                  <a:pt x="3404" y="3012"/>
                </a:lnTo>
                <a:cubicBezTo>
                  <a:pt x="3339" y="3033"/>
                  <a:pt x="3270" y="3052"/>
                  <a:pt x="3200" y="3070"/>
                </a:cubicBezTo>
                <a:cubicBezTo>
                  <a:pt x="3164" y="3079"/>
                  <a:pt x="3143" y="3115"/>
                  <a:pt x="3152" y="3151"/>
                </a:cubicBezTo>
                <a:cubicBezTo>
                  <a:pt x="3160" y="3181"/>
                  <a:pt x="3186" y="3200"/>
                  <a:pt x="3216" y="3200"/>
                </a:cubicBezTo>
                <a:cubicBezTo>
                  <a:pt x="3221" y="3200"/>
                  <a:pt x="3227" y="3200"/>
                  <a:pt x="3232" y="3198"/>
                </a:cubicBezTo>
                <a:cubicBezTo>
                  <a:pt x="3306" y="3180"/>
                  <a:pt x="3377" y="3159"/>
                  <a:pt x="3445" y="3138"/>
                </a:cubicBezTo>
                <a:cubicBezTo>
                  <a:pt x="3479" y="3127"/>
                  <a:pt x="3499" y="3089"/>
                  <a:pt x="3487" y="3055"/>
                </a:cubicBezTo>
                <a:cubicBezTo>
                  <a:pt x="3476" y="3020"/>
                  <a:pt x="3439" y="3001"/>
                  <a:pt x="3404" y="3012"/>
                </a:cubicBezTo>
                <a:lnTo>
                  <a:pt x="3404" y="3012"/>
                </a:lnTo>
                <a:close/>
                <a:moveTo>
                  <a:pt x="4264" y="2378"/>
                </a:moveTo>
                <a:lnTo>
                  <a:pt x="4264" y="2378"/>
                </a:lnTo>
                <a:cubicBezTo>
                  <a:pt x="4256" y="2342"/>
                  <a:pt x="4221" y="2319"/>
                  <a:pt x="4185" y="2327"/>
                </a:cubicBezTo>
                <a:cubicBezTo>
                  <a:pt x="4150" y="2335"/>
                  <a:pt x="4127" y="2370"/>
                  <a:pt x="4135" y="2406"/>
                </a:cubicBezTo>
                <a:cubicBezTo>
                  <a:pt x="4138" y="2422"/>
                  <a:pt x="4140" y="2439"/>
                  <a:pt x="4140" y="2455"/>
                </a:cubicBezTo>
                <a:cubicBezTo>
                  <a:pt x="4140" y="2493"/>
                  <a:pt x="4130" y="2533"/>
                  <a:pt x="4110" y="2572"/>
                </a:cubicBezTo>
                <a:cubicBezTo>
                  <a:pt x="4094" y="2604"/>
                  <a:pt x="4107" y="2644"/>
                  <a:pt x="4139" y="2660"/>
                </a:cubicBezTo>
                <a:cubicBezTo>
                  <a:pt x="4149" y="2665"/>
                  <a:pt x="4159" y="2668"/>
                  <a:pt x="4169" y="2668"/>
                </a:cubicBezTo>
                <a:cubicBezTo>
                  <a:pt x="4193" y="2668"/>
                  <a:pt x="4216" y="2655"/>
                  <a:pt x="4228" y="2632"/>
                </a:cubicBezTo>
                <a:cubicBezTo>
                  <a:pt x="4257" y="2574"/>
                  <a:pt x="4272" y="2515"/>
                  <a:pt x="4272" y="2455"/>
                </a:cubicBezTo>
                <a:cubicBezTo>
                  <a:pt x="4272" y="2429"/>
                  <a:pt x="4269" y="2403"/>
                  <a:pt x="4264" y="2378"/>
                </a:cubicBezTo>
                <a:lnTo>
                  <a:pt x="4264" y="2378"/>
                </a:lnTo>
                <a:close/>
                <a:moveTo>
                  <a:pt x="1977" y="2798"/>
                </a:moveTo>
                <a:lnTo>
                  <a:pt x="1977" y="2798"/>
                </a:lnTo>
                <a:cubicBezTo>
                  <a:pt x="1938" y="2794"/>
                  <a:pt x="1899" y="2792"/>
                  <a:pt x="1860" y="2788"/>
                </a:cubicBezTo>
                <a:cubicBezTo>
                  <a:pt x="1825" y="2785"/>
                  <a:pt x="1792" y="2810"/>
                  <a:pt x="1788" y="2847"/>
                </a:cubicBezTo>
                <a:cubicBezTo>
                  <a:pt x="1784" y="2883"/>
                  <a:pt x="1811" y="2915"/>
                  <a:pt x="1847" y="2919"/>
                </a:cubicBezTo>
                <a:cubicBezTo>
                  <a:pt x="1887" y="2923"/>
                  <a:pt x="1927" y="2926"/>
                  <a:pt x="1968" y="2930"/>
                </a:cubicBezTo>
                <a:cubicBezTo>
                  <a:pt x="1990" y="2978"/>
                  <a:pt x="2038" y="3012"/>
                  <a:pt x="2095" y="3012"/>
                </a:cubicBezTo>
                <a:cubicBezTo>
                  <a:pt x="2173" y="3012"/>
                  <a:pt x="2235" y="2950"/>
                  <a:pt x="2235" y="2872"/>
                </a:cubicBezTo>
                <a:cubicBezTo>
                  <a:pt x="2235" y="2795"/>
                  <a:pt x="2173" y="2732"/>
                  <a:pt x="2095" y="2732"/>
                </a:cubicBezTo>
                <a:cubicBezTo>
                  <a:pt x="2045" y="2732"/>
                  <a:pt x="2002" y="2759"/>
                  <a:pt x="1977" y="2798"/>
                </a:cubicBezTo>
                <a:lnTo>
                  <a:pt x="1977" y="2798"/>
                </a:lnTo>
                <a:close/>
                <a:moveTo>
                  <a:pt x="2795" y="816"/>
                </a:moveTo>
                <a:lnTo>
                  <a:pt x="2795" y="816"/>
                </a:lnTo>
                <a:cubicBezTo>
                  <a:pt x="2811" y="879"/>
                  <a:pt x="2825" y="947"/>
                  <a:pt x="2838" y="1017"/>
                </a:cubicBezTo>
                <a:cubicBezTo>
                  <a:pt x="2844" y="1049"/>
                  <a:pt x="2872" y="1071"/>
                  <a:pt x="2903" y="1071"/>
                </a:cubicBezTo>
                <a:cubicBezTo>
                  <a:pt x="2907" y="1071"/>
                  <a:pt x="2911" y="1071"/>
                  <a:pt x="2915" y="1070"/>
                </a:cubicBezTo>
                <a:cubicBezTo>
                  <a:pt x="2951" y="1064"/>
                  <a:pt x="2974" y="1030"/>
                  <a:pt x="2968" y="994"/>
                </a:cubicBezTo>
                <a:cubicBezTo>
                  <a:pt x="2955" y="921"/>
                  <a:pt x="2940" y="850"/>
                  <a:pt x="2923" y="784"/>
                </a:cubicBezTo>
                <a:cubicBezTo>
                  <a:pt x="2915" y="748"/>
                  <a:pt x="2879" y="727"/>
                  <a:pt x="2843" y="736"/>
                </a:cubicBezTo>
                <a:cubicBezTo>
                  <a:pt x="2808" y="745"/>
                  <a:pt x="2787" y="780"/>
                  <a:pt x="2795" y="816"/>
                </a:cubicBezTo>
                <a:lnTo>
                  <a:pt x="2795" y="816"/>
                </a:lnTo>
                <a:close/>
                <a:moveTo>
                  <a:pt x="2696" y="510"/>
                </a:moveTo>
                <a:lnTo>
                  <a:pt x="2696" y="510"/>
                </a:lnTo>
                <a:cubicBezTo>
                  <a:pt x="2706" y="535"/>
                  <a:pt x="2731" y="550"/>
                  <a:pt x="2756" y="550"/>
                </a:cubicBezTo>
                <a:cubicBezTo>
                  <a:pt x="2765" y="550"/>
                  <a:pt x="2774" y="549"/>
                  <a:pt x="2782" y="545"/>
                </a:cubicBezTo>
                <a:cubicBezTo>
                  <a:pt x="2816" y="531"/>
                  <a:pt x="2832" y="492"/>
                  <a:pt x="2817" y="458"/>
                </a:cubicBezTo>
                <a:cubicBezTo>
                  <a:pt x="2786" y="385"/>
                  <a:pt x="2751" y="319"/>
                  <a:pt x="2714" y="262"/>
                </a:cubicBezTo>
                <a:cubicBezTo>
                  <a:pt x="2694" y="232"/>
                  <a:pt x="2653" y="224"/>
                  <a:pt x="2622" y="244"/>
                </a:cubicBezTo>
                <a:cubicBezTo>
                  <a:pt x="2592" y="264"/>
                  <a:pt x="2583" y="305"/>
                  <a:pt x="2603" y="335"/>
                </a:cubicBezTo>
                <a:cubicBezTo>
                  <a:pt x="2636" y="385"/>
                  <a:pt x="2667" y="444"/>
                  <a:pt x="2696" y="510"/>
                </a:cubicBezTo>
                <a:lnTo>
                  <a:pt x="2696" y="510"/>
                </a:lnTo>
                <a:close/>
                <a:moveTo>
                  <a:pt x="2206" y="166"/>
                </a:moveTo>
                <a:lnTo>
                  <a:pt x="2206" y="166"/>
                </a:lnTo>
                <a:cubicBezTo>
                  <a:pt x="2214" y="166"/>
                  <a:pt x="2223" y="164"/>
                  <a:pt x="2231" y="161"/>
                </a:cubicBezTo>
                <a:cubicBezTo>
                  <a:pt x="2287" y="138"/>
                  <a:pt x="2341" y="134"/>
                  <a:pt x="2392" y="150"/>
                </a:cubicBezTo>
                <a:cubicBezTo>
                  <a:pt x="2427" y="161"/>
                  <a:pt x="2464" y="141"/>
                  <a:pt x="2474" y="106"/>
                </a:cubicBezTo>
                <a:cubicBezTo>
                  <a:pt x="2485" y="71"/>
                  <a:pt x="2465" y="34"/>
                  <a:pt x="2431" y="24"/>
                </a:cubicBezTo>
                <a:cubicBezTo>
                  <a:pt x="2350" y="0"/>
                  <a:pt x="2265" y="5"/>
                  <a:pt x="2181" y="38"/>
                </a:cubicBezTo>
                <a:cubicBezTo>
                  <a:pt x="2147" y="52"/>
                  <a:pt x="2131" y="91"/>
                  <a:pt x="2145" y="124"/>
                </a:cubicBezTo>
                <a:cubicBezTo>
                  <a:pt x="2155" y="150"/>
                  <a:pt x="2180" y="166"/>
                  <a:pt x="2206" y="166"/>
                </a:cubicBezTo>
                <a:lnTo>
                  <a:pt x="2206" y="166"/>
                </a:lnTo>
                <a:close/>
                <a:moveTo>
                  <a:pt x="1578" y="1031"/>
                </a:moveTo>
                <a:lnTo>
                  <a:pt x="1578" y="1031"/>
                </a:lnTo>
                <a:cubicBezTo>
                  <a:pt x="1586" y="1034"/>
                  <a:pt x="1594" y="1035"/>
                  <a:pt x="1601" y="1035"/>
                </a:cubicBezTo>
                <a:cubicBezTo>
                  <a:pt x="1628" y="1035"/>
                  <a:pt x="1653" y="1019"/>
                  <a:pt x="1663" y="992"/>
                </a:cubicBezTo>
                <a:cubicBezTo>
                  <a:pt x="1688" y="925"/>
                  <a:pt x="1713" y="861"/>
                  <a:pt x="1740" y="801"/>
                </a:cubicBezTo>
                <a:cubicBezTo>
                  <a:pt x="1754" y="767"/>
                  <a:pt x="1739" y="728"/>
                  <a:pt x="1705" y="714"/>
                </a:cubicBezTo>
                <a:cubicBezTo>
                  <a:pt x="1672" y="699"/>
                  <a:pt x="1633" y="714"/>
                  <a:pt x="1619" y="748"/>
                </a:cubicBezTo>
                <a:cubicBezTo>
                  <a:pt x="1591" y="811"/>
                  <a:pt x="1564" y="878"/>
                  <a:pt x="1539" y="947"/>
                </a:cubicBezTo>
                <a:cubicBezTo>
                  <a:pt x="1527" y="981"/>
                  <a:pt x="1544" y="1019"/>
                  <a:pt x="1578" y="1031"/>
                </a:cubicBezTo>
                <a:lnTo>
                  <a:pt x="1578" y="1031"/>
                </a:lnTo>
                <a:close/>
                <a:moveTo>
                  <a:pt x="1796" y="535"/>
                </a:moveTo>
                <a:lnTo>
                  <a:pt x="1796" y="535"/>
                </a:lnTo>
                <a:cubicBezTo>
                  <a:pt x="1807" y="542"/>
                  <a:pt x="1818" y="545"/>
                  <a:pt x="1830" y="545"/>
                </a:cubicBezTo>
                <a:cubicBezTo>
                  <a:pt x="1852" y="545"/>
                  <a:pt x="1874" y="533"/>
                  <a:pt x="1887" y="513"/>
                </a:cubicBezTo>
                <a:cubicBezTo>
                  <a:pt x="1924" y="451"/>
                  <a:pt x="1963" y="396"/>
                  <a:pt x="2002" y="348"/>
                </a:cubicBezTo>
                <a:cubicBezTo>
                  <a:pt x="2025" y="320"/>
                  <a:pt x="2021" y="279"/>
                  <a:pt x="1992" y="255"/>
                </a:cubicBezTo>
                <a:cubicBezTo>
                  <a:pt x="1964" y="232"/>
                  <a:pt x="1923" y="236"/>
                  <a:pt x="1900" y="265"/>
                </a:cubicBezTo>
                <a:cubicBezTo>
                  <a:pt x="1857" y="317"/>
                  <a:pt x="1814" y="378"/>
                  <a:pt x="1774" y="444"/>
                </a:cubicBezTo>
                <a:cubicBezTo>
                  <a:pt x="1755" y="476"/>
                  <a:pt x="1765" y="516"/>
                  <a:pt x="1796" y="535"/>
                </a:cubicBezTo>
                <a:lnTo>
                  <a:pt x="1796" y="535"/>
                </a:lnTo>
                <a:close/>
                <a:moveTo>
                  <a:pt x="500" y="1476"/>
                </a:moveTo>
                <a:lnTo>
                  <a:pt x="500" y="1476"/>
                </a:lnTo>
                <a:cubicBezTo>
                  <a:pt x="427" y="1511"/>
                  <a:pt x="361" y="1548"/>
                  <a:pt x="303" y="1586"/>
                </a:cubicBezTo>
                <a:cubicBezTo>
                  <a:pt x="273" y="1607"/>
                  <a:pt x="265" y="1648"/>
                  <a:pt x="285" y="1678"/>
                </a:cubicBezTo>
                <a:cubicBezTo>
                  <a:pt x="298" y="1697"/>
                  <a:pt x="318" y="1707"/>
                  <a:pt x="340" y="1707"/>
                </a:cubicBezTo>
                <a:cubicBezTo>
                  <a:pt x="352" y="1707"/>
                  <a:pt x="365" y="1704"/>
                  <a:pt x="376" y="1696"/>
                </a:cubicBezTo>
                <a:cubicBezTo>
                  <a:pt x="429" y="1661"/>
                  <a:pt x="490" y="1627"/>
                  <a:pt x="557" y="1595"/>
                </a:cubicBezTo>
                <a:cubicBezTo>
                  <a:pt x="590" y="1579"/>
                  <a:pt x="604" y="1539"/>
                  <a:pt x="588" y="1506"/>
                </a:cubicBezTo>
                <a:cubicBezTo>
                  <a:pt x="572" y="1474"/>
                  <a:pt x="533" y="1459"/>
                  <a:pt x="500" y="1476"/>
                </a:cubicBezTo>
                <a:lnTo>
                  <a:pt x="500" y="1476"/>
                </a:lnTo>
                <a:close/>
                <a:moveTo>
                  <a:pt x="986" y="2627"/>
                </a:moveTo>
                <a:lnTo>
                  <a:pt x="986" y="2627"/>
                </a:lnTo>
                <a:cubicBezTo>
                  <a:pt x="915" y="2607"/>
                  <a:pt x="846" y="2585"/>
                  <a:pt x="783" y="2562"/>
                </a:cubicBezTo>
                <a:cubicBezTo>
                  <a:pt x="749" y="2550"/>
                  <a:pt x="711" y="2568"/>
                  <a:pt x="699" y="2602"/>
                </a:cubicBezTo>
                <a:cubicBezTo>
                  <a:pt x="687" y="2636"/>
                  <a:pt x="704" y="2674"/>
                  <a:pt x="739" y="2687"/>
                </a:cubicBezTo>
                <a:cubicBezTo>
                  <a:pt x="805" y="2710"/>
                  <a:pt x="875" y="2733"/>
                  <a:pt x="949" y="2754"/>
                </a:cubicBezTo>
                <a:cubicBezTo>
                  <a:pt x="955" y="2756"/>
                  <a:pt x="961" y="2757"/>
                  <a:pt x="968" y="2757"/>
                </a:cubicBezTo>
                <a:cubicBezTo>
                  <a:pt x="996" y="2757"/>
                  <a:pt x="1023" y="2738"/>
                  <a:pt x="1031" y="2709"/>
                </a:cubicBezTo>
                <a:cubicBezTo>
                  <a:pt x="1041" y="2674"/>
                  <a:pt x="1021" y="2637"/>
                  <a:pt x="986" y="2627"/>
                </a:cubicBezTo>
                <a:lnTo>
                  <a:pt x="986" y="2627"/>
                </a:lnTo>
                <a:close/>
                <a:moveTo>
                  <a:pt x="480" y="2428"/>
                </a:moveTo>
                <a:lnTo>
                  <a:pt x="480" y="2428"/>
                </a:lnTo>
                <a:cubicBezTo>
                  <a:pt x="414" y="2392"/>
                  <a:pt x="356" y="2354"/>
                  <a:pt x="308" y="2316"/>
                </a:cubicBezTo>
                <a:cubicBezTo>
                  <a:pt x="280" y="2293"/>
                  <a:pt x="238" y="2298"/>
                  <a:pt x="216" y="2326"/>
                </a:cubicBezTo>
                <a:cubicBezTo>
                  <a:pt x="193" y="2354"/>
                  <a:pt x="197" y="2396"/>
                  <a:pt x="226" y="2419"/>
                </a:cubicBezTo>
                <a:cubicBezTo>
                  <a:pt x="280" y="2462"/>
                  <a:pt x="344" y="2504"/>
                  <a:pt x="416" y="2544"/>
                </a:cubicBezTo>
                <a:cubicBezTo>
                  <a:pt x="426" y="2550"/>
                  <a:pt x="437" y="2552"/>
                  <a:pt x="448" y="2552"/>
                </a:cubicBezTo>
                <a:cubicBezTo>
                  <a:pt x="471" y="2552"/>
                  <a:pt x="494" y="2540"/>
                  <a:pt x="506" y="2518"/>
                </a:cubicBezTo>
                <a:cubicBezTo>
                  <a:pt x="523" y="2486"/>
                  <a:pt x="512" y="2446"/>
                  <a:pt x="480" y="2428"/>
                </a:cubicBezTo>
                <a:lnTo>
                  <a:pt x="480" y="2428"/>
                </a:lnTo>
                <a:close/>
                <a:moveTo>
                  <a:pt x="133" y="1825"/>
                </a:moveTo>
                <a:lnTo>
                  <a:pt x="133" y="1825"/>
                </a:lnTo>
                <a:cubicBezTo>
                  <a:pt x="100" y="1809"/>
                  <a:pt x="61" y="1821"/>
                  <a:pt x="44" y="1854"/>
                </a:cubicBezTo>
                <a:cubicBezTo>
                  <a:pt x="14" y="1911"/>
                  <a:pt x="0" y="1971"/>
                  <a:pt x="0" y="2030"/>
                </a:cubicBezTo>
                <a:cubicBezTo>
                  <a:pt x="0" y="2056"/>
                  <a:pt x="2" y="2082"/>
                  <a:pt x="8" y="2108"/>
                </a:cubicBezTo>
                <a:cubicBezTo>
                  <a:pt x="15" y="2139"/>
                  <a:pt x="42" y="2160"/>
                  <a:pt x="72" y="2160"/>
                </a:cubicBezTo>
                <a:cubicBezTo>
                  <a:pt x="77" y="2160"/>
                  <a:pt x="82" y="2159"/>
                  <a:pt x="86" y="2158"/>
                </a:cubicBezTo>
                <a:cubicBezTo>
                  <a:pt x="122" y="2151"/>
                  <a:pt x="145" y="2115"/>
                  <a:pt x="137" y="2080"/>
                </a:cubicBezTo>
                <a:cubicBezTo>
                  <a:pt x="133" y="2063"/>
                  <a:pt x="131" y="2047"/>
                  <a:pt x="132" y="2030"/>
                </a:cubicBezTo>
                <a:cubicBezTo>
                  <a:pt x="132" y="1992"/>
                  <a:pt x="142" y="1953"/>
                  <a:pt x="162" y="1914"/>
                </a:cubicBezTo>
                <a:cubicBezTo>
                  <a:pt x="178" y="1881"/>
                  <a:pt x="165" y="1842"/>
                  <a:pt x="133" y="1825"/>
                </a:cubicBezTo>
                <a:lnTo>
                  <a:pt x="133" y="1825"/>
                </a:lnTo>
                <a:close/>
                <a:moveTo>
                  <a:pt x="847" y="1477"/>
                </a:moveTo>
                <a:lnTo>
                  <a:pt x="847" y="1477"/>
                </a:lnTo>
                <a:cubicBezTo>
                  <a:pt x="854" y="1477"/>
                  <a:pt x="861" y="1476"/>
                  <a:pt x="867" y="1474"/>
                </a:cubicBezTo>
                <a:cubicBezTo>
                  <a:pt x="933" y="1453"/>
                  <a:pt x="1001" y="1433"/>
                  <a:pt x="1072" y="1415"/>
                </a:cubicBezTo>
                <a:cubicBezTo>
                  <a:pt x="1107" y="1406"/>
                  <a:pt x="1129" y="1370"/>
                  <a:pt x="1120" y="1335"/>
                </a:cubicBezTo>
                <a:cubicBezTo>
                  <a:pt x="1111" y="1299"/>
                  <a:pt x="1074" y="1278"/>
                  <a:pt x="1040" y="1287"/>
                </a:cubicBezTo>
                <a:cubicBezTo>
                  <a:pt x="966" y="1306"/>
                  <a:pt x="895" y="1326"/>
                  <a:pt x="827" y="1348"/>
                </a:cubicBezTo>
                <a:cubicBezTo>
                  <a:pt x="793" y="1359"/>
                  <a:pt x="773" y="1396"/>
                  <a:pt x="785" y="1431"/>
                </a:cubicBezTo>
                <a:cubicBezTo>
                  <a:pt x="793" y="1459"/>
                  <a:pt x="819" y="1477"/>
                  <a:pt x="847" y="1477"/>
                </a:cubicBezTo>
                <a:lnTo>
                  <a:pt x="847" y="1477"/>
                </a:lnTo>
                <a:close/>
                <a:moveTo>
                  <a:pt x="2579" y="4297"/>
                </a:moveTo>
                <a:lnTo>
                  <a:pt x="2579" y="4297"/>
                </a:lnTo>
                <a:lnTo>
                  <a:pt x="1791" y="4409"/>
                </a:lnTo>
                <a:cubicBezTo>
                  <a:pt x="1755" y="4414"/>
                  <a:pt x="1730" y="4447"/>
                  <a:pt x="1735" y="4483"/>
                </a:cubicBezTo>
                <a:cubicBezTo>
                  <a:pt x="1739" y="4516"/>
                  <a:pt x="1768" y="4540"/>
                  <a:pt x="1800" y="4540"/>
                </a:cubicBezTo>
                <a:cubicBezTo>
                  <a:pt x="1803" y="4540"/>
                  <a:pt x="1806" y="4540"/>
                  <a:pt x="1809" y="4539"/>
                </a:cubicBezTo>
                <a:lnTo>
                  <a:pt x="2597" y="4428"/>
                </a:lnTo>
                <a:cubicBezTo>
                  <a:pt x="2633" y="4423"/>
                  <a:pt x="2658" y="4389"/>
                  <a:pt x="2653" y="4353"/>
                </a:cubicBezTo>
                <a:cubicBezTo>
                  <a:pt x="2648" y="4317"/>
                  <a:pt x="2615" y="4292"/>
                  <a:pt x="2579" y="4297"/>
                </a:cubicBezTo>
                <a:lnTo>
                  <a:pt x="2579" y="4297"/>
                </a:lnTo>
                <a:close/>
                <a:moveTo>
                  <a:pt x="2639" y="3959"/>
                </a:moveTo>
                <a:lnTo>
                  <a:pt x="2639" y="3959"/>
                </a:lnTo>
                <a:lnTo>
                  <a:pt x="1729" y="4084"/>
                </a:lnTo>
                <a:cubicBezTo>
                  <a:pt x="1693" y="4089"/>
                  <a:pt x="1668" y="4122"/>
                  <a:pt x="1673" y="4159"/>
                </a:cubicBezTo>
                <a:cubicBezTo>
                  <a:pt x="1677" y="4192"/>
                  <a:pt x="1706" y="4216"/>
                  <a:pt x="1738" y="4216"/>
                </a:cubicBezTo>
                <a:cubicBezTo>
                  <a:pt x="1741" y="4216"/>
                  <a:pt x="1744" y="4215"/>
                  <a:pt x="1747" y="4215"/>
                </a:cubicBezTo>
                <a:lnTo>
                  <a:pt x="2657" y="4090"/>
                </a:lnTo>
                <a:cubicBezTo>
                  <a:pt x="2693" y="4085"/>
                  <a:pt x="2719" y="4052"/>
                  <a:pt x="2714" y="4016"/>
                </a:cubicBezTo>
                <a:cubicBezTo>
                  <a:pt x="2709" y="3980"/>
                  <a:pt x="2675" y="3954"/>
                  <a:pt x="2639" y="3959"/>
                </a:cubicBezTo>
                <a:lnTo>
                  <a:pt x="2639" y="3959"/>
                </a:lnTo>
                <a:close/>
                <a:moveTo>
                  <a:pt x="2472" y="4634"/>
                </a:moveTo>
                <a:lnTo>
                  <a:pt x="2472" y="4634"/>
                </a:lnTo>
                <a:lnTo>
                  <a:pt x="2472" y="4734"/>
                </a:lnTo>
                <a:cubicBezTo>
                  <a:pt x="2472" y="4775"/>
                  <a:pt x="2430" y="4809"/>
                  <a:pt x="2377" y="4809"/>
                </a:cubicBezTo>
                <a:lnTo>
                  <a:pt x="2035" y="4809"/>
                </a:lnTo>
                <a:cubicBezTo>
                  <a:pt x="1983" y="4809"/>
                  <a:pt x="1940" y="4775"/>
                  <a:pt x="1940" y="4734"/>
                </a:cubicBezTo>
                <a:lnTo>
                  <a:pt x="1940" y="4680"/>
                </a:lnTo>
                <a:cubicBezTo>
                  <a:pt x="1940" y="4673"/>
                  <a:pt x="1948" y="4667"/>
                  <a:pt x="1957" y="4667"/>
                </a:cubicBezTo>
                <a:lnTo>
                  <a:pt x="2458" y="4622"/>
                </a:lnTo>
                <a:cubicBezTo>
                  <a:pt x="2466" y="4622"/>
                  <a:pt x="2472" y="4627"/>
                  <a:pt x="2472" y="4634"/>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latin typeface="Calibri" panose="020F0502020204030204"/>
            </a:endParaRPr>
          </a:p>
        </p:txBody>
      </p:sp>
      <p:sp>
        <p:nvSpPr>
          <p:cNvPr id="15" name="Freeform 9">
            <a:extLst>
              <a:ext uri="{FF2B5EF4-FFF2-40B4-BE49-F238E27FC236}">
                <a16:creationId xmlns:a16="http://schemas.microsoft.com/office/drawing/2014/main" id="{C0B85756-03D5-4B14-AD51-517AE2C97704}"/>
              </a:ext>
            </a:extLst>
          </p:cNvPr>
          <p:cNvSpPr>
            <a:spLocks noChangeAspect="1" noEditPoints="1"/>
          </p:cNvSpPr>
          <p:nvPr/>
        </p:nvSpPr>
        <p:spPr bwMode="auto">
          <a:xfrm>
            <a:off x="777744" y="2017667"/>
            <a:ext cx="678698" cy="653758"/>
          </a:xfrm>
          <a:custGeom>
            <a:avLst/>
            <a:gdLst>
              <a:gd name="T0" fmla="*/ 4357 w 4799"/>
              <a:gd name="T1" fmla="*/ 504 h 4621"/>
              <a:gd name="T2" fmla="*/ 3106 w 4799"/>
              <a:gd name="T3" fmla="*/ 1092 h 4621"/>
              <a:gd name="T4" fmla="*/ 2998 w 4799"/>
              <a:gd name="T5" fmla="*/ 1177 h 4621"/>
              <a:gd name="T6" fmla="*/ 3380 w 4799"/>
              <a:gd name="T7" fmla="*/ 1631 h 4621"/>
              <a:gd name="T8" fmla="*/ 3433 w 4799"/>
              <a:gd name="T9" fmla="*/ 1611 h 4621"/>
              <a:gd name="T10" fmla="*/ 4454 w 4799"/>
              <a:gd name="T11" fmla="*/ 504 h 4621"/>
              <a:gd name="T12" fmla="*/ 4357 w 4799"/>
              <a:gd name="T13" fmla="*/ 504 h 4621"/>
              <a:gd name="T14" fmla="*/ 4662 w 4799"/>
              <a:gd name="T15" fmla="*/ 337 h 4621"/>
              <a:gd name="T16" fmla="*/ 2694 w 4799"/>
              <a:gd name="T17" fmla="*/ 137 h 4621"/>
              <a:gd name="T18" fmla="*/ 2495 w 4799"/>
              <a:gd name="T19" fmla="*/ 1545 h 4621"/>
              <a:gd name="T20" fmla="*/ 3020 w 4799"/>
              <a:gd name="T21" fmla="*/ 1745 h 4621"/>
              <a:gd name="T22" fmla="*/ 3088 w 4799"/>
              <a:gd name="T23" fmla="*/ 1814 h 4621"/>
              <a:gd name="T24" fmla="*/ 3622 w 4799"/>
              <a:gd name="T25" fmla="*/ 1765 h 4621"/>
              <a:gd name="T26" fmla="*/ 4462 w 4799"/>
              <a:gd name="T27" fmla="*/ 1745 h 4621"/>
              <a:gd name="T28" fmla="*/ 4662 w 4799"/>
              <a:gd name="T29" fmla="*/ 337 h 4621"/>
              <a:gd name="T30" fmla="*/ 4799 w 4799"/>
              <a:gd name="T31" fmla="*/ 337 h 4621"/>
              <a:gd name="T32" fmla="*/ 4799 w 4799"/>
              <a:gd name="T33" fmla="*/ 1545 h 4621"/>
              <a:gd name="T34" fmla="*/ 3699 w 4799"/>
              <a:gd name="T35" fmla="*/ 1883 h 4621"/>
              <a:gd name="T36" fmla="*/ 3020 w 4799"/>
              <a:gd name="T37" fmla="*/ 2533 h 4621"/>
              <a:gd name="T38" fmla="*/ 2951 w 4799"/>
              <a:gd name="T39" fmla="*/ 2464 h 4621"/>
              <a:gd name="T40" fmla="*/ 2694 w 4799"/>
              <a:gd name="T41" fmla="*/ 1883 h 4621"/>
              <a:gd name="T42" fmla="*/ 2357 w 4799"/>
              <a:gd name="T43" fmla="*/ 337 h 4621"/>
              <a:gd name="T44" fmla="*/ 4462 w 4799"/>
              <a:gd name="T45" fmla="*/ 0 h 4621"/>
              <a:gd name="T46" fmla="*/ 4799 w 4799"/>
              <a:gd name="T47" fmla="*/ 337 h 4621"/>
              <a:gd name="T48" fmla="*/ 2367 w 4799"/>
              <a:gd name="T49" fmla="*/ 3114 h 4621"/>
              <a:gd name="T50" fmla="*/ 2569 w 4799"/>
              <a:gd name="T51" fmla="*/ 3317 h 4621"/>
              <a:gd name="T52" fmla="*/ 2367 w 4799"/>
              <a:gd name="T53" fmla="*/ 3114 h 4621"/>
              <a:gd name="T54" fmla="*/ 2243 w 4799"/>
              <a:gd name="T55" fmla="*/ 3911 h 4621"/>
              <a:gd name="T56" fmla="*/ 2256 w 4799"/>
              <a:gd name="T57" fmla="*/ 3023 h 4621"/>
              <a:gd name="T58" fmla="*/ 1320 w 4799"/>
              <a:gd name="T59" fmla="*/ 2823 h 4621"/>
              <a:gd name="T60" fmla="*/ 682 w 4799"/>
              <a:gd name="T61" fmla="*/ 3887 h 4621"/>
              <a:gd name="T62" fmla="*/ 1446 w 4799"/>
              <a:gd name="T63" fmla="*/ 4519 h 4621"/>
              <a:gd name="T64" fmla="*/ 2243 w 4799"/>
              <a:gd name="T65" fmla="*/ 3911 h 4621"/>
              <a:gd name="T66" fmla="*/ 553 w 4799"/>
              <a:gd name="T67" fmla="*/ 3520 h 4621"/>
              <a:gd name="T68" fmla="*/ 553 w 4799"/>
              <a:gd name="T69" fmla="*/ 3163 h 4621"/>
              <a:gd name="T70" fmla="*/ 571 w 4799"/>
              <a:gd name="T71" fmla="*/ 3114 h 4621"/>
              <a:gd name="T72" fmla="*/ 553 w 4799"/>
              <a:gd name="T73" fmla="*/ 3520 h 4621"/>
              <a:gd name="T74" fmla="*/ 551 w 4799"/>
              <a:gd name="T75" fmla="*/ 2772 h 4621"/>
              <a:gd name="T76" fmla="*/ 601 w 4799"/>
              <a:gd name="T77" fmla="*/ 2826 h 4621"/>
              <a:gd name="T78" fmla="*/ 659 w 4799"/>
              <a:gd name="T79" fmla="*/ 2779 h 4621"/>
              <a:gd name="T80" fmla="*/ 1442 w 4799"/>
              <a:gd name="T81" fmla="*/ 2210 h 4621"/>
              <a:gd name="T82" fmla="*/ 2257 w 4799"/>
              <a:gd name="T83" fmla="*/ 2778 h 4621"/>
              <a:gd name="T84" fmla="*/ 2365 w 4799"/>
              <a:gd name="T85" fmla="*/ 2769 h 4621"/>
              <a:gd name="T86" fmla="*/ 1473 w 4799"/>
              <a:gd name="T87" fmla="*/ 1968 h 4621"/>
              <a:gd name="T88" fmla="*/ 551 w 4799"/>
              <a:gd name="T89" fmla="*/ 2761 h 4621"/>
              <a:gd name="T90" fmla="*/ 551 w 4799"/>
              <a:gd name="T91" fmla="*/ 2772 h 4621"/>
              <a:gd name="T92" fmla="*/ 2467 w 4799"/>
              <a:gd name="T93" fmla="*/ 2022 h 4621"/>
              <a:gd name="T94" fmla="*/ 2893 w 4799"/>
              <a:gd name="T95" fmla="*/ 3040 h 4621"/>
              <a:gd name="T96" fmla="*/ 2856 w 4799"/>
              <a:gd name="T97" fmla="*/ 4498 h 4621"/>
              <a:gd name="T98" fmla="*/ 2791 w 4799"/>
              <a:gd name="T99" fmla="*/ 4485 h 4621"/>
              <a:gd name="T100" fmla="*/ 1478 w 4799"/>
              <a:gd name="T101" fmla="*/ 4621 h 4621"/>
              <a:gd name="T102" fmla="*/ 595 w 4799"/>
              <a:gd name="T103" fmla="*/ 3997 h 4621"/>
              <a:gd name="T104" fmla="*/ 36 w 4799"/>
              <a:gd name="T105" fmla="*/ 4491 h 4621"/>
              <a:gd name="T106" fmla="*/ 0 w 4799"/>
              <a:gd name="T107" fmla="*/ 3048 h 4621"/>
              <a:gd name="T108" fmla="*/ 2467 w 4799"/>
              <a:gd name="T109" fmla="*/ 2022 h 4621"/>
              <a:gd name="T110" fmla="*/ 1755 w 4799"/>
              <a:gd name="T111" fmla="*/ 3263 h 4621"/>
              <a:gd name="T112" fmla="*/ 1658 w 4799"/>
              <a:gd name="T113" fmla="*/ 3359 h 4621"/>
              <a:gd name="T114" fmla="*/ 1851 w 4799"/>
              <a:gd name="T115" fmla="*/ 3359 h 4621"/>
              <a:gd name="T116" fmla="*/ 1755 w 4799"/>
              <a:gd name="T117" fmla="*/ 3263 h 4621"/>
              <a:gd name="T118" fmla="*/ 1241 w 4799"/>
              <a:gd name="T119" fmla="*/ 3359 h 4621"/>
              <a:gd name="T120" fmla="*/ 1048 w 4799"/>
              <a:gd name="T121" fmla="*/ 3359 h 4621"/>
              <a:gd name="T122" fmla="*/ 1241 w 4799"/>
              <a:gd name="T123" fmla="*/ 3359 h 4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99" h="4621">
                <a:moveTo>
                  <a:pt x="4357" y="504"/>
                </a:moveTo>
                <a:lnTo>
                  <a:pt x="4357" y="504"/>
                </a:lnTo>
                <a:lnTo>
                  <a:pt x="3391" y="1458"/>
                </a:lnTo>
                <a:lnTo>
                  <a:pt x="3106" y="1092"/>
                </a:lnTo>
                <a:cubicBezTo>
                  <a:pt x="3083" y="1062"/>
                  <a:pt x="3040" y="1057"/>
                  <a:pt x="3010" y="1080"/>
                </a:cubicBezTo>
                <a:cubicBezTo>
                  <a:pt x="2980" y="1104"/>
                  <a:pt x="2974" y="1147"/>
                  <a:pt x="2998" y="1177"/>
                </a:cubicBezTo>
                <a:lnTo>
                  <a:pt x="3330" y="1604"/>
                </a:lnTo>
                <a:cubicBezTo>
                  <a:pt x="3342" y="1620"/>
                  <a:pt x="3360" y="1629"/>
                  <a:pt x="3380" y="1631"/>
                </a:cubicBezTo>
                <a:cubicBezTo>
                  <a:pt x="3381" y="1631"/>
                  <a:pt x="3383" y="1631"/>
                  <a:pt x="3384" y="1631"/>
                </a:cubicBezTo>
                <a:cubicBezTo>
                  <a:pt x="3402" y="1631"/>
                  <a:pt x="3420" y="1624"/>
                  <a:pt x="3433" y="1611"/>
                </a:cubicBezTo>
                <a:lnTo>
                  <a:pt x="4454" y="602"/>
                </a:lnTo>
                <a:cubicBezTo>
                  <a:pt x="4481" y="575"/>
                  <a:pt x="4481" y="531"/>
                  <a:pt x="4454" y="504"/>
                </a:cubicBezTo>
                <a:cubicBezTo>
                  <a:pt x="4427" y="477"/>
                  <a:pt x="4384" y="477"/>
                  <a:pt x="4357" y="504"/>
                </a:cubicBezTo>
                <a:lnTo>
                  <a:pt x="4357" y="504"/>
                </a:lnTo>
                <a:close/>
                <a:moveTo>
                  <a:pt x="4662" y="337"/>
                </a:moveTo>
                <a:lnTo>
                  <a:pt x="4662" y="337"/>
                </a:lnTo>
                <a:cubicBezTo>
                  <a:pt x="4662" y="227"/>
                  <a:pt x="4572" y="137"/>
                  <a:pt x="4462" y="137"/>
                </a:cubicBezTo>
                <a:lnTo>
                  <a:pt x="2694" y="137"/>
                </a:lnTo>
                <a:cubicBezTo>
                  <a:pt x="2584" y="137"/>
                  <a:pt x="2495" y="227"/>
                  <a:pt x="2495" y="337"/>
                </a:cubicBezTo>
                <a:lnTo>
                  <a:pt x="2495" y="1545"/>
                </a:lnTo>
                <a:cubicBezTo>
                  <a:pt x="2495" y="1656"/>
                  <a:pt x="2584" y="1745"/>
                  <a:pt x="2694" y="1745"/>
                </a:cubicBezTo>
                <a:lnTo>
                  <a:pt x="3020" y="1745"/>
                </a:lnTo>
                <a:cubicBezTo>
                  <a:pt x="3038" y="1745"/>
                  <a:pt x="3055" y="1752"/>
                  <a:pt x="3068" y="1765"/>
                </a:cubicBezTo>
                <a:cubicBezTo>
                  <a:pt x="3081" y="1778"/>
                  <a:pt x="3088" y="1796"/>
                  <a:pt x="3088" y="1814"/>
                </a:cubicBezTo>
                <a:lnTo>
                  <a:pt x="3088" y="2298"/>
                </a:lnTo>
                <a:lnTo>
                  <a:pt x="3622" y="1765"/>
                </a:lnTo>
                <a:cubicBezTo>
                  <a:pt x="3634" y="1752"/>
                  <a:pt x="3652" y="1745"/>
                  <a:pt x="3670" y="1745"/>
                </a:cubicBezTo>
                <a:lnTo>
                  <a:pt x="4462" y="1745"/>
                </a:lnTo>
                <a:cubicBezTo>
                  <a:pt x="4572" y="1745"/>
                  <a:pt x="4662" y="1656"/>
                  <a:pt x="4662" y="1545"/>
                </a:cubicBezTo>
                <a:lnTo>
                  <a:pt x="4662" y="337"/>
                </a:lnTo>
                <a:lnTo>
                  <a:pt x="4662" y="337"/>
                </a:lnTo>
                <a:close/>
                <a:moveTo>
                  <a:pt x="4799" y="337"/>
                </a:moveTo>
                <a:lnTo>
                  <a:pt x="4799" y="337"/>
                </a:lnTo>
                <a:lnTo>
                  <a:pt x="4799" y="1545"/>
                </a:lnTo>
                <a:cubicBezTo>
                  <a:pt x="4799" y="1731"/>
                  <a:pt x="4648" y="1883"/>
                  <a:pt x="4462" y="1883"/>
                </a:cubicBezTo>
                <a:lnTo>
                  <a:pt x="3699" y="1883"/>
                </a:lnTo>
                <a:lnTo>
                  <a:pt x="3068" y="2513"/>
                </a:lnTo>
                <a:cubicBezTo>
                  <a:pt x="3055" y="2526"/>
                  <a:pt x="3038" y="2533"/>
                  <a:pt x="3020" y="2533"/>
                </a:cubicBezTo>
                <a:cubicBezTo>
                  <a:pt x="3011" y="2533"/>
                  <a:pt x="3002" y="2531"/>
                  <a:pt x="2993" y="2528"/>
                </a:cubicBezTo>
                <a:cubicBezTo>
                  <a:pt x="2968" y="2517"/>
                  <a:pt x="2951" y="2492"/>
                  <a:pt x="2951" y="2464"/>
                </a:cubicBezTo>
                <a:lnTo>
                  <a:pt x="2951" y="1883"/>
                </a:lnTo>
                <a:lnTo>
                  <a:pt x="2694" y="1883"/>
                </a:lnTo>
                <a:cubicBezTo>
                  <a:pt x="2508" y="1883"/>
                  <a:pt x="2357" y="1731"/>
                  <a:pt x="2357" y="1545"/>
                </a:cubicBezTo>
                <a:lnTo>
                  <a:pt x="2357" y="337"/>
                </a:lnTo>
                <a:cubicBezTo>
                  <a:pt x="2357" y="151"/>
                  <a:pt x="2508" y="0"/>
                  <a:pt x="2694" y="0"/>
                </a:cubicBezTo>
                <a:lnTo>
                  <a:pt x="4462" y="0"/>
                </a:lnTo>
                <a:cubicBezTo>
                  <a:pt x="4648" y="0"/>
                  <a:pt x="4799" y="151"/>
                  <a:pt x="4799" y="337"/>
                </a:cubicBezTo>
                <a:lnTo>
                  <a:pt x="4799" y="337"/>
                </a:lnTo>
                <a:close/>
                <a:moveTo>
                  <a:pt x="2367" y="3114"/>
                </a:moveTo>
                <a:lnTo>
                  <a:pt x="2367" y="3114"/>
                </a:lnTo>
                <a:lnTo>
                  <a:pt x="2367" y="3521"/>
                </a:lnTo>
                <a:cubicBezTo>
                  <a:pt x="2479" y="3520"/>
                  <a:pt x="2569" y="3430"/>
                  <a:pt x="2569" y="3317"/>
                </a:cubicBezTo>
                <a:cubicBezTo>
                  <a:pt x="2569" y="3205"/>
                  <a:pt x="2479" y="3115"/>
                  <a:pt x="2367" y="3114"/>
                </a:cubicBezTo>
                <a:lnTo>
                  <a:pt x="2367" y="3114"/>
                </a:lnTo>
                <a:close/>
                <a:moveTo>
                  <a:pt x="2243" y="3911"/>
                </a:moveTo>
                <a:lnTo>
                  <a:pt x="2243" y="3911"/>
                </a:lnTo>
                <a:cubicBezTo>
                  <a:pt x="2243" y="3909"/>
                  <a:pt x="2242" y="3908"/>
                  <a:pt x="2242" y="3906"/>
                </a:cubicBezTo>
                <a:lnTo>
                  <a:pt x="2256" y="3023"/>
                </a:lnTo>
                <a:lnTo>
                  <a:pt x="1822" y="2561"/>
                </a:lnTo>
                <a:cubicBezTo>
                  <a:pt x="1747" y="2616"/>
                  <a:pt x="1582" y="2725"/>
                  <a:pt x="1320" y="2823"/>
                </a:cubicBezTo>
                <a:cubicBezTo>
                  <a:pt x="1031" y="2931"/>
                  <a:pt x="796" y="2935"/>
                  <a:pt x="685" y="2928"/>
                </a:cubicBezTo>
                <a:lnTo>
                  <a:pt x="682" y="3887"/>
                </a:lnTo>
                <a:cubicBezTo>
                  <a:pt x="681" y="3896"/>
                  <a:pt x="680" y="3903"/>
                  <a:pt x="677" y="3911"/>
                </a:cubicBezTo>
                <a:cubicBezTo>
                  <a:pt x="760" y="4259"/>
                  <a:pt x="1073" y="4519"/>
                  <a:pt x="1446" y="4519"/>
                </a:cubicBezTo>
                <a:lnTo>
                  <a:pt x="1478" y="4519"/>
                </a:lnTo>
                <a:cubicBezTo>
                  <a:pt x="1850" y="4519"/>
                  <a:pt x="2161" y="4259"/>
                  <a:pt x="2243" y="3911"/>
                </a:cubicBezTo>
                <a:lnTo>
                  <a:pt x="2243" y="3911"/>
                </a:lnTo>
                <a:close/>
                <a:moveTo>
                  <a:pt x="553" y="3520"/>
                </a:moveTo>
                <a:lnTo>
                  <a:pt x="553" y="3520"/>
                </a:lnTo>
                <a:lnTo>
                  <a:pt x="553" y="3163"/>
                </a:lnTo>
                <a:cubicBezTo>
                  <a:pt x="553" y="3148"/>
                  <a:pt x="560" y="3134"/>
                  <a:pt x="571" y="3125"/>
                </a:cubicBezTo>
                <a:lnTo>
                  <a:pt x="571" y="3114"/>
                </a:lnTo>
                <a:cubicBezTo>
                  <a:pt x="459" y="3114"/>
                  <a:pt x="367" y="3205"/>
                  <a:pt x="367" y="3317"/>
                </a:cubicBezTo>
                <a:cubicBezTo>
                  <a:pt x="367" y="3424"/>
                  <a:pt x="449" y="3510"/>
                  <a:pt x="553" y="3520"/>
                </a:cubicBezTo>
                <a:lnTo>
                  <a:pt x="553" y="3520"/>
                </a:lnTo>
                <a:close/>
                <a:moveTo>
                  <a:pt x="551" y="2772"/>
                </a:moveTo>
                <a:lnTo>
                  <a:pt x="551" y="2772"/>
                </a:lnTo>
                <a:cubicBezTo>
                  <a:pt x="551" y="2800"/>
                  <a:pt x="573" y="2824"/>
                  <a:pt x="601" y="2826"/>
                </a:cubicBezTo>
                <a:cubicBezTo>
                  <a:pt x="603" y="2826"/>
                  <a:pt x="604" y="2826"/>
                  <a:pt x="605" y="2826"/>
                </a:cubicBezTo>
                <a:cubicBezTo>
                  <a:pt x="632" y="2826"/>
                  <a:pt x="655" y="2806"/>
                  <a:pt x="659" y="2779"/>
                </a:cubicBezTo>
                <a:cubicBezTo>
                  <a:pt x="680" y="2626"/>
                  <a:pt x="770" y="2483"/>
                  <a:pt x="912" y="2378"/>
                </a:cubicBezTo>
                <a:cubicBezTo>
                  <a:pt x="1058" y="2270"/>
                  <a:pt x="1246" y="2210"/>
                  <a:pt x="1442" y="2210"/>
                </a:cubicBezTo>
                <a:lnTo>
                  <a:pt x="1473" y="2210"/>
                </a:lnTo>
                <a:cubicBezTo>
                  <a:pt x="1874" y="2210"/>
                  <a:pt x="2211" y="2455"/>
                  <a:pt x="2257" y="2778"/>
                </a:cubicBezTo>
                <a:cubicBezTo>
                  <a:pt x="2261" y="2808"/>
                  <a:pt x="2289" y="2829"/>
                  <a:pt x="2318" y="2824"/>
                </a:cubicBezTo>
                <a:cubicBezTo>
                  <a:pt x="2346" y="2820"/>
                  <a:pt x="2366" y="2796"/>
                  <a:pt x="2365" y="2769"/>
                </a:cubicBezTo>
                <a:cubicBezTo>
                  <a:pt x="2365" y="2766"/>
                  <a:pt x="2365" y="2763"/>
                  <a:pt x="2364" y="2760"/>
                </a:cubicBezTo>
                <a:cubicBezTo>
                  <a:pt x="2311" y="2309"/>
                  <a:pt x="1928" y="1968"/>
                  <a:pt x="1473" y="1968"/>
                </a:cubicBezTo>
                <a:lnTo>
                  <a:pt x="1442" y="1968"/>
                </a:lnTo>
                <a:cubicBezTo>
                  <a:pt x="986" y="1968"/>
                  <a:pt x="604" y="2309"/>
                  <a:pt x="551" y="2761"/>
                </a:cubicBezTo>
                <a:cubicBezTo>
                  <a:pt x="551" y="2764"/>
                  <a:pt x="551" y="2766"/>
                  <a:pt x="551" y="2768"/>
                </a:cubicBezTo>
                <a:lnTo>
                  <a:pt x="551" y="2772"/>
                </a:lnTo>
                <a:lnTo>
                  <a:pt x="551" y="2772"/>
                </a:lnTo>
                <a:close/>
                <a:moveTo>
                  <a:pt x="2467" y="2022"/>
                </a:moveTo>
                <a:lnTo>
                  <a:pt x="2467" y="2022"/>
                </a:lnTo>
                <a:cubicBezTo>
                  <a:pt x="2740" y="2294"/>
                  <a:pt x="2891" y="2656"/>
                  <a:pt x="2893" y="3040"/>
                </a:cubicBezTo>
                <a:lnTo>
                  <a:pt x="2893" y="4443"/>
                </a:lnTo>
                <a:cubicBezTo>
                  <a:pt x="2893" y="4467"/>
                  <a:pt x="2878" y="4489"/>
                  <a:pt x="2856" y="4498"/>
                </a:cubicBezTo>
                <a:cubicBezTo>
                  <a:pt x="2849" y="4501"/>
                  <a:pt x="2841" y="4503"/>
                  <a:pt x="2833" y="4503"/>
                </a:cubicBezTo>
                <a:cubicBezTo>
                  <a:pt x="2818" y="4503"/>
                  <a:pt x="2803" y="4497"/>
                  <a:pt x="2791" y="4485"/>
                </a:cubicBezTo>
                <a:lnTo>
                  <a:pt x="2321" y="4010"/>
                </a:lnTo>
                <a:cubicBezTo>
                  <a:pt x="2203" y="4364"/>
                  <a:pt x="1870" y="4621"/>
                  <a:pt x="1478" y="4621"/>
                </a:cubicBezTo>
                <a:lnTo>
                  <a:pt x="1446" y="4621"/>
                </a:lnTo>
                <a:cubicBezTo>
                  <a:pt x="1048" y="4621"/>
                  <a:pt x="710" y="4358"/>
                  <a:pt x="595" y="3997"/>
                </a:cubicBezTo>
                <a:lnTo>
                  <a:pt x="101" y="4479"/>
                </a:lnTo>
                <a:cubicBezTo>
                  <a:pt x="83" y="4496"/>
                  <a:pt x="58" y="4500"/>
                  <a:pt x="36" y="4491"/>
                </a:cubicBezTo>
                <a:cubicBezTo>
                  <a:pt x="14" y="4482"/>
                  <a:pt x="0" y="4460"/>
                  <a:pt x="0" y="4436"/>
                </a:cubicBezTo>
                <a:lnTo>
                  <a:pt x="0" y="3048"/>
                </a:lnTo>
                <a:cubicBezTo>
                  <a:pt x="0" y="2250"/>
                  <a:pt x="648" y="1601"/>
                  <a:pt x="1446" y="1601"/>
                </a:cubicBezTo>
                <a:cubicBezTo>
                  <a:pt x="1831" y="1601"/>
                  <a:pt x="2194" y="1751"/>
                  <a:pt x="2467" y="2022"/>
                </a:cubicBezTo>
                <a:lnTo>
                  <a:pt x="2467" y="2022"/>
                </a:lnTo>
                <a:close/>
                <a:moveTo>
                  <a:pt x="1755" y="3263"/>
                </a:moveTo>
                <a:lnTo>
                  <a:pt x="1755" y="3263"/>
                </a:lnTo>
                <a:cubicBezTo>
                  <a:pt x="1701" y="3263"/>
                  <a:pt x="1658" y="3306"/>
                  <a:pt x="1658" y="3359"/>
                </a:cubicBezTo>
                <a:cubicBezTo>
                  <a:pt x="1658" y="3412"/>
                  <a:pt x="1701" y="3456"/>
                  <a:pt x="1755" y="3456"/>
                </a:cubicBezTo>
                <a:cubicBezTo>
                  <a:pt x="1808" y="3456"/>
                  <a:pt x="1851" y="3412"/>
                  <a:pt x="1851" y="3359"/>
                </a:cubicBezTo>
                <a:cubicBezTo>
                  <a:pt x="1851" y="3306"/>
                  <a:pt x="1808" y="3263"/>
                  <a:pt x="1755" y="3263"/>
                </a:cubicBezTo>
                <a:lnTo>
                  <a:pt x="1755" y="3263"/>
                </a:lnTo>
                <a:close/>
                <a:moveTo>
                  <a:pt x="1241" y="3359"/>
                </a:moveTo>
                <a:lnTo>
                  <a:pt x="1241" y="3359"/>
                </a:lnTo>
                <a:cubicBezTo>
                  <a:pt x="1241" y="3412"/>
                  <a:pt x="1198" y="3456"/>
                  <a:pt x="1145" y="3456"/>
                </a:cubicBezTo>
                <a:cubicBezTo>
                  <a:pt x="1091" y="3456"/>
                  <a:pt x="1048" y="3412"/>
                  <a:pt x="1048" y="3359"/>
                </a:cubicBezTo>
                <a:cubicBezTo>
                  <a:pt x="1048" y="3306"/>
                  <a:pt x="1091" y="3263"/>
                  <a:pt x="1145" y="3263"/>
                </a:cubicBezTo>
                <a:cubicBezTo>
                  <a:pt x="1198" y="3263"/>
                  <a:pt x="1241" y="3306"/>
                  <a:pt x="1241" y="3359"/>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latin typeface="Calibri" panose="020F0502020204030204"/>
            </a:endParaRPr>
          </a:p>
        </p:txBody>
      </p:sp>
      <p:sp>
        <p:nvSpPr>
          <p:cNvPr id="17" name="Freeform 16">
            <a:extLst>
              <a:ext uri="{FF2B5EF4-FFF2-40B4-BE49-F238E27FC236}">
                <a16:creationId xmlns:a16="http://schemas.microsoft.com/office/drawing/2014/main" id="{0A0F70CE-5EB0-4442-B16D-2E73161C6B6D}"/>
              </a:ext>
            </a:extLst>
          </p:cNvPr>
          <p:cNvSpPr>
            <a:spLocks noChangeAspect="1" noEditPoints="1"/>
          </p:cNvSpPr>
          <p:nvPr/>
        </p:nvSpPr>
        <p:spPr bwMode="auto">
          <a:xfrm>
            <a:off x="5932186" y="2044968"/>
            <a:ext cx="642515" cy="693050"/>
          </a:xfrm>
          <a:custGeom>
            <a:avLst/>
            <a:gdLst>
              <a:gd name="T0" fmla="*/ 1586 w 5340"/>
              <a:gd name="T1" fmla="*/ 4746 h 5760"/>
              <a:gd name="T2" fmla="*/ 1930 w 5340"/>
              <a:gd name="T3" fmla="*/ 5500 h 5760"/>
              <a:gd name="T4" fmla="*/ 3435 w 5340"/>
              <a:gd name="T5" fmla="*/ 5558 h 5760"/>
              <a:gd name="T6" fmla="*/ 4063 w 5340"/>
              <a:gd name="T7" fmla="*/ 5023 h 5760"/>
              <a:gd name="T8" fmla="*/ 3782 w 5340"/>
              <a:gd name="T9" fmla="*/ 4029 h 5760"/>
              <a:gd name="T10" fmla="*/ 2725 w 5340"/>
              <a:gd name="T11" fmla="*/ 4329 h 5760"/>
              <a:gd name="T12" fmla="*/ 4622 w 5340"/>
              <a:gd name="T13" fmla="*/ 2201 h 5760"/>
              <a:gd name="T14" fmla="*/ 3795 w 5340"/>
              <a:gd name="T15" fmla="*/ 2501 h 5760"/>
              <a:gd name="T16" fmla="*/ 3775 w 5340"/>
              <a:gd name="T17" fmla="*/ 3533 h 5760"/>
              <a:gd name="T18" fmla="*/ 5075 w 5340"/>
              <a:gd name="T19" fmla="*/ 3377 h 5760"/>
              <a:gd name="T20" fmla="*/ 5122 w 5340"/>
              <a:gd name="T21" fmla="*/ 2426 h 5760"/>
              <a:gd name="T22" fmla="*/ 2364 w 5340"/>
              <a:gd name="T23" fmla="*/ 2021 h 5760"/>
              <a:gd name="T24" fmla="*/ 1977 w 5340"/>
              <a:gd name="T25" fmla="*/ 3049 h 5760"/>
              <a:gd name="T26" fmla="*/ 2900 w 5340"/>
              <a:gd name="T27" fmla="*/ 3641 h 5760"/>
              <a:gd name="T28" fmla="*/ 3671 w 5340"/>
              <a:gd name="T29" fmla="*/ 2868 h 5760"/>
              <a:gd name="T30" fmla="*/ 3313 w 5340"/>
              <a:gd name="T31" fmla="*/ 2067 h 5760"/>
              <a:gd name="T32" fmla="*/ 1542 w 5340"/>
              <a:gd name="T33" fmla="*/ 1974 h 5760"/>
              <a:gd name="T34" fmla="*/ 1790 w 5340"/>
              <a:gd name="T35" fmla="*/ 2608 h 5760"/>
              <a:gd name="T36" fmla="*/ 1928 w 5340"/>
              <a:gd name="T37" fmla="*/ 1814 h 5760"/>
              <a:gd name="T38" fmla="*/ 890 w 5340"/>
              <a:gd name="T39" fmla="*/ 1601 h 5760"/>
              <a:gd name="T40" fmla="*/ 949 w 5340"/>
              <a:gd name="T41" fmla="*/ 2910 h 5760"/>
              <a:gd name="T42" fmla="*/ 1876 w 5340"/>
              <a:gd name="T43" fmla="*/ 3213 h 5760"/>
              <a:gd name="T44" fmla="*/ 1460 w 5340"/>
              <a:gd name="T45" fmla="*/ 2595 h 5760"/>
              <a:gd name="T46" fmla="*/ 1527 w 5340"/>
              <a:gd name="T47" fmla="*/ 1770 h 5760"/>
              <a:gd name="T48" fmla="*/ 2401 w 5340"/>
              <a:gd name="T49" fmla="*/ 1827 h 5760"/>
              <a:gd name="T50" fmla="*/ 2458 w 5340"/>
              <a:gd name="T51" fmla="*/ 1222 h 5760"/>
              <a:gd name="T52" fmla="*/ 2493 w 5340"/>
              <a:gd name="T53" fmla="*/ 1063 h 5760"/>
              <a:gd name="T54" fmla="*/ 3273 w 5340"/>
              <a:gd name="T55" fmla="*/ 1859 h 5760"/>
              <a:gd name="T56" fmla="*/ 4360 w 5340"/>
              <a:gd name="T57" fmla="*/ 2171 h 5760"/>
              <a:gd name="T58" fmla="*/ 4976 w 5340"/>
              <a:gd name="T59" fmla="*/ 1944 h 5760"/>
              <a:gd name="T60" fmla="*/ 5337 w 5340"/>
              <a:gd name="T61" fmla="*/ 2854 h 5760"/>
              <a:gd name="T62" fmla="*/ 5199 w 5340"/>
              <a:gd name="T63" fmla="*/ 3494 h 5760"/>
              <a:gd name="T64" fmla="*/ 4044 w 5340"/>
              <a:gd name="T65" fmla="*/ 3699 h 5760"/>
              <a:gd name="T66" fmla="*/ 2605 w 5340"/>
              <a:gd name="T67" fmla="*/ 3782 h 5760"/>
              <a:gd name="T68" fmla="*/ 1307 w 5340"/>
              <a:gd name="T69" fmla="*/ 3395 h 5760"/>
              <a:gd name="T70" fmla="*/ 560 w 5340"/>
              <a:gd name="T71" fmla="*/ 2211 h 5760"/>
              <a:gd name="T72" fmla="*/ 1307 w 5340"/>
              <a:gd name="T73" fmla="*/ 1030 h 5760"/>
              <a:gd name="T74" fmla="*/ 3472 w 5340"/>
              <a:gd name="T75" fmla="*/ 389 h 5760"/>
              <a:gd name="T76" fmla="*/ 3414 w 5340"/>
              <a:gd name="T77" fmla="*/ 1447 h 5760"/>
              <a:gd name="T78" fmla="*/ 4459 w 5340"/>
              <a:gd name="T79" fmla="*/ 1622 h 5760"/>
              <a:gd name="T80" fmla="*/ 4747 w 5340"/>
              <a:gd name="T81" fmla="*/ 600 h 5760"/>
              <a:gd name="T82" fmla="*/ 4226 w 5340"/>
              <a:gd name="T83" fmla="*/ 19 h 5760"/>
              <a:gd name="T84" fmla="*/ 4979 w 5340"/>
              <a:gd name="T85" fmla="*/ 854 h 5760"/>
              <a:gd name="T86" fmla="*/ 4403 w 5340"/>
              <a:gd name="T87" fmla="*/ 1826 h 5760"/>
              <a:gd name="T88" fmla="*/ 3287 w 5340"/>
              <a:gd name="T89" fmla="*/ 1536 h 5760"/>
              <a:gd name="T90" fmla="*/ 2682 w 5340"/>
              <a:gd name="T91" fmla="*/ 705 h 5760"/>
              <a:gd name="T92" fmla="*/ 1115 w 5340"/>
              <a:gd name="T93" fmla="*/ 674 h 5760"/>
              <a:gd name="T94" fmla="*/ 176 w 5340"/>
              <a:gd name="T95" fmla="*/ 1948 h 5760"/>
              <a:gd name="T96" fmla="*/ 674 w 5340"/>
              <a:gd name="T97" fmla="*/ 3440 h 5760"/>
              <a:gd name="T98" fmla="*/ 1799 w 5340"/>
              <a:gd name="T99" fmla="*/ 3878 h 5760"/>
              <a:gd name="T100" fmla="*/ 2402 w 5340"/>
              <a:gd name="T101" fmla="*/ 4074 h 5760"/>
              <a:gd name="T102" fmla="*/ 3449 w 5340"/>
              <a:gd name="T103" fmla="*/ 3920 h 5760"/>
              <a:gd name="T104" fmla="*/ 3988 w 5340"/>
              <a:gd name="T105" fmla="*/ 4025 h 5760"/>
              <a:gd name="T106" fmla="*/ 4219 w 5340"/>
              <a:gd name="T107" fmla="*/ 5044 h 5760"/>
              <a:gd name="T108" fmla="*/ 3990 w 5340"/>
              <a:gd name="T109" fmla="*/ 5573 h 5760"/>
              <a:gd name="T110" fmla="*/ 2673 w 5340"/>
              <a:gd name="T111" fmla="*/ 5758 h 5760"/>
              <a:gd name="T112" fmla="*/ 1558 w 5340"/>
              <a:gd name="T113" fmla="*/ 5535 h 5760"/>
              <a:gd name="T114" fmla="*/ 1429 w 5340"/>
              <a:gd name="T115" fmla="*/ 4798 h 5760"/>
              <a:gd name="T116" fmla="*/ 981 w 5340"/>
              <a:gd name="T117" fmla="*/ 3856 h 5760"/>
              <a:gd name="T118" fmla="*/ 21 w 5340"/>
              <a:gd name="T119" fmla="*/ 2489 h 5760"/>
              <a:gd name="T120" fmla="*/ 548 w 5340"/>
              <a:gd name="T121" fmla="*/ 892 h 5760"/>
              <a:gd name="T122" fmla="*/ 2137 w 5340"/>
              <a:gd name="T123" fmla="*/ 363 h 5760"/>
              <a:gd name="T124" fmla="*/ 3283 w 5340"/>
              <a:gd name="T125" fmla="*/ 370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40" h="5760">
                <a:moveTo>
                  <a:pt x="1994" y="3931"/>
                </a:moveTo>
                <a:lnTo>
                  <a:pt x="1923" y="3978"/>
                </a:lnTo>
                <a:lnTo>
                  <a:pt x="1862" y="4029"/>
                </a:lnTo>
                <a:lnTo>
                  <a:pt x="1808" y="4083"/>
                </a:lnTo>
                <a:lnTo>
                  <a:pt x="1760" y="4142"/>
                </a:lnTo>
                <a:lnTo>
                  <a:pt x="1720" y="4205"/>
                </a:lnTo>
                <a:lnTo>
                  <a:pt x="1687" y="4271"/>
                </a:lnTo>
                <a:lnTo>
                  <a:pt x="1659" y="4343"/>
                </a:lnTo>
                <a:lnTo>
                  <a:pt x="1637" y="4416"/>
                </a:lnTo>
                <a:lnTo>
                  <a:pt x="1617" y="4495"/>
                </a:lnTo>
                <a:lnTo>
                  <a:pt x="1603" y="4575"/>
                </a:lnTo>
                <a:lnTo>
                  <a:pt x="1593" y="4659"/>
                </a:lnTo>
                <a:lnTo>
                  <a:pt x="1586" y="4746"/>
                </a:lnTo>
                <a:lnTo>
                  <a:pt x="1583" y="4835"/>
                </a:lnTo>
                <a:lnTo>
                  <a:pt x="1579" y="4929"/>
                </a:lnTo>
                <a:lnTo>
                  <a:pt x="1579" y="5023"/>
                </a:lnTo>
                <a:lnTo>
                  <a:pt x="1579" y="5123"/>
                </a:lnTo>
                <a:lnTo>
                  <a:pt x="1581" y="5222"/>
                </a:lnTo>
                <a:lnTo>
                  <a:pt x="1581" y="5373"/>
                </a:lnTo>
                <a:lnTo>
                  <a:pt x="1607" y="5385"/>
                </a:lnTo>
                <a:lnTo>
                  <a:pt x="1642" y="5400"/>
                </a:lnTo>
                <a:lnTo>
                  <a:pt x="1684" y="5420"/>
                </a:lnTo>
                <a:lnTo>
                  <a:pt x="1733" y="5439"/>
                </a:lnTo>
                <a:lnTo>
                  <a:pt x="1790" y="5458"/>
                </a:lnTo>
                <a:lnTo>
                  <a:pt x="1856" y="5479"/>
                </a:lnTo>
                <a:lnTo>
                  <a:pt x="1930" y="5500"/>
                </a:lnTo>
                <a:lnTo>
                  <a:pt x="2010" y="5521"/>
                </a:lnTo>
                <a:lnTo>
                  <a:pt x="2101" y="5540"/>
                </a:lnTo>
                <a:lnTo>
                  <a:pt x="2198" y="5558"/>
                </a:lnTo>
                <a:lnTo>
                  <a:pt x="2305" y="5573"/>
                </a:lnTo>
                <a:lnTo>
                  <a:pt x="2418" y="5585"/>
                </a:lnTo>
                <a:lnTo>
                  <a:pt x="2542" y="5596"/>
                </a:lnTo>
                <a:lnTo>
                  <a:pt x="2675" y="5603"/>
                </a:lnTo>
                <a:lnTo>
                  <a:pt x="2814" y="5605"/>
                </a:lnTo>
                <a:lnTo>
                  <a:pt x="2955" y="5603"/>
                </a:lnTo>
                <a:lnTo>
                  <a:pt x="3088" y="5596"/>
                </a:lnTo>
                <a:lnTo>
                  <a:pt x="3212" y="5585"/>
                </a:lnTo>
                <a:lnTo>
                  <a:pt x="3327" y="5573"/>
                </a:lnTo>
                <a:lnTo>
                  <a:pt x="3435" y="5558"/>
                </a:lnTo>
                <a:lnTo>
                  <a:pt x="3533" y="5540"/>
                </a:lnTo>
                <a:lnTo>
                  <a:pt x="3624" y="5521"/>
                </a:lnTo>
                <a:lnTo>
                  <a:pt x="3707" y="5500"/>
                </a:lnTo>
                <a:lnTo>
                  <a:pt x="3781" y="5479"/>
                </a:lnTo>
                <a:lnTo>
                  <a:pt x="3847" y="5458"/>
                </a:lnTo>
                <a:lnTo>
                  <a:pt x="3906" y="5437"/>
                </a:lnTo>
                <a:lnTo>
                  <a:pt x="3957" y="5418"/>
                </a:lnTo>
                <a:lnTo>
                  <a:pt x="3999" y="5400"/>
                </a:lnTo>
                <a:lnTo>
                  <a:pt x="4034" y="5385"/>
                </a:lnTo>
                <a:lnTo>
                  <a:pt x="4062" y="5371"/>
                </a:lnTo>
                <a:lnTo>
                  <a:pt x="4063" y="5222"/>
                </a:lnTo>
                <a:lnTo>
                  <a:pt x="4063" y="5123"/>
                </a:lnTo>
                <a:lnTo>
                  <a:pt x="4063" y="5023"/>
                </a:lnTo>
                <a:lnTo>
                  <a:pt x="4063" y="4927"/>
                </a:lnTo>
                <a:lnTo>
                  <a:pt x="4062" y="4835"/>
                </a:lnTo>
                <a:lnTo>
                  <a:pt x="4056" y="4746"/>
                </a:lnTo>
                <a:lnTo>
                  <a:pt x="4049" y="4659"/>
                </a:lnTo>
                <a:lnTo>
                  <a:pt x="4039" y="4575"/>
                </a:lnTo>
                <a:lnTo>
                  <a:pt x="4025" y="4495"/>
                </a:lnTo>
                <a:lnTo>
                  <a:pt x="4007" y="4416"/>
                </a:lnTo>
                <a:lnTo>
                  <a:pt x="3985" y="4343"/>
                </a:lnTo>
                <a:lnTo>
                  <a:pt x="3957" y="4273"/>
                </a:lnTo>
                <a:lnTo>
                  <a:pt x="3922" y="4205"/>
                </a:lnTo>
                <a:lnTo>
                  <a:pt x="3882" y="4142"/>
                </a:lnTo>
                <a:lnTo>
                  <a:pt x="3836" y="4083"/>
                </a:lnTo>
                <a:lnTo>
                  <a:pt x="3782" y="4029"/>
                </a:lnTo>
                <a:lnTo>
                  <a:pt x="3720" y="3978"/>
                </a:lnTo>
                <a:lnTo>
                  <a:pt x="3650" y="3931"/>
                </a:lnTo>
                <a:lnTo>
                  <a:pt x="3587" y="4004"/>
                </a:lnTo>
                <a:lnTo>
                  <a:pt x="3517" y="4070"/>
                </a:lnTo>
                <a:lnTo>
                  <a:pt x="3444" y="4130"/>
                </a:lnTo>
                <a:lnTo>
                  <a:pt x="3365" y="4182"/>
                </a:lnTo>
                <a:lnTo>
                  <a:pt x="3282" y="4226"/>
                </a:lnTo>
                <a:lnTo>
                  <a:pt x="3196" y="4264"/>
                </a:lnTo>
                <a:lnTo>
                  <a:pt x="3106" y="4294"/>
                </a:lnTo>
                <a:lnTo>
                  <a:pt x="3013" y="4315"/>
                </a:lnTo>
                <a:lnTo>
                  <a:pt x="2917" y="4329"/>
                </a:lnTo>
                <a:lnTo>
                  <a:pt x="2821" y="4332"/>
                </a:lnTo>
                <a:lnTo>
                  <a:pt x="2725" y="4329"/>
                </a:lnTo>
                <a:lnTo>
                  <a:pt x="2629" y="4315"/>
                </a:lnTo>
                <a:lnTo>
                  <a:pt x="2537" y="4294"/>
                </a:lnTo>
                <a:lnTo>
                  <a:pt x="2448" y="4264"/>
                </a:lnTo>
                <a:lnTo>
                  <a:pt x="2361" y="4226"/>
                </a:lnTo>
                <a:lnTo>
                  <a:pt x="2277" y="4182"/>
                </a:lnTo>
                <a:lnTo>
                  <a:pt x="2198" y="4130"/>
                </a:lnTo>
                <a:lnTo>
                  <a:pt x="2125" y="4069"/>
                </a:lnTo>
                <a:lnTo>
                  <a:pt x="2057" y="4004"/>
                </a:lnTo>
                <a:lnTo>
                  <a:pt x="1994" y="3931"/>
                </a:lnTo>
                <a:close/>
                <a:moveTo>
                  <a:pt x="4812" y="2021"/>
                </a:moveTo>
                <a:lnTo>
                  <a:pt x="4754" y="2088"/>
                </a:lnTo>
                <a:lnTo>
                  <a:pt x="4690" y="2147"/>
                </a:lnTo>
                <a:lnTo>
                  <a:pt x="4622" y="2201"/>
                </a:lnTo>
                <a:lnTo>
                  <a:pt x="4550" y="2250"/>
                </a:lnTo>
                <a:lnTo>
                  <a:pt x="4473" y="2290"/>
                </a:lnTo>
                <a:lnTo>
                  <a:pt x="4393" y="2325"/>
                </a:lnTo>
                <a:lnTo>
                  <a:pt x="4311" y="2351"/>
                </a:lnTo>
                <a:lnTo>
                  <a:pt x="4226" y="2372"/>
                </a:lnTo>
                <a:lnTo>
                  <a:pt x="4138" y="2384"/>
                </a:lnTo>
                <a:lnTo>
                  <a:pt x="4049" y="2388"/>
                </a:lnTo>
                <a:lnTo>
                  <a:pt x="3969" y="2384"/>
                </a:lnTo>
                <a:lnTo>
                  <a:pt x="3889" y="2374"/>
                </a:lnTo>
                <a:lnTo>
                  <a:pt x="3809" y="2356"/>
                </a:lnTo>
                <a:lnTo>
                  <a:pt x="3732" y="2334"/>
                </a:lnTo>
                <a:lnTo>
                  <a:pt x="3767" y="2416"/>
                </a:lnTo>
                <a:lnTo>
                  <a:pt x="3795" y="2501"/>
                </a:lnTo>
                <a:lnTo>
                  <a:pt x="3816" y="2589"/>
                </a:lnTo>
                <a:lnTo>
                  <a:pt x="3828" y="2681"/>
                </a:lnTo>
                <a:lnTo>
                  <a:pt x="3831" y="2774"/>
                </a:lnTo>
                <a:lnTo>
                  <a:pt x="3826" y="2878"/>
                </a:lnTo>
                <a:lnTo>
                  <a:pt x="3810" y="2983"/>
                </a:lnTo>
                <a:lnTo>
                  <a:pt x="3784" y="3082"/>
                </a:lnTo>
                <a:lnTo>
                  <a:pt x="3749" y="3177"/>
                </a:lnTo>
                <a:lnTo>
                  <a:pt x="3706" y="3267"/>
                </a:lnTo>
                <a:lnTo>
                  <a:pt x="3652" y="3353"/>
                </a:lnTo>
                <a:lnTo>
                  <a:pt x="3592" y="3433"/>
                </a:lnTo>
                <a:lnTo>
                  <a:pt x="3524" y="3507"/>
                </a:lnTo>
                <a:lnTo>
                  <a:pt x="3648" y="3522"/>
                </a:lnTo>
                <a:lnTo>
                  <a:pt x="3775" y="3533"/>
                </a:lnTo>
                <a:lnTo>
                  <a:pt x="3908" y="3540"/>
                </a:lnTo>
                <a:lnTo>
                  <a:pt x="4044" y="3542"/>
                </a:lnTo>
                <a:lnTo>
                  <a:pt x="4180" y="3540"/>
                </a:lnTo>
                <a:lnTo>
                  <a:pt x="4307" y="3533"/>
                </a:lnTo>
                <a:lnTo>
                  <a:pt x="4428" y="3524"/>
                </a:lnTo>
                <a:lnTo>
                  <a:pt x="4538" y="3510"/>
                </a:lnTo>
                <a:lnTo>
                  <a:pt x="4639" y="3494"/>
                </a:lnTo>
                <a:lnTo>
                  <a:pt x="4733" y="3477"/>
                </a:lnTo>
                <a:lnTo>
                  <a:pt x="4819" y="3458"/>
                </a:lnTo>
                <a:lnTo>
                  <a:pt x="4895" y="3437"/>
                </a:lnTo>
                <a:lnTo>
                  <a:pt x="4963" y="3418"/>
                </a:lnTo>
                <a:lnTo>
                  <a:pt x="5023" y="3397"/>
                </a:lnTo>
                <a:lnTo>
                  <a:pt x="5075" y="3377"/>
                </a:lnTo>
                <a:lnTo>
                  <a:pt x="5119" y="3360"/>
                </a:lnTo>
                <a:lnTo>
                  <a:pt x="5154" y="3344"/>
                </a:lnTo>
                <a:lnTo>
                  <a:pt x="5182" y="3330"/>
                </a:lnTo>
                <a:lnTo>
                  <a:pt x="5183" y="3198"/>
                </a:lnTo>
                <a:lnTo>
                  <a:pt x="5183" y="3102"/>
                </a:lnTo>
                <a:lnTo>
                  <a:pt x="5183" y="3006"/>
                </a:lnTo>
                <a:lnTo>
                  <a:pt x="5183" y="2913"/>
                </a:lnTo>
                <a:lnTo>
                  <a:pt x="5180" y="2824"/>
                </a:lnTo>
                <a:lnTo>
                  <a:pt x="5176" y="2739"/>
                </a:lnTo>
                <a:lnTo>
                  <a:pt x="5168" y="2655"/>
                </a:lnTo>
                <a:lnTo>
                  <a:pt x="5157" y="2575"/>
                </a:lnTo>
                <a:lnTo>
                  <a:pt x="5141" y="2498"/>
                </a:lnTo>
                <a:lnTo>
                  <a:pt x="5122" y="2426"/>
                </a:lnTo>
                <a:lnTo>
                  <a:pt x="5098" y="2356"/>
                </a:lnTo>
                <a:lnTo>
                  <a:pt x="5066" y="2290"/>
                </a:lnTo>
                <a:lnTo>
                  <a:pt x="5031" y="2227"/>
                </a:lnTo>
                <a:lnTo>
                  <a:pt x="4988" y="2170"/>
                </a:lnTo>
                <a:lnTo>
                  <a:pt x="4937" y="2115"/>
                </a:lnTo>
                <a:lnTo>
                  <a:pt x="4878" y="2067"/>
                </a:lnTo>
                <a:lnTo>
                  <a:pt x="4812" y="2021"/>
                </a:lnTo>
                <a:close/>
                <a:moveTo>
                  <a:pt x="2804" y="1901"/>
                </a:moveTo>
                <a:lnTo>
                  <a:pt x="2710" y="1906"/>
                </a:lnTo>
                <a:lnTo>
                  <a:pt x="2617" y="1922"/>
                </a:lnTo>
                <a:lnTo>
                  <a:pt x="2528" y="1946"/>
                </a:lnTo>
                <a:lnTo>
                  <a:pt x="2444" y="1979"/>
                </a:lnTo>
                <a:lnTo>
                  <a:pt x="2364" y="2021"/>
                </a:lnTo>
                <a:lnTo>
                  <a:pt x="2289" y="2070"/>
                </a:lnTo>
                <a:lnTo>
                  <a:pt x="2219" y="2126"/>
                </a:lnTo>
                <a:lnTo>
                  <a:pt x="2156" y="2189"/>
                </a:lnTo>
                <a:lnTo>
                  <a:pt x="2101" y="2259"/>
                </a:lnTo>
                <a:lnTo>
                  <a:pt x="2052" y="2334"/>
                </a:lnTo>
                <a:lnTo>
                  <a:pt x="2010" y="2414"/>
                </a:lnTo>
                <a:lnTo>
                  <a:pt x="1977" y="2498"/>
                </a:lnTo>
                <a:lnTo>
                  <a:pt x="1952" y="2587"/>
                </a:lnTo>
                <a:lnTo>
                  <a:pt x="1937" y="2679"/>
                </a:lnTo>
                <a:lnTo>
                  <a:pt x="1931" y="2774"/>
                </a:lnTo>
                <a:lnTo>
                  <a:pt x="1937" y="2868"/>
                </a:lnTo>
                <a:lnTo>
                  <a:pt x="1952" y="2960"/>
                </a:lnTo>
                <a:lnTo>
                  <a:pt x="1977" y="3049"/>
                </a:lnTo>
                <a:lnTo>
                  <a:pt x="2010" y="3133"/>
                </a:lnTo>
                <a:lnTo>
                  <a:pt x="2052" y="3213"/>
                </a:lnTo>
                <a:lnTo>
                  <a:pt x="2101" y="3288"/>
                </a:lnTo>
                <a:lnTo>
                  <a:pt x="2156" y="3358"/>
                </a:lnTo>
                <a:lnTo>
                  <a:pt x="2219" y="3421"/>
                </a:lnTo>
                <a:lnTo>
                  <a:pt x="2289" y="3477"/>
                </a:lnTo>
                <a:lnTo>
                  <a:pt x="2364" y="3528"/>
                </a:lnTo>
                <a:lnTo>
                  <a:pt x="2444" y="3569"/>
                </a:lnTo>
                <a:lnTo>
                  <a:pt x="2528" y="3603"/>
                </a:lnTo>
                <a:lnTo>
                  <a:pt x="2617" y="3627"/>
                </a:lnTo>
                <a:lnTo>
                  <a:pt x="2710" y="3641"/>
                </a:lnTo>
                <a:lnTo>
                  <a:pt x="2804" y="3646"/>
                </a:lnTo>
                <a:lnTo>
                  <a:pt x="2900" y="3641"/>
                </a:lnTo>
                <a:lnTo>
                  <a:pt x="2990" y="3627"/>
                </a:lnTo>
                <a:lnTo>
                  <a:pt x="3079" y="3603"/>
                </a:lnTo>
                <a:lnTo>
                  <a:pt x="3163" y="3569"/>
                </a:lnTo>
                <a:lnTo>
                  <a:pt x="3243" y="3528"/>
                </a:lnTo>
                <a:lnTo>
                  <a:pt x="3318" y="3477"/>
                </a:lnTo>
                <a:lnTo>
                  <a:pt x="3388" y="3421"/>
                </a:lnTo>
                <a:lnTo>
                  <a:pt x="3451" y="3358"/>
                </a:lnTo>
                <a:lnTo>
                  <a:pt x="3509" y="3288"/>
                </a:lnTo>
                <a:lnTo>
                  <a:pt x="3557" y="3213"/>
                </a:lnTo>
                <a:lnTo>
                  <a:pt x="3599" y="3133"/>
                </a:lnTo>
                <a:lnTo>
                  <a:pt x="3632" y="3049"/>
                </a:lnTo>
                <a:lnTo>
                  <a:pt x="3657" y="2960"/>
                </a:lnTo>
                <a:lnTo>
                  <a:pt x="3671" y="2868"/>
                </a:lnTo>
                <a:lnTo>
                  <a:pt x="3676" y="2774"/>
                </a:lnTo>
                <a:lnTo>
                  <a:pt x="3671" y="2679"/>
                </a:lnTo>
                <a:lnTo>
                  <a:pt x="3657" y="2589"/>
                </a:lnTo>
                <a:lnTo>
                  <a:pt x="3632" y="2501"/>
                </a:lnTo>
                <a:lnTo>
                  <a:pt x="3599" y="2417"/>
                </a:lnTo>
                <a:lnTo>
                  <a:pt x="3559" y="2339"/>
                </a:lnTo>
                <a:lnTo>
                  <a:pt x="3510" y="2264"/>
                </a:lnTo>
                <a:lnTo>
                  <a:pt x="3456" y="2196"/>
                </a:lnTo>
                <a:lnTo>
                  <a:pt x="3393" y="2133"/>
                </a:lnTo>
                <a:lnTo>
                  <a:pt x="3386" y="2128"/>
                </a:lnTo>
                <a:lnTo>
                  <a:pt x="3385" y="2126"/>
                </a:lnTo>
                <a:lnTo>
                  <a:pt x="3383" y="2122"/>
                </a:lnTo>
                <a:lnTo>
                  <a:pt x="3313" y="2067"/>
                </a:lnTo>
                <a:lnTo>
                  <a:pt x="3240" y="2018"/>
                </a:lnTo>
                <a:lnTo>
                  <a:pt x="3160" y="1978"/>
                </a:lnTo>
                <a:lnTo>
                  <a:pt x="3076" y="1944"/>
                </a:lnTo>
                <a:lnTo>
                  <a:pt x="2989" y="1922"/>
                </a:lnTo>
                <a:lnTo>
                  <a:pt x="2898" y="1906"/>
                </a:lnTo>
                <a:lnTo>
                  <a:pt x="2804" y="1901"/>
                </a:lnTo>
                <a:close/>
                <a:moveTo>
                  <a:pt x="1867" y="1808"/>
                </a:moveTo>
                <a:lnTo>
                  <a:pt x="1802" y="1814"/>
                </a:lnTo>
                <a:lnTo>
                  <a:pt x="1740" y="1829"/>
                </a:lnTo>
                <a:lnTo>
                  <a:pt x="1682" y="1854"/>
                </a:lnTo>
                <a:lnTo>
                  <a:pt x="1630" y="1887"/>
                </a:lnTo>
                <a:lnTo>
                  <a:pt x="1583" y="1927"/>
                </a:lnTo>
                <a:lnTo>
                  <a:pt x="1542" y="1974"/>
                </a:lnTo>
                <a:lnTo>
                  <a:pt x="1509" y="2026"/>
                </a:lnTo>
                <a:lnTo>
                  <a:pt x="1485" y="2084"/>
                </a:lnTo>
                <a:lnTo>
                  <a:pt x="1469" y="2147"/>
                </a:lnTo>
                <a:lnTo>
                  <a:pt x="1464" y="2211"/>
                </a:lnTo>
                <a:lnTo>
                  <a:pt x="1469" y="2276"/>
                </a:lnTo>
                <a:lnTo>
                  <a:pt x="1483" y="2335"/>
                </a:lnTo>
                <a:lnTo>
                  <a:pt x="1508" y="2393"/>
                </a:lnTo>
                <a:lnTo>
                  <a:pt x="1539" y="2445"/>
                </a:lnTo>
                <a:lnTo>
                  <a:pt x="1577" y="2493"/>
                </a:lnTo>
                <a:lnTo>
                  <a:pt x="1623" y="2533"/>
                </a:lnTo>
                <a:lnTo>
                  <a:pt x="1673" y="2566"/>
                </a:lnTo>
                <a:lnTo>
                  <a:pt x="1729" y="2592"/>
                </a:lnTo>
                <a:lnTo>
                  <a:pt x="1790" y="2608"/>
                </a:lnTo>
                <a:lnTo>
                  <a:pt x="1811" y="2512"/>
                </a:lnTo>
                <a:lnTo>
                  <a:pt x="1841" y="2417"/>
                </a:lnTo>
                <a:lnTo>
                  <a:pt x="1879" y="2328"/>
                </a:lnTo>
                <a:lnTo>
                  <a:pt x="1926" y="2243"/>
                </a:lnTo>
                <a:lnTo>
                  <a:pt x="1979" y="2163"/>
                </a:lnTo>
                <a:lnTo>
                  <a:pt x="2040" y="2089"/>
                </a:lnTo>
                <a:lnTo>
                  <a:pt x="2108" y="2021"/>
                </a:lnTo>
                <a:lnTo>
                  <a:pt x="2181" y="1958"/>
                </a:lnTo>
                <a:lnTo>
                  <a:pt x="2139" y="1915"/>
                </a:lnTo>
                <a:lnTo>
                  <a:pt x="2092" y="1878"/>
                </a:lnTo>
                <a:lnTo>
                  <a:pt x="2041" y="1848"/>
                </a:lnTo>
                <a:lnTo>
                  <a:pt x="1986" y="1827"/>
                </a:lnTo>
                <a:lnTo>
                  <a:pt x="1928" y="1814"/>
                </a:lnTo>
                <a:lnTo>
                  <a:pt x="1867" y="1808"/>
                </a:lnTo>
                <a:close/>
                <a:moveTo>
                  <a:pt x="1867" y="1059"/>
                </a:moveTo>
                <a:lnTo>
                  <a:pt x="1757" y="1065"/>
                </a:lnTo>
                <a:lnTo>
                  <a:pt x="1649" y="1080"/>
                </a:lnTo>
                <a:lnTo>
                  <a:pt x="1544" y="1105"/>
                </a:lnTo>
                <a:lnTo>
                  <a:pt x="1445" y="1140"/>
                </a:lnTo>
                <a:lnTo>
                  <a:pt x="1347" y="1183"/>
                </a:lnTo>
                <a:lnTo>
                  <a:pt x="1256" y="1234"/>
                </a:lnTo>
                <a:lnTo>
                  <a:pt x="1171" y="1293"/>
                </a:lnTo>
                <a:lnTo>
                  <a:pt x="1091" y="1361"/>
                </a:lnTo>
                <a:lnTo>
                  <a:pt x="1017" y="1435"/>
                </a:lnTo>
                <a:lnTo>
                  <a:pt x="949" y="1515"/>
                </a:lnTo>
                <a:lnTo>
                  <a:pt x="890" y="1601"/>
                </a:lnTo>
                <a:lnTo>
                  <a:pt x="839" y="1691"/>
                </a:lnTo>
                <a:lnTo>
                  <a:pt x="796" y="1789"/>
                </a:lnTo>
                <a:lnTo>
                  <a:pt x="761" y="1889"/>
                </a:lnTo>
                <a:lnTo>
                  <a:pt x="736" y="1993"/>
                </a:lnTo>
                <a:lnTo>
                  <a:pt x="721" y="2102"/>
                </a:lnTo>
                <a:lnTo>
                  <a:pt x="716" y="2211"/>
                </a:lnTo>
                <a:lnTo>
                  <a:pt x="721" y="2323"/>
                </a:lnTo>
                <a:lnTo>
                  <a:pt x="736" y="2431"/>
                </a:lnTo>
                <a:lnTo>
                  <a:pt x="761" y="2536"/>
                </a:lnTo>
                <a:lnTo>
                  <a:pt x="796" y="2636"/>
                </a:lnTo>
                <a:lnTo>
                  <a:pt x="839" y="2732"/>
                </a:lnTo>
                <a:lnTo>
                  <a:pt x="890" y="2824"/>
                </a:lnTo>
                <a:lnTo>
                  <a:pt x="949" y="2910"/>
                </a:lnTo>
                <a:lnTo>
                  <a:pt x="1017" y="2990"/>
                </a:lnTo>
                <a:lnTo>
                  <a:pt x="1091" y="3063"/>
                </a:lnTo>
                <a:lnTo>
                  <a:pt x="1171" y="3130"/>
                </a:lnTo>
                <a:lnTo>
                  <a:pt x="1256" y="3191"/>
                </a:lnTo>
                <a:lnTo>
                  <a:pt x="1347" y="3241"/>
                </a:lnTo>
                <a:lnTo>
                  <a:pt x="1445" y="3285"/>
                </a:lnTo>
                <a:lnTo>
                  <a:pt x="1544" y="3320"/>
                </a:lnTo>
                <a:lnTo>
                  <a:pt x="1649" y="3344"/>
                </a:lnTo>
                <a:lnTo>
                  <a:pt x="1757" y="3360"/>
                </a:lnTo>
                <a:lnTo>
                  <a:pt x="1867" y="3365"/>
                </a:lnTo>
                <a:lnTo>
                  <a:pt x="1965" y="3365"/>
                </a:lnTo>
                <a:lnTo>
                  <a:pt x="1917" y="3292"/>
                </a:lnTo>
                <a:lnTo>
                  <a:pt x="1876" y="3213"/>
                </a:lnTo>
                <a:lnTo>
                  <a:pt x="1841" y="3131"/>
                </a:lnTo>
                <a:lnTo>
                  <a:pt x="1813" y="3046"/>
                </a:lnTo>
                <a:lnTo>
                  <a:pt x="1794" y="2959"/>
                </a:lnTo>
                <a:lnTo>
                  <a:pt x="1781" y="2868"/>
                </a:lnTo>
                <a:lnTo>
                  <a:pt x="1776" y="2774"/>
                </a:lnTo>
                <a:lnTo>
                  <a:pt x="1776" y="2768"/>
                </a:lnTo>
                <a:lnTo>
                  <a:pt x="1776" y="2763"/>
                </a:lnTo>
                <a:lnTo>
                  <a:pt x="1766" y="2761"/>
                </a:lnTo>
                <a:lnTo>
                  <a:pt x="1696" y="2744"/>
                </a:lnTo>
                <a:lnTo>
                  <a:pt x="1630" y="2718"/>
                </a:lnTo>
                <a:lnTo>
                  <a:pt x="1569" y="2685"/>
                </a:lnTo>
                <a:lnTo>
                  <a:pt x="1511" y="2643"/>
                </a:lnTo>
                <a:lnTo>
                  <a:pt x="1460" y="2595"/>
                </a:lnTo>
                <a:lnTo>
                  <a:pt x="1417" y="2543"/>
                </a:lnTo>
                <a:lnTo>
                  <a:pt x="1380" y="2484"/>
                </a:lnTo>
                <a:lnTo>
                  <a:pt x="1349" y="2421"/>
                </a:lnTo>
                <a:lnTo>
                  <a:pt x="1328" y="2355"/>
                </a:lnTo>
                <a:lnTo>
                  <a:pt x="1314" y="2285"/>
                </a:lnTo>
                <a:lnTo>
                  <a:pt x="1309" y="2211"/>
                </a:lnTo>
                <a:lnTo>
                  <a:pt x="1314" y="2136"/>
                </a:lnTo>
                <a:lnTo>
                  <a:pt x="1330" y="2063"/>
                </a:lnTo>
                <a:lnTo>
                  <a:pt x="1352" y="1995"/>
                </a:lnTo>
                <a:lnTo>
                  <a:pt x="1385" y="1930"/>
                </a:lnTo>
                <a:lnTo>
                  <a:pt x="1426" y="1871"/>
                </a:lnTo>
                <a:lnTo>
                  <a:pt x="1473" y="1817"/>
                </a:lnTo>
                <a:lnTo>
                  <a:pt x="1527" y="1770"/>
                </a:lnTo>
                <a:lnTo>
                  <a:pt x="1586" y="1730"/>
                </a:lnTo>
                <a:lnTo>
                  <a:pt x="1651" y="1697"/>
                </a:lnTo>
                <a:lnTo>
                  <a:pt x="1719" y="1674"/>
                </a:lnTo>
                <a:lnTo>
                  <a:pt x="1792" y="1658"/>
                </a:lnTo>
                <a:lnTo>
                  <a:pt x="1867" y="1653"/>
                </a:lnTo>
                <a:lnTo>
                  <a:pt x="1942" y="1658"/>
                </a:lnTo>
                <a:lnTo>
                  <a:pt x="2013" y="1672"/>
                </a:lnTo>
                <a:lnTo>
                  <a:pt x="2081" y="1697"/>
                </a:lnTo>
                <a:lnTo>
                  <a:pt x="2146" y="1728"/>
                </a:lnTo>
                <a:lnTo>
                  <a:pt x="2207" y="1768"/>
                </a:lnTo>
                <a:lnTo>
                  <a:pt x="2261" y="1817"/>
                </a:lnTo>
                <a:lnTo>
                  <a:pt x="2310" y="1873"/>
                </a:lnTo>
                <a:lnTo>
                  <a:pt x="2401" y="1827"/>
                </a:lnTo>
                <a:lnTo>
                  <a:pt x="2497" y="1793"/>
                </a:lnTo>
                <a:lnTo>
                  <a:pt x="2594" y="1766"/>
                </a:lnTo>
                <a:lnTo>
                  <a:pt x="2697" y="1751"/>
                </a:lnTo>
                <a:lnTo>
                  <a:pt x="2804" y="1745"/>
                </a:lnTo>
                <a:lnTo>
                  <a:pt x="2865" y="1747"/>
                </a:lnTo>
                <a:lnTo>
                  <a:pt x="2926" y="1754"/>
                </a:lnTo>
                <a:lnTo>
                  <a:pt x="2880" y="1660"/>
                </a:lnTo>
                <a:lnTo>
                  <a:pt x="2826" y="1571"/>
                </a:lnTo>
                <a:lnTo>
                  <a:pt x="2765" y="1487"/>
                </a:lnTo>
                <a:lnTo>
                  <a:pt x="2697" y="1412"/>
                </a:lnTo>
                <a:lnTo>
                  <a:pt x="2624" y="1341"/>
                </a:lnTo>
                <a:lnTo>
                  <a:pt x="2544" y="1278"/>
                </a:lnTo>
                <a:lnTo>
                  <a:pt x="2458" y="1222"/>
                </a:lnTo>
                <a:lnTo>
                  <a:pt x="2369" y="1173"/>
                </a:lnTo>
                <a:lnTo>
                  <a:pt x="2275" y="1133"/>
                </a:lnTo>
                <a:lnTo>
                  <a:pt x="2177" y="1101"/>
                </a:lnTo>
                <a:lnTo>
                  <a:pt x="2076" y="1079"/>
                </a:lnTo>
                <a:lnTo>
                  <a:pt x="1973" y="1063"/>
                </a:lnTo>
                <a:lnTo>
                  <a:pt x="1867" y="1059"/>
                </a:lnTo>
                <a:close/>
                <a:moveTo>
                  <a:pt x="1867" y="904"/>
                </a:moveTo>
                <a:lnTo>
                  <a:pt x="1979" y="908"/>
                </a:lnTo>
                <a:lnTo>
                  <a:pt x="2087" y="922"/>
                </a:lnTo>
                <a:lnTo>
                  <a:pt x="2193" y="944"/>
                </a:lnTo>
                <a:lnTo>
                  <a:pt x="2296" y="976"/>
                </a:lnTo>
                <a:lnTo>
                  <a:pt x="2397" y="1014"/>
                </a:lnTo>
                <a:lnTo>
                  <a:pt x="2493" y="1063"/>
                </a:lnTo>
                <a:lnTo>
                  <a:pt x="2584" y="1117"/>
                </a:lnTo>
                <a:lnTo>
                  <a:pt x="2669" y="1178"/>
                </a:lnTo>
                <a:lnTo>
                  <a:pt x="2751" y="1248"/>
                </a:lnTo>
                <a:lnTo>
                  <a:pt x="2828" y="1323"/>
                </a:lnTo>
                <a:lnTo>
                  <a:pt x="2898" y="1405"/>
                </a:lnTo>
                <a:lnTo>
                  <a:pt x="2961" y="1492"/>
                </a:lnTo>
                <a:lnTo>
                  <a:pt x="3017" y="1585"/>
                </a:lnTo>
                <a:lnTo>
                  <a:pt x="3065" y="1683"/>
                </a:lnTo>
                <a:lnTo>
                  <a:pt x="3106" y="1787"/>
                </a:lnTo>
                <a:lnTo>
                  <a:pt x="3106" y="1789"/>
                </a:lnTo>
                <a:lnTo>
                  <a:pt x="3106" y="1791"/>
                </a:lnTo>
                <a:lnTo>
                  <a:pt x="3191" y="1822"/>
                </a:lnTo>
                <a:lnTo>
                  <a:pt x="3273" y="1859"/>
                </a:lnTo>
                <a:lnTo>
                  <a:pt x="3350" y="1904"/>
                </a:lnTo>
                <a:lnTo>
                  <a:pt x="3423" y="1955"/>
                </a:lnTo>
                <a:lnTo>
                  <a:pt x="3491" y="2011"/>
                </a:lnTo>
                <a:lnTo>
                  <a:pt x="3629" y="2115"/>
                </a:lnTo>
                <a:lnTo>
                  <a:pt x="3707" y="2157"/>
                </a:lnTo>
                <a:lnTo>
                  <a:pt x="3789" y="2189"/>
                </a:lnTo>
                <a:lnTo>
                  <a:pt x="3875" y="2213"/>
                </a:lnTo>
                <a:lnTo>
                  <a:pt x="3962" y="2227"/>
                </a:lnTo>
                <a:lnTo>
                  <a:pt x="4049" y="2232"/>
                </a:lnTo>
                <a:lnTo>
                  <a:pt x="4130" y="2227"/>
                </a:lnTo>
                <a:lnTo>
                  <a:pt x="4210" y="2217"/>
                </a:lnTo>
                <a:lnTo>
                  <a:pt x="4287" y="2198"/>
                </a:lnTo>
                <a:lnTo>
                  <a:pt x="4360" y="2171"/>
                </a:lnTo>
                <a:lnTo>
                  <a:pt x="4431" y="2138"/>
                </a:lnTo>
                <a:lnTo>
                  <a:pt x="4499" y="2098"/>
                </a:lnTo>
                <a:lnTo>
                  <a:pt x="4564" y="2051"/>
                </a:lnTo>
                <a:lnTo>
                  <a:pt x="4623" y="1999"/>
                </a:lnTo>
                <a:lnTo>
                  <a:pt x="4677" y="1939"/>
                </a:lnTo>
                <a:lnTo>
                  <a:pt x="4726" y="1875"/>
                </a:lnTo>
                <a:lnTo>
                  <a:pt x="4742" y="1859"/>
                </a:lnTo>
                <a:lnTo>
                  <a:pt x="4761" y="1847"/>
                </a:lnTo>
                <a:lnTo>
                  <a:pt x="4784" y="1841"/>
                </a:lnTo>
                <a:lnTo>
                  <a:pt x="4805" y="1843"/>
                </a:lnTo>
                <a:lnTo>
                  <a:pt x="4827" y="1852"/>
                </a:lnTo>
                <a:lnTo>
                  <a:pt x="4906" y="1896"/>
                </a:lnTo>
                <a:lnTo>
                  <a:pt x="4976" y="1944"/>
                </a:lnTo>
                <a:lnTo>
                  <a:pt x="5037" y="1997"/>
                </a:lnTo>
                <a:lnTo>
                  <a:pt x="5091" y="2053"/>
                </a:lnTo>
                <a:lnTo>
                  <a:pt x="5140" y="2112"/>
                </a:lnTo>
                <a:lnTo>
                  <a:pt x="5180" y="2175"/>
                </a:lnTo>
                <a:lnTo>
                  <a:pt x="5215" y="2239"/>
                </a:lnTo>
                <a:lnTo>
                  <a:pt x="5244" y="2309"/>
                </a:lnTo>
                <a:lnTo>
                  <a:pt x="5270" y="2381"/>
                </a:lnTo>
                <a:lnTo>
                  <a:pt x="5290" y="2454"/>
                </a:lnTo>
                <a:lnTo>
                  <a:pt x="5305" y="2531"/>
                </a:lnTo>
                <a:lnTo>
                  <a:pt x="5318" y="2609"/>
                </a:lnTo>
                <a:lnTo>
                  <a:pt x="5326" y="2690"/>
                </a:lnTo>
                <a:lnTo>
                  <a:pt x="5333" y="2772"/>
                </a:lnTo>
                <a:lnTo>
                  <a:pt x="5337" y="2854"/>
                </a:lnTo>
                <a:lnTo>
                  <a:pt x="5339" y="2939"/>
                </a:lnTo>
                <a:lnTo>
                  <a:pt x="5340" y="3025"/>
                </a:lnTo>
                <a:lnTo>
                  <a:pt x="5339" y="3112"/>
                </a:lnTo>
                <a:lnTo>
                  <a:pt x="5339" y="3199"/>
                </a:lnTo>
                <a:lnTo>
                  <a:pt x="5337" y="3377"/>
                </a:lnTo>
                <a:lnTo>
                  <a:pt x="5333" y="3402"/>
                </a:lnTo>
                <a:lnTo>
                  <a:pt x="5321" y="3425"/>
                </a:lnTo>
                <a:lnTo>
                  <a:pt x="5302" y="3442"/>
                </a:lnTo>
                <a:lnTo>
                  <a:pt x="5295" y="3446"/>
                </a:lnTo>
                <a:lnTo>
                  <a:pt x="5283" y="3454"/>
                </a:lnTo>
                <a:lnTo>
                  <a:pt x="5262" y="3465"/>
                </a:lnTo>
                <a:lnTo>
                  <a:pt x="5234" y="3479"/>
                </a:lnTo>
                <a:lnTo>
                  <a:pt x="5199" y="3494"/>
                </a:lnTo>
                <a:lnTo>
                  <a:pt x="5157" y="3514"/>
                </a:lnTo>
                <a:lnTo>
                  <a:pt x="5106" y="3533"/>
                </a:lnTo>
                <a:lnTo>
                  <a:pt x="5049" y="3554"/>
                </a:lnTo>
                <a:lnTo>
                  <a:pt x="4984" y="3575"/>
                </a:lnTo>
                <a:lnTo>
                  <a:pt x="4911" y="3594"/>
                </a:lnTo>
                <a:lnTo>
                  <a:pt x="4831" y="3615"/>
                </a:lnTo>
                <a:lnTo>
                  <a:pt x="4744" y="3634"/>
                </a:lnTo>
                <a:lnTo>
                  <a:pt x="4648" y="3651"/>
                </a:lnTo>
                <a:lnTo>
                  <a:pt x="4543" y="3667"/>
                </a:lnTo>
                <a:lnTo>
                  <a:pt x="4430" y="3679"/>
                </a:lnTo>
                <a:lnTo>
                  <a:pt x="4309" y="3690"/>
                </a:lnTo>
                <a:lnTo>
                  <a:pt x="4180" y="3695"/>
                </a:lnTo>
                <a:lnTo>
                  <a:pt x="4044" y="3699"/>
                </a:lnTo>
                <a:lnTo>
                  <a:pt x="3892" y="3695"/>
                </a:lnTo>
                <a:lnTo>
                  <a:pt x="3746" y="3686"/>
                </a:lnTo>
                <a:lnTo>
                  <a:pt x="3603" y="3674"/>
                </a:lnTo>
                <a:lnTo>
                  <a:pt x="3465" y="3655"/>
                </a:lnTo>
                <a:lnTo>
                  <a:pt x="3362" y="3636"/>
                </a:lnTo>
                <a:lnTo>
                  <a:pt x="3278" y="3685"/>
                </a:lnTo>
                <a:lnTo>
                  <a:pt x="3191" y="3725"/>
                </a:lnTo>
                <a:lnTo>
                  <a:pt x="3100" y="3758"/>
                </a:lnTo>
                <a:lnTo>
                  <a:pt x="3004" y="3782"/>
                </a:lnTo>
                <a:lnTo>
                  <a:pt x="2905" y="3796"/>
                </a:lnTo>
                <a:lnTo>
                  <a:pt x="2804" y="3802"/>
                </a:lnTo>
                <a:lnTo>
                  <a:pt x="2703" y="3796"/>
                </a:lnTo>
                <a:lnTo>
                  <a:pt x="2605" y="3782"/>
                </a:lnTo>
                <a:lnTo>
                  <a:pt x="2511" y="3758"/>
                </a:lnTo>
                <a:lnTo>
                  <a:pt x="2418" y="3727"/>
                </a:lnTo>
                <a:lnTo>
                  <a:pt x="2331" y="3686"/>
                </a:lnTo>
                <a:lnTo>
                  <a:pt x="2249" y="3638"/>
                </a:lnTo>
                <a:lnTo>
                  <a:pt x="2172" y="3582"/>
                </a:lnTo>
                <a:lnTo>
                  <a:pt x="2099" y="3521"/>
                </a:lnTo>
                <a:lnTo>
                  <a:pt x="2020" y="3521"/>
                </a:lnTo>
                <a:lnTo>
                  <a:pt x="1867" y="3521"/>
                </a:lnTo>
                <a:lnTo>
                  <a:pt x="1748" y="3515"/>
                </a:lnTo>
                <a:lnTo>
                  <a:pt x="1633" y="3500"/>
                </a:lnTo>
                <a:lnTo>
                  <a:pt x="1520" y="3475"/>
                </a:lnTo>
                <a:lnTo>
                  <a:pt x="1412" y="3439"/>
                </a:lnTo>
                <a:lnTo>
                  <a:pt x="1307" y="3395"/>
                </a:lnTo>
                <a:lnTo>
                  <a:pt x="1207" y="3343"/>
                </a:lnTo>
                <a:lnTo>
                  <a:pt x="1113" y="3281"/>
                </a:lnTo>
                <a:lnTo>
                  <a:pt x="1026" y="3213"/>
                </a:lnTo>
                <a:lnTo>
                  <a:pt x="942" y="3137"/>
                </a:lnTo>
                <a:lnTo>
                  <a:pt x="867" y="3055"/>
                </a:lnTo>
                <a:lnTo>
                  <a:pt x="799" y="2967"/>
                </a:lnTo>
                <a:lnTo>
                  <a:pt x="738" y="2873"/>
                </a:lnTo>
                <a:lnTo>
                  <a:pt x="686" y="2774"/>
                </a:lnTo>
                <a:lnTo>
                  <a:pt x="642" y="2669"/>
                </a:lnTo>
                <a:lnTo>
                  <a:pt x="606" y="2561"/>
                </a:lnTo>
                <a:lnTo>
                  <a:pt x="581" y="2447"/>
                </a:lnTo>
                <a:lnTo>
                  <a:pt x="565" y="2332"/>
                </a:lnTo>
                <a:lnTo>
                  <a:pt x="560" y="2211"/>
                </a:lnTo>
                <a:lnTo>
                  <a:pt x="565" y="2093"/>
                </a:lnTo>
                <a:lnTo>
                  <a:pt x="581" y="1978"/>
                </a:lnTo>
                <a:lnTo>
                  <a:pt x="606" y="1864"/>
                </a:lnTo>
                <a:lnTo>
                  <a:pt x="642" y="1756"/>
                </a:lnTo>
                <a:lnTo>
                  <a:pt x="686" y="1651"/>
                </a:lnTo>
                <a:lnTo>
                  <a:pt x="738" y="1552"/>
                </a:lnTo>
                <a:lnTo>
                  <a:pt x="799" y="1457"/>
                </a:lnTo>
                <a:lnTo>
                  <a:pt x="867" y="1370"/>
                </a:lnTo>
                <a:lnTo>
                  <a:pt x="942" y="1286"/>
                </a:lnTo>
                <a:lnTo>
                  <a:pt x="1026" y="1211"/>
                </a:lnTo>
                <a:lnTo>
                  <a:pt x="1113" y="1143"/>
                </a:lnTo>
                <a:lnTo>
                  <a:pt x="1207" y="1082"/>
                </a:lnTo>
                <a:lnTo>
                  <a:pt x="1307" y="1030"/>
                </a:lnTo>
                <a:lnTo>
                  <a:pt x="1412" y="986"/>
                </a:lnTo>
                <a:lnTo>
                  <a:pt x="1520" y="950"/>
                </a:lnTo>
                <a:lnTo>
                  <a:pt x="1633" y="925"/>
                </a:lnTo>
                <a:lnTo>
                  <a:pt x="1748" y="909"/>
                </a:lnTo>
                <a:lnTo>
                  <a:pt x="1867" y="904"/>
                </a:lnTo>
                <a:close/>
                <a:moveTo>
                  <a:pt x="4034" y="155"/>
                </a:moveTo>
                <a:lnTo>
                  <a:pt x="3941" y="161"/>
                </a:lnTo>
                <a:lnTo>
                  <a:pt x="3852" y="176"/>
                </a:lnTo>
                <a:lnTo>
                  <a:pt x="3767" y="202"/>
                </a:lnTo>
                <a:lnTo>
                  <a:pt x="3685" y="236"/>
                </a:lnTo>
                <a:lnTo>
                  <a:pt x="3608" y="279"/>
                </a:lnTo>
                <a:lnTo>
                  <a:pt x="3538" y="330"/>
                </a:lnTo>
                <a:lnTo>
                  <a:pt x="3472" y="389"/>
                </a:lnTo>
                <a:lnTo>
                  <a:pt x="3414" y="454"/>
                </a:lnTo>
                <a:lnTo>
                  <a:pt x="3364" y="524"/>
                </a:lnTo>
                <a:lnTo>
                  <a:pt x="3320" y="600"/>
                </a:lnTo>
                <a:lnTo>
                  <a:pt x="3287" y="682"/>
                </a:lnTo>
                <a:lnTo>
                  <a:pt x="3261" y="768"/>
                </a:lnTo>
                <a:lnTo>
                  <a:pt x="3245" y="857"/>
                </a:lnTo>
                <a:lnTo>
                  <a:pt x="3240" y="950"/>
                </a:lnTo>
                <a:lnTo>
                  <a:pt x="3245" y="1042"/>
                </a:lnTo>
                <a:lnTo>
                  <a:pt x="3261" y="1133"/>
                </a:lnTo>
                <a:lnTo>
                  <a:pt x="3287" y="1218"/>
                </a:lnTo>
                <a:lnTo>
                  <a:pt x="3320" y="1299"/>
                </a:lnTo>
                <a:lnTo>
                  <a:pt x="3364" y="1375"/>
                </a:lnTo>
                <a:lnTo>
                  <a:pt x="3414" y="1447"/>
                </a:lnTo>
                <a:lnTo>
                  <a:pt x="3472" y="1512"/>
                </a:lnTo>
                <a:lnTo>
                  <a:pt x="3538" y="1571"/>
                </a:lnTo>
                <a:lnTo>
                  <a:pt x="3608" y="1622"/>
                </a:lnTo>
                <a:lnTo>
                  <a:pt x="3685" y="1663"/>
                </a:lnTo>
                <a:lnTo>
                  <a:pt x="3767" y="1698"/>
                </a:lnTo>
                <a:lnTo>
                  <a:pt x="3852" y="1725"/>
                </a:lnTo>
                <a:lnTo>
                  <a:pt x="3941" y="1740"/>
                </a:lnTo>
                <a:lnTo>
                  <a:pt x="4034" y="1745"/>
                </a:lnTo>
                <a:lnTo>
                  <a:pt x="4126" y="1740"/>
                </a:lnTo>
                <a:lnTo>
                  <a:pt x="4217" y="1725"/>
                </a:lnTo>
                <a:lnTo>
                  <a:pt x="4302" y="1698"/>
                </a:lnTo>
                <a:lnTo>
                  <a:pt x="4383" y="1663"/>
                </a:lnTo>
                <a:lnTo>
                  <a:pt x="4459" y="1622"/>
                </a:lnTo>
                <a:lnTo>
                  <a:pt x="4531" y="1571"/>
                </a:lnTo>
                <a:lnTo>
                  <a:pt x="4595" y="1512"/>
                </a:lnTo>
                <a:lnTo>
                  <a:pt x="4653" y="1447"/>
                </a:lnTo>
                <a:lnTo>
                  <a:pt x="4705" y="1375"/>
                </a:lnTo>
                <a:lnTo>
                  <a:pt x="4747" y="1299"/>
                </a:lnTo>
                <a:lnTo>
                  <a:pt x="4782" y="1218"/>
                </a:lnTo>
                <a:lnTo>
                  <a:pt x="4806" y="1133"/>
                </a:lnTo>
                <a:lnTo>
                  <a:pt x="4822" y="1042"/>
                </a:lnTo>
                <a:lnTo>
                  <a:pt x="4829" y="950"/>
                </a:lnTo>
                <a:lnTo>
                  <a:pt x="4822" y="857"/>
                </a:lnTo>
                <a:lnTo>
                  <a:pt x="4806" y="768"/>
                </a:lnTo>
                <a:lnTo>
                  <a:pt x="4782" y="682"/>
                </a:lnTo>
                <a:lnTo>
                  <a:pt x="4747" y="600"/>
                </a:lnTo>
                <a:lnTo>
                  <a:pt x="4705" y="524"/>
                </a:lnTo>
                <a:lnTo>
                  <a:pt x="4653" y="454"/>
                </a:lnTo>
                <a:lnTo>
                  <a:pt x="4595" y="389"/>
                </a:lnTo>
                <a:lnTo>
                  <a:pt x="4531" y="330"/>
                </a:lnTo>
                <a:lnTo>
                  <a:pt x="4459" y="279"/>
                </a:lnTo>
                <a:lnTo>
                  <a:pt x="4383" y="236"/>
                </a:lnTo>
                <a:lnTo>
                  <a:pt x="4302" y="202"/>
                </a:lnTo>
                <a:lnTo>
                  <a:pt x="4217" y="176"/>
                </a:lnTo>
                <a:lnTo>
                  <a:pt x="4126" y="161"/>
                </a:lnTo>
                <a:lnTo>
                  <a:pt x="4034" y="155"/>
                </a:lnTo>
                <a:close/>
                <a:moveTo>
                  <a:pt x="4034" y="0"/>
                </a:moveTo>
                <a:lnTo>
                  <a:pt x="4131" y="5"/>
                </a:lnTo>
                <a:lnTo>
                  <a:pt x="4226" y="19"/>
                </a:lnTo>
                <a:lnTo>
                  <a:pt x="4316" y="44"/>
                </a:lnTo>
                <a:lnTo>
                  <a:pt x="4403" y="75"/>
                </a:lnTo>
                <a:lnTo>
                  <a:pt x="4487" y="115"/>
                </a:lnTo>
                <a:lnTo>
                  <a:pt x="4564" y="162"/>
                </a:lnTo>
                <a:lnTo>
                  <a:pt x="4637" y="216"/>
                </a:lnTo>
                <a:lnTo>
                  <a:pt x="4705" y="279"/>
                </a:lnTo>
                <a:lnTo>
                  <a:pt x="4766" y="346"/>
                </a:lnTo>
                <a:lnTo>
                  <a:pt x="4822" y="419"/>
                </a:lnTo>
                <a:lnTo>
                  <a:pt x="4869" y="497"/>
                </a:lnTo>
                <a:lnTo>
                  <a:pt x="4909" y="581"/>
                </a:lnTo>
                <a:lnTo>
                  <a:pt x="4941" y="669"/>
                </a:lnTo>
                <a:lnTo>
                  <a:pt x="4965" y="759"/>
                </a:lnTo>
                <a:lnTo>
                  <a:pt x="4979" y="854"/>
                </a:lnTo>
                <a:lnTo>
                  <a:pt x="4984" y="950"/>
                </a:lnTo>
                <a:lnTo>
                  <a:pt x="4979" y="1047"/>
                </a:lnTo>
                <a:lnTo>
                  <a:pt x="4965" y="1142"/>
                </a:lnTo>
                <a:lnTo>
                  <a:pt x="4941" y="1232"/>
                </a:lnTo>
                <a:lnTo>
                  <a:pt x="4909" y="1320"/>
                </a:lnTo>
                <a:lnTo>
                  <a:pt x="4869" y="1403"/>
                </a:lnTo>
                <a:lnTo>
                  <a:pt x="4822" y="1482"/>
                </a:lnTo>
                <a:lnTo>
                  <a:pt x="4766" y="1553"/>
                </a:lnTo>
                <a:lnTo>
                  <a:pt x="4705" y="1622"/>
                </a:lnTo>
                <a:lnTo>
                  <a:pt x="4637" y="1683"/>
                </a:lnTo>
                <a:lnTo>
                  <a:pt x="4564" y="1738"/>
                </a:lnTo>
                <a:lnTo>
                  <a:pt x="4487" y="1786"/>
                </a:lnTo>
                <a:lnTo>
                  <a:pt x="4403" y="1826"/>
                </a:lnTo>
                <a:lnTo>
                  <a:pt x="4316" y="1857"/>
                </a:lnTo>
                <a:lnTo>
                  <a:pt x="4226" y="1882"/>
                </a:lnTo>
                <a:lnTo>
                  <a:pt x="4131" y="1896"/>
                </a:lnTo>
                <a:lnTo>
                  <a:pt x="4034" y="1901"/>
                </a:lnTo>
                <a:lnTo>
                  <a:pt x="3934" y="1896"/>
                </a:lnTo>
                <a:lnTo>
                  <a:pt x="3838" y="1880"/>
                </a:lnTo>
                <a:lnTo>
                  <a:pt x="3744" y="1855"/>
                </a:lnTo>
                <a:lnTo>
                  <a:pt x="3655" y="1821"/>
                </a:lnTo>
                <a:lnTo>
                  <a:pt x="3570" y="1779"/>
                </a:lnTo>
                <a:lnTo>
                  <a:pt x="3491" y="1728"/>
                </a:lnTo>
                <a:lnTo>
                  <a:pt x="3416" y="1670"/>
                </a:lnTo>
                <a:lnTo>
                  <a:pt x="3348" y="1606"/>
                </a:lnTo>
                <a:lnTo>
                  <a:pt x="3287" y="1536"/>
                </a:lnTo>
                <a:lnTo>
                  <a:pt x="3233" y="1459"/>
                </a:lnTo>
                <a:lnTo>
                  <a:pt x="3186" y="1377"/>
                </a:lnTo>
                <a:lnTo>
                  <a:pt x="3147" y="1290"/>
                </a:lnTo>
                <a:lnTo>
                  <a:pt x="3118" y="1197"/>
                </a:lnTo>
                <a:lnTo>
                  <a:pt x="3099" y="1103"/>
                </a:lnTo>
                <a:lnTo>
                  <a:pt x="3086" y="1005"/>
                </a:lnTo>
                <a:lnTo>
                  <a:pt x="3081" y="1002"/>
                </a:lnTo>
                <a:lnTo>
                  <a:pt x="3076" y="998"/>
                </a:lnTo>
                <a:lnTo>
                  <a:pt x="3071" y="995"/>
                </a:lnTo>
                <a:lnTo>
                  <a:pt x="2980" y="911"/>
                </a:lnTo>
                <a:lnTo>
                  <a:pt x="2886" y="834"/>
                </a:lnTo>
                <a:lnTo>
                  <a:pt x="2786" y="766"/>
                </a:lnTo>
                <a:lnTo>
                  <a:pt x="2682" y="705"/>
                </a:lnTo>
                <a:lnTo>
                  <a:pt x="2573" y="651"/>
                </a:lnTo>
                <a:lnTo>
                  <a:pt x="2462" y="606"/>
                </a:lnTo>
                <a:lnTo>
                  <a:pt x="2348" y="567"/>
                </a:lnTo>
                <a:lnTo>
                  <a:pt x="2232" y="538"/>
                </a:lnTo>
                <a:lnTo>
                  <a:pt x="2113" y="517"/>
                </a:lnTo>
                <a:lnTo>
                  <a:pt x="1991" y="504"/>
                </a:lnTo>
                <a:lnTo>
                  <a:pt x="1867" y="499"/>
                </a:lnTo>
                <a:lnTo>
                  <a:pt x="1734" y="504"/>
                </a:lnTo>
                <a:lnTo>
                  <a:pt x="1603" y="520"/>
                </a:lnTo>
                <a:lnTo>
                  <a:pt x="1476" y="545"/>
                </a:lnTo>
                <a:lnTo>
                  <a:pt x="1352" y="579"/>
                </a:lnTo>
                <a:lnTo>
                  <a:pt x="1232" y="623"/>
                </a:lnTo>
                <a:lnTo>
                  <a:pt x="1115" y="674"/>
                </a:lnTo>
                <a:lnTo>
                  <a:pt x="1005" y="733"/>
                </a:lnTo>
                <a:lnTo>
                  <a:pt x="899" y="801"/>
                </a:lnTo>
                <a:lnTo>
                  <a:pt x="798" y="876"/>
                </a:lnTo>
                <a:lnTo>
                  <a:pt x="703" y="958"/>
                </a:lnTo>
                <a:lnTo>
                  <a:pt x="614" y="1047"/>
                </a:lnTo>
                <a:lnTo>
                  <a:pt x="532" y="1142"/>
                </a:lnTo>
                <a:lnTo>
                  <a:pt x="457" y="1243"/>
                </a:lnTo>
                <a:lnTo>
                  <a:pt x="389" y="1349"/>
                </a:lnTo>
                <a:lnTo>
                  <a:pt x="330" y="1459"/>
                </a:lnTo>
                <a:lnTo>
                  <a:pt x="279" y="1576"/>
                </a:lnTo>
                <a:lnTo>
                  <a:pt x="236" y="1697"/>
                </a:lnTo>
                <a:lnTo>
                  <a:pt x="201" y="1821"/>
                </a:lnTo>
                <a:lnTo>
                  <a:pt x="176" y="1948"/>
                </a:lnTo>
                <a:lnTo>
                  <a:pt x="161" y="2079"/>
                </a:lnTo>
                <a:lnTo>
                  <a:pt x="156" y="2211"/>
                </a:lnTo>
                <a:lnTo>
                  <a:pt x="161" y="2342"/>
                </a:lnTo>
                <a:lnTo>
                  <a:pt x="175" y="2468"/>
                </a:lnTo>
                <a:lnTo>
                  <a:pt x="199" y="2594"/>
                </a:lnTo>
                <a:lnTo>
                  <a:pt x="231" y="2714"/>
                </a:lnTo>
                <a:lnTo>
                  <a:pt x="271" y="2831"/>
                </a:lnTo>
                <a:lnTo>
                  <a:pt x="320" y="2945"/>
                </a:lnTo>
                <a:lnTo>
                  <a:pt x="377" y="3055"/>
                </a:lnTo>
                <a:lnTo>
                  <a:pt x="440" y="3159"/>
                </a:lnTo>
                <a:lnTo>
                  <a:pt x="511" y="3259"/>
                </a:lnTo>
                <a:lnTo>
                  <a:pt x="590" y="3353"/>
                </a:lnTo>
                <a:lnTo>
                  <a:pt x="674" y="3440"/>
                </a:lnTo>
                <a:lnTo>
                  <a:pt x="764" y="3522"/>
                </a:lnTo>
                <a:lnTo>
                  <a:pt x="860" y="3597"/>
                </a:lnTo>
                <a:lnTo>
                  <a:pt x="961" y="3667"/>
                </a:lnTo>
                <a:lnTo>
                  <a:pt x="1070" y="3728"/>
                </a:lnTo>
                <a:lnTo>
                  <a:pt x="1181" y="3782"/>
                </a:lnTo>
                <a:lnTo>
                  <a:pt x="1298" y="3828"/>
                </a:lnTo>
                <a:lnTo>
                  <a:pt x="1419" y="3866"/>
                </a:lnTo>
                <a:lnTo>
                  <a:pt x="1542" y="3894"/>
                </a:lnTo>
                <a:lnTo>
                  <a:pt x="1670" y="3913"/>
                </a:lnTo>
                <a:lnTo>
                  <a:pt x="1740" y="3920"/>
                </a:lnTo>
                <a:lnTo>
                  <a:pt x="1745" y="3920"/>
                </a:lnTo>
                <a:lnTo>
                  <a:pt x="1748" y="3922"/>
                </a:lnTo>
                <a:lnTo>
                  <a:pt x="1799" y="3878"/>
                </a:lnTo>
                <a:lnTo>
                  <a:pt x="1855" y="3837"/>
                </a:lnTo>
                <a:lnTo>
                  <a:pt x="1914" y="3796"/>
                </a:lnTo>
                <a:lnTo>
                  <a:pt x="1980" y="3760"/>
                </a:lnTo>
                <a:lnTo>
                  <a:pt x="2001" y="3753"/>
                </a:lnTo>
                <a:lnTo>
                  <a:pt x="2024" y="3753"/>
                </a:lnTo>
                <a:lnTo>
                  <a:pt x="2045" y="3758"/>
                </a:lnTo>
                <a:lnTo>
                  <a:pt x="2064" y="3768"/>
                </a:lnTo>
                <a:lnTo>
                  <a:pt x="2080" y="3786"/>
                </a:lnTo>
                <a:lnTo>
                  <a:pt x="2134" y="3856"/>
                </a:lnTo>
                <a:lnTo>
                  <a:pt x="2193" y="3920"/>
                </a:lnTo>
                <a:lnTo>
                  <a:pt x="2258" y="3978"/>
                </a:lnTo>
                <a:lnTo>
                  <a:pt x="2327" y="4029"/>
                </a:lnTo>
                <a:lnTo>
                  <a:pt x="2402" y="4074"/>
                </a:lnTo>
                <a:lnTo>
                  <a:pt x="2481" y="4111"/>
                </a:lnTo>
                <a:lnTo>
                  <a:pt x="2563" y="4138"/>
                </a:lnTo>
                <a:lnTo>
                  <a:pt x="2647" y="4159"/>
                </a:lnTo>
                <a:lnTo>
                  <a:pt x="2734" y="4173"/>
                </a:lnTo>
                <a:lnTo>
                  <a:pt x="2821" y="4177"/>
                </a:lnTo>
                <a:lnTo>
                  <a:pt x="2910" y="4173"/>
                </a:lnTo>
                <a:lnTo>
                  <a:pt x="2996" y="4159"/>
                </a:lnTo>
                <a:lnTo>
                  <a:pt x="3081" y="4138"/>
                </a:lnTo>
                <a:lnTo>
                  <a:pt x="3161" y="4111"/>
                </a:lnTo>
                <a:lnTo>
                  <a:pt x="3240" y="4074"/>
                </a:lnTo>
                <a:lnTo>
                  <a:pt x="3315" y="4029"/>
                </a:lnTo>
                <a:lnTo>
                  <a:pt x="3385" y="3978"/>
                </a:lnTo>
                <a:lnTo>
                  <a:pt x="3449" y="3920"/>
                </a:lnTo>
                <a:lnTo>
                  <a:pt x="3510" y="3856"/>
                </a:lnTo>
                <a:lnTo>
                  <a:pt x="3563" y="3786"/>
                </a:lnTo>
                <a:lnTo>
                  <a:pt x="3578" y="3768"/>
                </a:lnTo>
                <a:lnTo>
                  <a:pt x="3597" y="3758"/>
                </a:lnTo>
                <a:lnTo>
                  <a:pt x="3618" y="3753"/>
                </a:lnTo>
                <a:lnTo>
                  <a:pt x="3641" y="3753"/>
                </a:lnTo>
                <a:lnTo>
                  <a:pt x="3662" y="3760"/>
                </a:lnTo>
                <a:lnTo>
                  <a:pt x="3662" y="3760"/>
                </a:lnTo>
                <a:lnTo>
                  <a:pt x="3742" y="3805"/>
                </a:lnTo>
                <a:lnTo>
                  <a:pt x="3816" y="3856"/>
                </a:lnTo>
                <a:lnTo>
                  <a:pt x="3880" y="3908"/>
                </a:lnTo>
                <a:lnTo>
                  <a:pt x="3938" y="3966"/>
                </a:lnTo>
                <a:lnTo>
                  <a:pt x="3988" y="4025"/>
                </a:lnTo>
                <a:lnTo>
                  <a:pt x="4034" y="4090"/>
                </a:lnTo>
                <a:lnTo>
                  <a:pt x="4072" y="4156"/>
                </a:lnTo>
                <a:lnTo>
                  <a:pt x="4105" y="4226"/>
                </a:lnTo>
                <a:lnTo>
                  <a:pt x="4131" y="4299"/>
                </a:lnTo>
                <a:lnTo>
                  <a:pt x="4154" y="4374"/>
                </a:lnTo>
                <a:lnTo>
                  <a:pt x="4173" y="4451"/>
                </a:lnTo>
                <a:lnTo>
                  <a:pt x="4189" y="4531"/>
                </a:lnTo>
                <a:lnTo>
                  <a:pt x="4199" y="4613"/>
                </a:lnTo>
                <a:lnTo>
                  <a:pt x="4208" y="4695"/>
                </a:lnTo>
                <a:lnTo>
                  <a:pt x="4213" y="4781"/>
                </a:lnTo>
                <a:lnTo>
                  <a:pt x="4217" y="4868"/>
                </a:lnTo>
                <a:lnTo>
                  <a:pt x="4219" y="4955"/>
                </a:lnTo>
                <a:lnTo>
                  <a:pt x="4219" y="5044"/>
                </a:lnTo>
                <a:lnTo>
                  <a:pt x="4219" y="5133"/>
                </a:lnTo>
                <a:lnTo>
                  <a:pt x="4219" y="5224"/>
                </a:lnTo>
                <a:lnTo>
                  <a:pt x="4217" y="5418"/>
                </a:lnTo>
                <a:lnTo>
                  <a:pt x="4213" y="5442"/>
                </a:lnTo>
                <a:lnTo>
                  <a:pt x="4201" y="5465"/>
                </a:lnTo>
                <a:lnTo>
                  <a:pt x="4182" y="5482"/>
                </a:lnTo>
                <a:lnTo>
                  <a:pt x="4175" y="5486"/>
                </a:lnTo>
                <a:lnTo>
                  <a:pt x="4163" y="5495"/>
                </a:lnTo>
                <a:lnTo>
                  <a:pt x="4142" y="5505"/>
                </a:lnTo>
                <a:lnTo>
                  <a:pt x="4116" y="5519"/>
                </a:lnTo>
                <a:lnTo>
                  <a:pt x="4081" y="5535"/>
                </a:lnTo>
                <a:lnTo>
                  <a:pt x="4039" y="5554"/>
                </a:lnTo>
                <a:lnTo>
                  <a:pt x="3990" y="5573"/>
                </a:lnTo>
                <a:lnTo>
                  <a:pt x="3934" y="5594"/>
                </a:lnTo>
                <a:lnTo>
                  <a:pt x="3871" y="5615"/>
                </a:lnTo>
                <a:lnTo>
                  <a:pt x="3800" y="5636"/>
                </a:lnTo>
                <a:lnTo>
                  <a:pt x="3723" y="5657"/>
                </a:lnTo>
                <a:lnTo>
                  <a:pt x="3636" y="5678"/>
                </a:lnTo>
                <a:lnTo>
                  <a:pt x="3543" y="5697"/>
                </a:lnTo>
                <a:lnTo>
                  <a:pt x="3440" y="5715"/>
                </a:lnTo>
                <a:lnTo>
                  <a:pt x="3332" y="5730"/>
                </a:lnTo>
                <a:lnTo>
                  <a:pt x="3215" y="5743"/>
                </a:lnTo>
                <a:lnTo>
                  <a:pt x="3090" y="5751"/>
                </a:lnTo>
                <a:lnTo>
                  <a:pt x="2955" y="5758"/>
                </a:lnTo>
                <a:lnTo>
                  <a:pt x="2814" y="5760"/>
                </a:lnTo>
                <a:lnTo>
                  <a:pt x="2673" y="5758"/>
                </a:lnTo>
                <a:lnTo>
                  <a:pt x="2540" y="5751"/>
                </a:lnTo>
                <a:lnTo>
                  <a:pt x="2415" y="5743"/>
                </a:lnTo>
                <a:lnTo>
                  <a:pt x="2298" y="5729"/>
                </a:lnTo>
                <a:lnTo>
                  <a:pt x="2190" y="5715"/>
                </a:lnTo>
                <a:lnTo>
                  <a:pt x="2088" y="5697"/>
                </a:lnTo>
                <a:lnTo>
                  <a:pt x="1996" y="5678"/>
                </a:lnTo>
                <a:lnTo>
                  <a:pt x="1912" y="5657"/>
                </a:lnTo>
                <a:lnTo>
                  <a:pt x="1834" y="5636"/>
                </a:lnTo>
                <a:lnTo>
                  <a:pt x="1764" y="5615"/>
                </a:lnTo>
                <a:lnTo>
                  <a:pt x="1701" y="5592"/>
                </a:lnTo>
                <a:lnTo>
                  <a:pt x="1647" y="5573"/>
                </a:lnTo>
                <a:lnTo>
                  <a:pt x="1600" y="5552"/>
                </a:lnTo>
                <a:lnTo>
                  <a:pt x="1558" y="5535"/>
                </a:lnTo>
                <a:lnTo>
                  <a:pt x="1525" y="5519"/>
                </a:lnTo>
                <a:lnTo>
                  <a:pt x="1499" y="5505"/>
                </a:lnTo>
                <a:lnTo>
                  <a:pt x="1480" y="5493"/>
                </a:lnTo>
                <a:lnTo>
                  <a:pt x="1467" y="5486"/>
                </a:lnTo>
                <a:lnTo>
                  <a:pt x="1460" y="5482"/>
                </a:lnTo>
                <a:lnTo>
                  <a:pt x="1441" y="5465"/>
                </a:lnTo>
                <a:lnTo>
                  <a:pt x="1431" y="5442"/>
                </a:lnTo>
                <a:lnTo>
                  <a:pt x="1426" y="5418"/>
                </a:lnTo>
                <a:lnTo>
                  <a:pt x="1426" y="5224"/>
                </a:lnTo>
                <a:lnTo>
                  <a:pt x="1424" y="5116"/>
                </a:lnTo>
                <a:lnTo>
                  <a:pt x="1424" y="5009"/>
                </a:lnTo>
                <a:lnTo>
                  <a:pt x="1426" y="4903"/>
                </a:lnTo>
                <a:lnTo>
                  <a:pt x="1429" y="4798"/>
                </a:lnTo>
                <a:lnTo>
                  <a:pt x="1436" y="4697"/>
                </a:lnTo>
                <a:lnTo>
                  <a:pt x="1446" y="4596"/>
                </a:lnTo>
                <a:lnTo>
                  <a:pt x="1460" y="4500"/>
                </a:lnTo>
                <a:lnTo>
                  <a:pt x="1481" y="4406"/>
                </a:lnTo>
                <a:lnTo>
                  <a:pt x="1508" y="4313"/>
                </a:lnTo>
                <a:lnTo>
                  <a:pt x="1539" y="4226"/>
                </a:lnTo>
                <a:lnTo>
                  <a:pt x="1579" y="4144"/>
                </a:lnTo>
                <a:lnTo>
                  <a:pt x="1628" y="4063"/>
                </a:lnTo>
                <a:lnTo>
                  <a:pt x="1490" y="4041"/>
                </a:lnTo>
                <a:lnTo>
                  <a:pt x="1356" y="4008"/>
                </a:lnTo>
                <a:lnTo>
                  <a:pt x="1227" y="3966"/>
                </a:lnTo>
                <a:lnTo>
                  <a:pt x="1101" y="3915"/>
                </a:lnTo>
                <a:lnTo>
                  <a:pt x="981" y="3856"/>
                </a:lnTo>
                <a:lnTo>
                  <a:pt x="866" y="3789"/>
                </a:lnTo>
                <a:lnTo>
                  <a:pt x="757" y="3714"/>
                </a:lnTo>
                <a:lnTo>
                  <a:pt x="653" y="3631"/>
                </a:lnTo>
                <a:lnTo>
                  <a:pt x="557" y="3542"/>
                </a:lnTo>
                <a:lnTo>
                  <a:pt x="466" y="3446"/>
                </a:lnTo>
                <a:lnTo>
                  <a:pt x="382" y="3344"/>
                </a:lnTo>
                <a:lnTo>
                  <a:pt x="306" y="3236"/>
                </a:lnTo>
                <a:lnTo>
                  <a:pt x="238" y="3123"/>
                </a:lnTo>
                <a:lnTo>
                  <a:pt x="176" y="3004"/>
                </a:lnTo>
                <a:lnTo>
                  <a:pt x="124" y="2882"/>
                </a:lnTo>
                <a:lnTo>
                  <a:pt x="81" y="2754"/>
                </a:lnTo>
                <a:lnTo>
                  <a:pt x="46" y="2623"/>
                </a:lnTo>
                <a:lnTo>
                  <a:pt x="21" y="2489"/>
                </a:lnTo>
                <a:lnTo>
                  <a:pt x="5" y="2353"/>
                </a:lnTo>
                <a:lnTo>
                  <a:pt x="0" y="2211"/>
                </a:lnTo>
                <a:lnTo>
                  <a:pt x="5" y="2074"/>
                </a:lnTo>
                <a:lnTo>
                  <a:pt x="21" y="1936"/>
                </a:lnTo>
                <a:lnTo>
                  <a:pt x="46" y="1803"/>
                </a:lnTo>
                <a:lnTo>
                  <a:pt x="81" y="1674"/>
                </a:lnTo>
                <a:lnTo>
                  <a:pt x="122" y="1546"/>
                </a:lnTo>
                <a:lnTo>
                  <a:pt x="175" y="1426"/>
                </a:lnTo>
                <a:lnTo>
                  <a:pt x="234" y="1307"/>
                </a:lnTo>
                <a:lnTo>
                  <a:pt x="302" y="1196"/>
                </a:lnTo>
                <a:lnTo>
                  <a:pt x="377" y="1089"/>
                </a:lnTo>
                <a:lnTo>
                  <a:pt x="459" y="988"/>
                </a:lnTo>
                <a:lnTo>
                  <a:pt x="548" y="892"/>
                </a:lnTo>
                <a:lnTo>
                  <a:pt x="644" y="803"/>
                </a:lnTo>
                <a:lnTo>
                  <a:pt x="745" y="721"/>
                </a:lnTo>
                <a:lnTo>
                  <a:pt x="852" y="646"/>
                </a:lnTo>
                <a:lnTo>
                  <a:pt x="963" y="578"/>
                </a:lnTo>
                <a:lnTo>
                  <a:pt x="1082" y="518"/>
                </a:lnTo>
                <a:lnTo>
                  <a:pt x="1202" y="466"/>
                </a:lnTo>
                <a:lnTo>
                  <a:pt x="1330" y="424"/>
                </a:lnTo>
                <a:lnTo>
                  <a:pt x="1459" y="389"/>
                </a:lnTo>
                <a:lnTo>
                  <a:pt x="1591" y="365"/>
                </a:lnTo>
                <a:lnTo>
                  <a:pt x="1729" y="349"/>
                </a:lnTo>
                <a:lnTo>
                  <a:pt x="1867" y="344"/>
                </a:lnTo>
                <a:lnTo>
                  <a:pt x="2003" y="349"/>
                </a:lnTo>
                <a:lnTo>
                  <a:pt x="2137" y="363"/>
                </a:lnTo>
                <a:lnTo>
                  <a:pt x="2270" y="387"/>
                </a:lnTo>
                <a:lnTo>
                  <a:pt x="2399" y="421"/>
                </a:lnTo>
                <a:lnTo>
                  <a:pt x="2526" y="463"/>
                </a:lnTo>
                <a:lnTo>
                  <a:pt x="2648" y="515"/>
                </a:lnTo>
                <a:lnTo>
                  <a:pt x="2767" y="574"/>
                </a:lnTo>
                <a:lnTo>
                  <a:pt x="2882" y="644"/>
                </a:lnTo>
                <a:lnTo>
                  <a:pt x="2992" y="721"/>
                </a:lnTo>
                <a:lnTo>
                  <a:pt x="3097" y="806"/>
                </a:lnTo>
                <a:lnTo>
                  <a:pt x="3116" y="710"/>
                </a:lnTo>
                <a:lnTo>
                  <a:pt x="3146" y="618"/>
                </a:lnTo>
                <a:lnTo>
                  <a:pt x="3184" y="531"/>
                </a:lnTo>
                <a:lnTo>
                  <a:pt x="3229" y="447"/>
                </a:lnTo>
                <a:lnTo>
                  <a:pt x="3283" y="370"/>
                </a:lnTo>
                <a:lnTo>
                  <a:pt x="3345" y="297"/>
                </a:lnTo>
                <a:lnTo>
                  <a:pt x="3413" y="232"/>
                </a:lnTo>
                <a:lnTo>
                  <a:pt x="3488" y="175"/>
                </a:lnTo>
                <a:lnTo>
                  <a:pt x="3568" y="122"/>
                </a:lnTo>
                <a:lnTo>
                  <a:pt x="3653" y="80"/>
                </a:lnTo>
                <a:lnTo>
                  <a:pt x="3742" y="45"/>
                </a:lnTo>
                <a:lnTo>
                  <a:pt x="3836" y="21"/>
                </a:lnTo>
                <a:lnTo>
                  <a:pt x="3934" y="5"/>
                </a:lnTo>
                <a:lnTo>
                  <a:pt x="4034"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latin typeface="Calibri" panose="020F0502020204030204"/>
            </a:endParaRPr>
          </a:p>
        </p:txBody>
      </p:sp>
      <p:sp>
        <p:nvSpPr>
          <p:cNvPr id="18" name="Freeform 9">
            <a:extLst>
              <a:ext uri="{FF2B5EF4-FFF2-40B4-BE49-F238E27FC236}">
                <a16:creationId xmlns:a16="http://schemas.microsoft.com/office/drawing/2014/main" id="{C95818C2-2039-4E4F-88FE-F247F90DF096}"/>
              </a:ext>
            </a:extLst>
          </p:cNvPr>
          <p:cNvSpPr>
            <a:spLocks noChangeAspect="1" noEditPoints="1"/>
          </p:cNvSpPr>
          <p:nvPr/>
        </p:nvSpPr>
        <p:spPr bwMode="auto">
          <a:xfrm>
            <a:off x="2528714" y="2042941"/>
            <a:ext cx="654513" cy="653758"/>
          </a:xfrm>
          <a:custGeom>
            <a:avLst/>
            <a:gdLst>
              <a:gd name="T0" fmla="*/ 3978 w 4799"/>
              <a:gd name="T1" fmla="*/ 1461 h 4795"/>
              <a:gd name="T2" fmla="*/ 4071 w 4799"/>
              <a:gd name="T3" fmla="*/ 896 h 4795"/>
              <a:gd name="T4" fmla="*/ 3837 w 4799"/>
              <a:gd name="T5" fmla="*/ 1419 h 4795"/>
              <a:gd name="T6" fmla="*/ 703 w 4799"/>
              <a:gd name="T7" fmla="*/ 2974 h 4795"/>
              <a:gd name="T8" fmla="*/ 703 w 4799"/>
              <a:gd name="T9" fmla="*/ 3120 h 4795"/>
              <a:gd name="T10" fmla="*/ 3978 w 4799"/>
              <a:gd name="T11" fmla="*/ 1461 h 4795"/>
              <a:gd name="T12" fmla="*/ 3187 w 4799"/>
              <a:gd name="T13" fmla="*/ 2862 h 4795"/>
              <a:gd name="T14" fmla="*/ 3187 w 4799"/>
              <a:gd name="T15" fmla="*/ 3931 h 4795"/>
              <a:gd name="T16" fmla="*/ 3333 w 4799"/>
              <a:gd name="T17" fmla="*/ 3931 h 4795"/>
              <a:gd name="T18" fmla="*/ 3260 w 4799"/>
              <a:gd name="T19" fmla="*/ 2789 h 4795"/>
              <a:gd name="T20" fmla="*/ 3187 w 4799"/>
              <a:gd name="T21" fmla="*/ 2862 h 4795"/>
              <a:gd name="T22" fmla="*/ 2334 w 4799"/>
              <a:gd name="T23" fmla="*/ 3294 h 4795"/>
              <a:gd name="T24" fmla="*/ 2408 w 4799"/>
              <a:gd name="T25" fmla="*/ 4005 h 4795"/>
              <a:gd name="T26" fmla="*/ 2481 w 4799"/>
              <a:gd name="T27" fmla="*/ 3294 h 4795"/>
              <a:gd name="T28" fmla="*/ 2334 w 4799"/>
              <a:gd name="T29" fmla="*/ 3294 h 4795"/>
              <a:gd name="T30" fmla="*/ 3955 w 4799"/>
              <a:gd name="T31" fmla="*/ 1930 h 4795"/>
              <a:gd name="T32" fmla="*/ 3955 w 4799"/>
              <a:gd name="T33" fmla="*/ 3931 h 4795"/>
              <a:gd name="T34" fmla="*/ 4101 w 4799"/>
              <a:gd name="T35" fmla="*/ 3931 h 4795"/>
              <a:gd name="T36" fmla="*/ 4028 w 4799"/>
              <a:gd name="T37" fmla="*/ 1857 h 4795"/>
              <a:gd name="T38" fmla="*/ 3955 w 4799"/>
              <a:gd name="T39" fmla="*/ 1930 h 4795"/>
              <a:gd name="T40" fmla="*/ 779 w 4799"/>
              <a:gd name="T41" fmla="*/ 3479 h 4795"/>
              <a:gd name="T42" fmla="*/ 706 w 4799"/>
              <a:gd name="T43" fmla="*/ 3931 h 4795"/>
              <a:gd name="T44" fmla="*/ 852 w 4799"/>
              <a:gd name="T45" fmla="*/ 3931 h 4795"/>
              <a:gd name="T46" fmla="*/ 779 w 4799"/>
              <a:gd name="T47" fmla="*/ 3479 h 4795"/>
              <a:gd name="T48" fmla="*/ 1490 w 4799"/>
              <a:gd name="T49" fmla="*/ 3449 h 4795"/>
              <a:gd name="T50" fmla="*/ 1490 w 4799"/>
              <a:gd name="T51" fmla="*/ 3931 h 4795"/>
              <a:gd name="T52" fmla="*/ 1637 w 4799"/>
              <a:gd name="T53" fmla="*/ 3931 h 4795"/>
              <a:gd name="T54" fmla="*/ 1563 w 4799"/>
              <a:gd name="T55" fmla="*/ 3376 h 4795"/>
              <a:gd name="T56" fmla="*/ 1490 w 4799"/>
              <a:gd name="T57" fmla="*/ 3449 h 4795"/>
              <a:gd name="T58" fmla="*/ 4799 w 4799"/>
              <a:gd name="T59" fmla="*/ 351 h 4795"/>
              <a:gd name="T60" fmla="*/ 4448 w 4799"/>
              <a:gd name="T61" fmla="*/ 4795 h 4795"/>
              <a:gd name="T62" fmla="*/ 1106 w 4799"/>
              <a:gd name="T63" fmla="*/ 4721 h 4795"/>
              <a:gd name="T64" fmla="*/ 4448 w 4799"/>
              <a:gd name="T65" fmla="*/ 4648 h 4795"/>
              <a:gd name="T66" fmla="*/ 4653 w 4799"/>
              <a:gd name="T67" fmla="*/ 351 h 4795"/>
              <a:gd name="T68" fmla="*/ 351 w 4799"/>
              <a:gd name="T69" fmla="*/ 146 h 4795"/>
              <a:gd name="T70" fmla="*/ 146 w 4799"/>
              <a:gd name="T71" fmla="*/ 4443 h 4795"/>
              <a:gd name="T72" fmla="*/ 415 w 4799"/>
              <a:gd name="T73" fmla="*/ 4648 h 4795"/>
              <a:gd name="T74" fmla="*/ 415 w 4799"/>
              <a:gd name="T75" fmla="*/ 4795 h 4795"/>
              <a:gd name="T76" fmla="*/ 0 w 4799"/>
              <a:gd name="T77" fmla="*/ 4443 h 4795"/>
              <a:gd name="T78" fmla="*/ 351 w 4799"/>
              <a:gd name="T79" fmla="*/ 0 h 4795"/>
              <a:gd name="T80" fmla="*/ 4799 w 4799"/>
              <a:gd name="T81" fmla="*/ 351 h 4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99" h="4795">
                <a:moveTo>
                  <a:pt x="3978" y="1461"/>
                </a:moveTo>
                <a:lnTo>
                  <a:pt x="3978" y="1461"/>
                </a:lnTo>
                <a:lnTo>
                  <a:pt x="4225" y="1533"/>
                </a:lnTo>
                <a:lnTo>
                  <a:pt x="4071" y="896"/>
                </a:lnTo>
                <a:lnTo>
                  <a:pt x="3595" y="1348"/>
                </a:lnTo>
                <a:lnTo>
                  <a:pt x="3837" y="1419"/>
                </a:lnTo>
                <a:cubicBezTo>
                  <a:pt x="3442" y="2353"/>
                  <a:pt x="2514" y="2974"/>
                  <a:pt x="1494" y="2974"/>
                </a:cubicBezTo>
                <a:lnTo>
                  <a:pt x="703" y="2974"/>
                </a:lnTo>
                <a:cubicBezTo>
                  <a:pt x="662" y="2974"/>
                  <a:pt x="630" y="3007"/>
                  <a:pt x="630" y="3047"/>
                </a:cubicBezTo>
                <a:cubicBezTo>
                  <a:pt x="630" y="3088"/>
                  <a:pt x="662" y="3120"/>
                  <a:pt x="703" y="3120"/>
                </a:cubicBezTo>
                <a:lnTo>
                  <a:pt x="1494" y="3120"/>
                </a:lnTo>
                <a:cubicBezTo>
                  <a:pt x="2578" y="3120"/>
                  <a:pt x="3564" y="2457"/>
                  <a:pt x="3978" y="1461"/>
                </a:cubicBezTo>
                <a:lnTo>
                  <a:pt x="3978" y="1461"/>
                </a:lnTo>
                <a:close/>
                <a:moveTo>
                  <a:pt x="3187" y="2862"/>
                </a:moveTo>
                <a:lnTo>
                  <a:pt x="3187" y="2862"/>
                </a:lnTo>
                <a:lnTo>
                  <a:pt x="3187" y="3931"/>
                </a:lnTo>
                <a:cubicBezTo>
                  <a:pt x="3187" y="3972"/>
                  <a:pt x="3219" y="4005"/>
                  <a:pt x="3260" y="4005"/>
                </a:cubicBezTo>
                <a:cubicBezTo>
                  <a:pt x="3300" y="4005"/>
                  <a:pt x="3333" y="3972"/>
                  <a:pt x="3333" y="3931"/>
                </a:cubicBezTo>
                <a:lnTo>
                  <a:pt x="3333" y="2862"/>
                </a:lnTo>
                <a:cubicBezTo>
                  <a:pt x="3333" y="2822"/>
                  <a:pt x="3300" y="2789"/>
                  <a:pt x="3260" y="2789"/>
                </a:cubicBezTo>
                <a:cubicBezTo>
                  <a:pt x="3219" y="2789"/>
                  <a:pt x="3187" y="2822"/>
                  <a:pt x="3187" y="2862"/>
                </a:cubicBezTo>
                <a:lnTo>
                  <a:pt x="3187" y="2862"/>
                </a:lnTo>
                <a:close/>
                <a:moveTo>
                  <a:pt x="2334" y="3294"/>
                </a:moveTo>
                <a:lnTo>
                  <a:pt x="2334" y="3294"/>
                </a:lnTo>
                <a:lnTo>
                  <a:pt x="2334" y="3931"/>
                </a:lnTo>
                <a:cubicBezTo>
                  <a:pt x="2334" y="3972"/>
                  <a:pt x="2367" y="4005"/>
                  <a:pt x="2408" y="4005"/>
                </a:cubicBezTo>
                <a:cubicBezTo>
                  <a:pt x="2448" y="4005"/>
                  <a:pt x="2481" y="3972"/>
                  <a:pt x="2481" y="3931"/>
                </a:cubicBezTo>
                <a:lnTo>
                  <a:pt x="2481" y="3294"/>
                </a:lnTo>
                <a:cubicBezTo>
                  <a:pt x="2481" y="3253"/>
                  <a:pt x="2448" y="3220"/>
                  <a:pt x="2408" y="3220"/>
                </a:cubicBezTo>
                <a:cubicBezTo>
                  <a:pt x="2367" y="3220"/>
                  <a:pt x="2334" y="3253"/>
                  <a:pt x="2334" y="3294"/>
                </a:cubicBezTo>
                <a:lnTo>
                  <a:pt x="2334" y="3294"/>
                </a:lnTo>
                <a:close/>
                <a:moveTo>
                  <a:pt x="3955" y="1930"/>
                </a:moveTo>
                <a:lnTo>
                  <a:pt x="3955" y="1930"/>
                </a:lnTo>
                <a:lnTo>
                  <a:pt x="3955" y="3931"/>
                </a:lnTo>
                <a:cubicBezTo>
                  <a:pt x="3955" y="3972"/>
                  <a:pt x="3988" y="4005"/>
                  <a:pt x="4028" y="4005"/>
                </a:cubicBezTo>
                <a:cubicBezTo>
                  <a:pt x="4068" y="4005"/>
                  <a:pt x="4101" y="3972"/>
                  <a:pt x="4101" y="3931"/>
                </a:cubicBezTo>
                <a:lnTo>
                  <a:pt x="4101" y="1930"/>
                </a:lnTo>
                <a:cubicBezTo>
                  <a:pt x="4101" y="1889"/>
                  <a:pt x="4068" y="1857"/>
                  <a:pt x="4028" y="1857"/>
                </a:cubicBezTo>
                <a:cubicBezTo>
                  <a:pt x="3988" y="1857"/>
                  <a:pt x="3955" y="1889"/>
                  <a:pt x="3955" y="1930"/>
                </a:cubicBezTo>
                <a:lnTo>
                  <a:pt x="3955" y="1930"/>
                </a:lnTo>
                <a:close/>
                <a:moveTo>
                  <a:pt x="779" y="3479"/>
                </a:moveTo>
                <a:lnTo>
                  <a:pt x="779" y="3479"/>
                </a:lnTo>
                <a:cubicBezTo>
                  <a:pt x="738" y="3479"/>
                  <a:pt x="706" y="3512"/>
                  <a:pt x="706" y="3552"/>
                </a:cubicBezTo>
                <a:lnTo>
                  <a:pt x="706" y="3931"/>
                </a:lnTo>
                <a:cubicBezTo>
                  <a:pt x="706" y="3972"/>
                  <a:pt x="738" y="4005"/>
                  <a:pt x="779" y="4005"/>
                </a:cubicBezTo>
                <a:cubicBezTo>
                  <a:pt x="819" y="4005"/>
                  <a:pt x="852" y="3972"/>
                  <a:pt x="852" y="3931"/>
                </a:cubicBezTo>
                <a:lnTo>
                  <a:pt x="852" y="3552"/>
                </a:lnTo>
                <a:cubicBezTo>
                  <a:pt x="852" y="3512"/>
                  <a:pt x="819" y="3479"/>
                  <a:pt x="779" y="3479"/>
                </a:cubicBezTo>
                <a:lnTo>
                  <a:pt x="779" y="3479"/>
                </a:lnTo>
                <a:close/>
                <a:moveTo>
                  <a:pt x="1490" y="3449"/>
                </a:moveTo>
                <a:lnTo>
                  <a:pt x="1490" y="3449"/>
                </a:lnTo>
                <a:lnTo>
                  <a:pt x="1490" y="3931"/>
                </a:lnTo>
                <a:cubicBezTo>
                  <a:pt x="1490" y="3972"/>
                  <a:pt x="1523" y="4005"/>
                  <a:pt x="1563" y="4005"/>
                </a:cubicBezTo>
                <a:cubicBezTo>
                  <a:pt x="1604" y="4005"/>
                  <a:pt x="1637" y="3972"/>
                  <a:pt x="1637" y="3931"/>
                </a:cubicBezTo>
                <a:lnTo>
                  <a:pt x="1637" y="3449"/>
                </a:lnTo>
                <a:cubicBezTo>
                  <a:pt x="1637" y="3408"/>
                  <a:pt x="1604" y="3376"/>
                  <a:pt x="1563" y="3376"/>
                </a:cubicBezTo>
                <a:cubicBezTo>
                  <a:pt x="1523" y="3376"/>
                  <a:pt x="1490" y="3408"/>
                  <a:pt x="1490" y="3449"/>
                </a:cubicBezTo>
                <a:lnTo>
                  <a:pt x="1490" y="3449"/>
                </a:lnTo>
                <a:close/>
                <a:moveTo>
                  <a:pt x="4799" y="351"/>
                </a:moveTo>
                <a:lnTo>
                  <a:pt x="4799" y="351"/>
                </a:lnTo>
                <a:lnTo>
                  <a:pt x="4799" y="4443"/>
                </a:lnTo>
                <a:cubicBezTo>
                  <a:pt x="4799" y="4637"/>
                  <a:pt x="4642" y="4795"/>
                  <a:pt x="4448" y="4795"/>
                </a:cubicBezTo>
                <a:lnTo>
                  <a:pt x="1179" y="4795"/>
                </a:lnTo>
                <a:cubicBezTo>
                  <a:pt x="1138" y="4795"/>
                  <a:pt x="1106" y="4762"/>
                  <a:pt x="1106" y="4721"/>
                </a:cubicBezTo>
                <a:cubicBezTo>
                  <a:pt x="1106" y="4681"/>
                  <a:pt x="1138" y="4648"/>
                  <a:pt x="1179" y="4648"/>
                </a:cubicBezTo>
                <a:lnTo>
                  <a:pt x="4448" y="4648"/>
                </a:lnTo>
                <a:cubicBezTo>
                  <a:pt x="4561" y="4648"/>
                  <a:pt x="4653" y="4556"/>
                  <a:pt x="4653" y="4443"/>
                </a:cubicBezTo>
                <a:lnTo>
                  <a:pt x="4653" y="351"/>
                </a:lnTo>
                <a:cubicBezTo>
                  <a:pt x="4653" y="238"/>
                  <a:pt x="4561" y="146"/>
                  <a:pt x="4448" y="146"/>
                </a:cubicBezTo>
                <a:lnTo>
                  <a:pt x="351" y="146"/>
                </a:lnTo>
                <a:cubicBezTo>
                  <a:pt x="238" y="146"/>
                  <a:pt x="146" y="238"/>
                  <a:pt x="146" y="351"/>
                </a:cubicBezTo>
                <a:lnTo>
                  <a:pt x="146" y="4443"/>
                </a:lnTo>
                <a:cubicBezTo>
                  <a:pt x="146" y="4556"/>
                  <a:pt x="238" y="4648"/>
                  <a:pt x="351" y="4648"/>
                </a:cubicBezTo>
                <a:lnTo>
                  <a:pt x="415" y="4648"/>
                </a:lnTo>
                <a:cubicBezTo>
                  <a:pt x="455" y="4648"/>
                  <a:pt x="488" y="4681"/>
                  <a:pt x="488" y="4721"/>
                </a:cubicBezTo>
                <a:cubicBezTo>
                  <a:pt x="488" y="4762"/>
                  <a:pt x="455" y="4795"/>
                  <a:pt x="415" y="4795"/>
                </a:cubicBezTo>
                <a:lnTo>
                  <a:pt x="351" y="4795"/>
                </a:lnTo>
                <a:cubicBezTo>
                  <a:pt x="157" y="4795"/>
                  <a:pt x="0" y="4637"/>
                  <a:pt x="0" y="4443"/>
                </a:cubicBezTo>
                <a:lnTo>
                  <a:pt x="0" y="351"/>
                </a:lnTo>
                <a:cubicBezTo>
                  <a:pt x="0" y="157"/>
                  <a:pt x="157" y="0"/>
                  <a:pt x="351" y="0"/>
                </a:cubicBezTo>
                <a:lnTo>
                  <a:pt x="4448" y="0"/>
                </a:lnTo>
                <a:cubicBezTo>
                  <a:pt x="4642" y="0"/>
                  <a:pt x="4799" y="157"/>
                  <a:pt x="4799" y="351"/>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latin typeface="Calibri" panose="020F0502020204030204"/>
            </a:endParaRPr>
          </a:p>
        </p:txBody>
      </p:sp>
    </p:spTree>
    <p:extLst>
      <p:ext uri="{BB962C8B-B14F-4D97-AF65-F5344CB8AC3E}">
        <p14:creationId xmlns:p14="http://schemas.microsoft.com/office/powerpoint/2010/main" val="386089291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NUM" val="25"/>
</p:tagLst>
</file>

<file path=ppt/tags/tag101.xml><?xml version="1.0" encoding="utf-8"?>
<p:tagLst xmlns:a="http://schemas.openxmlformats.org/drawingml/2006/main" xmlns:r="http://schemas.openxmlformats.org/officeDocument/2006/relationships" xmlns:p="http://schemas.openxmlformats.org/presentationml/2006/main">
  <p:tag name="NUM" val="26"/>
</p:tagLst>
</file>

<file path=ppt/tags/tag102.xml><?xml version="1.0" encoding="utf-8"?>
<p:tagLst xmlns:a="http://schemas.openxmlformats.org/drawingml/2006/main" xmlns:r="http://schemas.openxmlformats.org/officeDocument/2006/relationships" xmlns:p="http://schemas.openxmlformats.org/presentationml/2006/main">
  <p:tag name="NUM" val="27"/>
</p:tagLst>
</file>

<file path=ppt/tags/tag103.xml><?xml version="1.0" encoding="utf-8"?>
<p:tagLst xmlns:a="http://schemas.openxmlformats.org/drawingml/2006/main" xmlns:r="http://schemas.openxmlformats.org/officeDocument/2006/relationships" xmlns:p="http://schemas.openxmlformats.org/presentationml/2006/main">
  <p:tag name="NUM" val="21"/>
</p:tagLst>
</file>

<file path=ppt/tags/tag104.xml><?xml version="1.0" encoding="utf-8"?>
<p:tagLst xmlns:a="http://schemas.openxmlformats.org/drawingml/2006/main" xmlns:r="http://schemas.openxmlformats.org/officeDocument/2006/relationships" xmlns:p="http://schemas.openxmlformats.org/presentationml/2006/main">
  <p:tag name="NUM" val="22"/>
</p:tagLst>
</file>

<file path=ppt/tags/tag105.xml><?xml version="1.0" encoding="utf-8"?>
<p:tagLst xmlns:a="http://schemas.openxmlformats.org/drawingml/2006/main" xmlns:r="http://schemas.openxmlformats.org/officeDocument/2006/relationships" xmlns:p="http://schemas.openxmlformats.org/presentationml/2006/main">
  <p:tag name="NUM" val="45"/>
</p:tagLst>
</file>

<file path=ppt/tags/tag106.xml><?xml version="1.0" encoding="utf-8"?>
<p:tagLst xmlns:a="http://schemas.openxmlformats.org/drawingml/2006/main" xmlns:r="http://schemas.openxmlformats.org/officeDocument/2006/relationships" xmlns:p="http://schemas.openxmlformats.org/presentationml/2006/main">
  <p:tag name="NUM" val="35"/>
</p:tagLst>
</file>

<file path=ppt/tags/tag107.xml><?xml version="1.0" encoding="utf-8"?>
<p:tagLst xmlns:a="http://schemas.openxmlformats.org/drawingml/2006/main" xmlns:r="http://schemas.openxmlformats.org/officeDocument/2006/relationships" xmlns:p="http://schemas.openxmlformats.org/presentationml/2006/main">
  <p:tag name="NUM" val="1"/>
</p:tagLst>
</file>

<file path=ppt/tags/tag108.xml><?xml version="1.0" encoding="utf-8"?>
<p:tagLst xmlns:a="http://schemas.openxmlformats.org/drawingml/2006/main" xmlns:r="http://schemas.openxmlformats.org/officeDocument/2006/relationships" xmlns:p="http://schemas.openxmlformats.org/presentationml/2006/main">
  <p:tag name="NUM" val="2"/>
</p:tagLst>
</file>

<file path=ppt/tags/tag109.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NUM" val="4"/>
</p:tagLst>
</file>

<file path=ppt/tags/tag111.xml><?xml version="1.0" encoding="utf-8"?>
<p:tagLst xmlns:a="http://schemas.openxmlformats.org/drawingml/2006/main" xmlns:r="http://schemas.openxmlformats.org/officeDocument/2006/relationships" xmlns:p="http://schemas.openxmlformats.org/presentationml/2006/main">
  <p:tag name="NUM" val="5"/>
</p:tagLst>
</file>

<file path=ppt/tags/tag112.xml><?xml version="1.0" encoding="utf-8"?>
<p:tagLst xmlns:a="http://schemas.openxmlformats.org/drawingml/2006/main" xmlns:r="http://schemas.openxmlformats.org/officeDocument/2006/relationships" xmlns:p="http://schemas.openxmlformats.org/presentationml/2006/main">
  <p:tag name="NUM" val="6"/>
</p:tagLst>
</file>

<file path=ppt/tags/tag113.xml><?xml version="1.0" encoding="utf-8"?>
<p:tagLst xmlns:a="http://schemas.openxmlformats.org/drawingml/2006/main" xmlns:r="http://schemas.openxmlformats.org/officeDocument/2006/relationships" xmlns:p="http://schemas.openxmlformats.org/presentationml/2006/main">
  <p:tag name="NUM" val="7"/>
</p:tagLst>
</file>

<file path=ppt/tags/tag114.xml><?xml version="1.0" encoding="utf-8"?>
<p:tagLst xmlns:a="http://schemas.openxmlformats.org/drawingml/2006/main" xmlns:r="http://schemas.openxmlformats.org/officeDocument/2006/relationships" xmlns:p="http://schemas.openxmlformats.org/presentationml/2006/main">
  <p:tag name="NUM" val="8"/>
</p:tagLst>
</file>

<file path=ppt/tags/tag115.xml><?xml version="1.0" encoding="utf-8"?>
<p:tagLst xmlns:a="http://schemas.openxmlformats.org/drawingml/2006/main" xmlns:r="http://schemas.openxmlformats.org/officeDocument/2006/relationships" xmlns:p="http://schemas.openxmlformats.org/presentationml/2006/main">
  <p:tag name="NUM" val="9"/>
</p:tagLst>
</file>

<file path=ppt/tags/tag116.xml><?xml version="1.0" encoding="utf-8"?>
<p:tagLst xmlns:a="http://schemas.openxmlformats.org/drawingml/2006/main" xmlns:r="http://schemas.openxmlformats.org/officeDocument/2006/relationships" xmlns:p="http://schemas.openxmlformats.org/presentationml/2006/main">
  <p:tag name="NUM" val="10"/>
</p:tagLst>
</file>

<file path=ppt/tags/tag117.xml><?xml version="1.0" encoding="utf-8"?>
<p:tagLst xmlns:a="http://schemas.openxmlformats.org/drawingml/2006/main" xmlns:r="http://schemas.openxmlformats.org/officeDocument/2006/relationships" xmlns:p="http://schemas.openxmlformats.org/presentationml/2006/main">
  <p:tag name="NUM" val="11"/>
</p:tagLst>
</file>

<file path=ppt/tags/tag118.xml><?xml version="1.0" encoding="utf-8"?>
<p:tagLst xmlns:a="http://schemas.openxmlformats.org/drawingml/2006/main" xmlns:r="http://schemas.openxmlformats.org/officeDocument/2006/relationships" xmlns:p="http://schemas.openxmlformats.org/presentationml/2006/main">
  <p:tag name="NUM" val="12"/>
</p:tagLst>
</file>

<file path=ppt/tags/tag119.xml><?xml version="1.0" encoding="utf-8"?>
<p:tagLst xmlns:a="http://schemas.openxmlformats.org/drawingml/2006/main" xmlns:r="http://schemas.openxmlformats.org/officeDocument/2006/relationships" xmlns:p="http://schemas.openxmlformats.org/presentationml/2006/main">
  <p:tag name="NUM" val="13"/>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NUM" val="14"/>
</p:tagLst>
</file>

<file path=ppt/tags/tag121.xml><?xml version="1.0" encoding="utf-8"?>
<p:tagLst xmlns:a="http://schemas.openxmlformats.org/drawingml/2006/main" xmlns:r="http://schemas.openxmlformats.org/officeDocument/2006/relationships" xmlns:p="http://schemas.openxmlformats.org/presentationml/2006/main">
  <p:tag name="NUM" val="15"/>
</p:tagLst>
</file>

<file path=ppt/tags/tag122.xml><?xml version="1.0" encoding="utf-8"?>
<p:tagLst xmlns:a="http://schemas.openxmlformats.org/drawingml/2006/main" xmlns:r="http://schemas.openxmlformats.org/officeDocument/2006/relationships" xmlns:p="http://schemas.openxmlformats.org/presentationml/2006/main">
  <p:tag name="NUM" val="16"/>
</p:tagLst>
</file>

<file path=ppt/tags/tag123.xml><?xml version="1.0" encoding="utf-8"?>
<p:tagLst xmlns:a="http://schemas.openxmlformats.org/drawingml/2006/main" xmlns:r="http://schemas.openxmlformats.org/officeDocument/2006/relationships" xmlns:p="http://schemas.openxmlformats.org/presentationml/2006/main">
  <p:tag name="NUM" val="17"/>
</p:tagLst>
</file>

<file path=ppt/tags/tag124.xml><?xml version="1.0" encoding="utf-8"?>
<p:tagLst xmlns:a="http://schemas.openxmlformats.org/drawingml/2006/main" xmlns:r="http://schemas.openxmlformats.org/officeDocument/2006/relationships" xmlns:p="http://schemas.openxmlformats.org/presentationml/2006/main">
  <p:tag name="NUM" val="18"/>
</p:tagLst>
</file>

<file path=ppt/tags/tag125.xml><?xml version="1.0" encoding="utf-8"?>
<p:tagLst xmlns:a="http://schemas.openxmlformats.org/drawingml/2006/main" xmlns:r="http://schemas.openxmlformats.org/officeDocument/2006/relationships" xmlns:p="http://schemas.openxmlformats.org/presentationml/2006/main">
  <p:tag name="NUM" val="19"/>
</p:tagLst>
</file>

<file path=ppt/tags/tag126.xml><?xml version="1.0" encoding="utf-8"?>
<p:tagLst xmlns:a="http://schemas.openxmlformats.org/drawingml/2006/main" xmlns:r="http://schemas.openxmlformats.org/officeDocument/2006/relationships" xmlns:p="http://schemas.openxmlformats.org/presentationml/2006/main">
  <p:tag name="NUM" val="20"/>
</p:tagLst>
</file>

<file path=ppt/tags/tag127.xml><?xml version="1.0" encoding="utf-8"?>
<p:tagLst xmlns:a="http://schemas.openxmlformats.org/drawingml/2006/main" xmlns:r="http://schemas.openxmlformats.org/officeDocument/2006/relationships" xmlns:p="http://schemas.openxmlformats.org/presentationml/2006/main">
  <p:tag name="NUM" val="21"/>
</p:tagLst>
</file>

<file path=ppt/tags/tag128.xml><?xml version="1.0" encoding="utf-8"?>
<p:tagLst xmlns:a="http://schemas.openxmlformats.org/drawingml/2006/main" xmlns:r="http://schemas.openxmlformats.org/officeDocument/2006/relationships" xmlns:p="http://schemas.openxmlformats.org/presentationml/2006/main">
  <p:tag name="NUM" val="22"/>
</p:tagLst>
</file>

<file path=ppt/tags/tag129.xml><?xml version="1.0" encoding="utf-8"?>
<p:tagLst xmlns:a="http://schemas.openxmlformats.org/drawingml/2006/main" xmlns:r="http://schemas.openxmlformats.org/officeDocument/2006/relationships" xmlns:p="http://schemas.openxmlformats.org/presentationml/2006/main">
  <p:tag name="NUM" val="23"/>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NUM" val="24"/>
</p:tagLst>
</file>

<file path=ppt/tags/tag131.xml><?xml version="1.0" encoding="utf-8"?>
<p:tagLst xmlns:a="http://schemas.openxmlformats.org/drawingml/2006/main" xmlns:r="http://schemas.openxmlformats.org/officeDocument/2006/relationships" xmlns:p="http://schemas.openxmlformats.org/presentationml/2006/main">
  <p:tag name="NUM" val="25"/>
</p:tagLst>
</file>

<file path=ppt/tags/tag132.xml><?xml version="1.0" encoding="utf-8"?>
<p:tagLst xmlns:a="http://schemas.openxmlformats.org/drawingml/2006/main" xmlns:r="http://schemas.openxmlformats.org/officeDocument/2006/relationships" xmlns:p="http://schemas.openxmlformats.org/presentationml/2006/main">
  <p:tag name="NUM" val="26"/>
</p:tagLst>
</file>

<file path=ppt/tags/tag133.xml><?xml version="1.0" encoding="utf-8"?>
<p:tagLst xmlns:a="http://schemas.openxmlformats.org/drawingml/2006/main" xmlns:r="http://schemas.openxmlformats.org/officeDocument/2006/relationships" xmlns:p="http://schemas.openxmlformats.org/presentationml/2006/main">
  <p:tag name="NUM" val="27"/>
</p:tagLst>
</file>

<file path=ppt/tags/tag134.xml><?xml version="1.0" encoding="utf-8"?>
<p:tagLst xmlns:a="http://schemas.openxmlformats.org/drawingml/2006/main" xmlns:r="http://schemas.openxmlformats.org/officeDocument/2006/relationships" xmlns:p="http://schemas.openxmlformats.org/presentationml/2006/main">
  <p:tag name="NUM" val="28"/>
</p:tagLst>
</file>

<file path=ppt/tags/tag135.xml><?xml version="1.0" encoding="utf-8"?>
<p:tagLst xmlns:a="http://schemas.openxmlformats.org/drawingml/2006/main" xmlns:r="http://schemas.openxmlformats.org/officeDocument/2006/relationships" xmlns:p="http://schemas.openxmlformats.org/presentationml/2006/main">
  <p:tag name="NUM" val="29"/>
</p:tagLst>
</file>

<file path=ppt/tags/tag136.xml><?xml version="1.0" encoding="utf-8"?>
<p:tagLst xmlns:a="http://schemas.openxmlformats.org/drawingml/2006/main" xmlns:r="http://schemas.openxmlformats.org/officeDocument/2006/relationships" xmlns:p="http://schemas.openxmlformats.org/presentationml/2006/main">
  <p:tag name="NUM" val="31"/>
</p:tagLst>
</file>

<file path=ppt/tags/tag137.xml><?xml version="1.0" encoding="utf-8"?>
<p:tagLst xmlns:a="http://schemas.openxmlformats.org/drawingml/2006/main" xmlns:r="http://schemas.openxmlformats.org/officeDocument/2006/relationships" xmlns:p="http://schemas.openxmlformats.org/presentationml/2006/main">
  <p:tag name="NUM" val="34"/>
</p:tagLst>
</file>

<file path=ppt/tags/tag138.xml><?xml version="1.0" encoding="utf-8"?>
<p:tagLst xmlns:a="http://schemas.openxmlformats.org/drawingml/2006/main" xmlns:r="http://schemas.openxmlformats.org/officeDocument/2006/relationships" xmlns:p="http://schemas.openxmlformats.org/presentationml/2006/main">
  <p:tag name="NUM" val="31"/>
</p:tagLst>
</file>

<file path=ppt/tags/tag139.xml><?xml version="1.0" encoding="utf-8"?>
<p:tagLst xmlns:a="http://schemas.openxmlformats.org/drawingml/2006/main" xmlns:r="http://schemas.openxmlformats.org/officeDocument/2006/relationships" xmlns:p="http://schemas.openxmlformats.org/presentationml/2006/main">
  <p:tag name="NUM" val="23"/>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NUM" val="1"/>
</p:tagLst>
</file>

<file path=ppt/tags/tag62.xml><?xml version="1.0" encoding="utf-8"?>
<p:tagLst xmlns:a="http://schemas.openxmlformats.org/drawingml/2006/main" xmlns:r="http://schemas.openxmlformats.org/officeDocument/2006/relationships" xmlns:p="http://schemas.openxmlformats.org/presentationml/2006/main">
  <p:tag name="NUM" val="2"/>
</p:tagLst>
</file>

<file path=ppt/tags/tag63.xml><?xml version="1.0" encoding="utf-8"?>
<p:tagLst xmlns:a="http://schemas.openxmlformats.org/drawingml/2006/main" xmlns:r="http://schemas.openxmlformats.org/officeDocument/2006/relationships" xmlns:p="http://schemas.openxmlformats.org/presentationml/2006/main">
  <p:tag name="NUM" val="3"/>
</p:tagLst>
</file>

<file path=ppt/tags/tag64.xml><?xml version="1.0" encoding="utf-8"?>
<p:tagLst xmlns:a="http://schemas.openxmlformats.org/drawingml/2006/main" xmlns:r="http://schemas.openxmlformats.org/officeDocument/2006/relationships" xmlns:p="http://schemas.openxmlformats.org/presentationml/2006/main">
  <p:tag name="NUM" val="4"/>
</p:tagLst>
</file>

<file path=ppt/tags/tag65.xml><?xml version="1.0" encoding="utf-8"?>
<p:tagLst xmlns:a="http://schemas.openxmlformats.org/drawingml/2006/main" xmlns:r="http://schemas.openxmlformats.org/officeDocument/2006/relationships" xmlns:p="http://schemas.openxmlformats.org/presentationml/2006/main">
  <p:tag name="NUM" val="5"/>
</p:tagLst>
</file>

<file path=ppt/tags/tag66.xml><?xml version="1.0" encoding="utf-8"?>
<p:tagLst xmlns:a="http://schemas.openxmlformats.org/drawingml/2006/main" xmlns:r="http://schemas.openxmlformats.org/officeDocument/2006/relationships" xmlns:p="http://schemas.openxmlformats.org/presentationml/2006/main">
  <p:tag name="NUM" val="6"/>
</p:tagLst>
</file>

<file path=ppt/tags/tag67.xml><?xml version="1.0" encoding="utf-8"?>
<p:tagLst xmlns:a="http://schemas.openxmlformats.org/drawingml/2006/main" xmlns:r="http://schemas.openxmlformats.org/officeDocument/2006/relationships" xmlns:p="http://schemas.openxmlformats.org/presentationml/2006/main">
  <p:tag name="NUM" val="7"/>
</p:tagLst>
</file>

<file path=ppt/tags/tag68.xml><?xml version="1.0" encoding="utf-8"?>
<p:tagLst xmlns:a="http://schemas.openxmlformats.org/drawingml/2006/main" xmlns:r="http://schemas.openxmlformats.org/officeDocument/2006/relationships" xmlns:p="http://schemas.openxmlformats.org/presentationml/2006/main">
  <p:tag name="NUM" val="8"/>
</p:tagLst>
</file>

<file path=ppt/tags/tag69.xml><?xml version="1.0" encoding="utf-8"?>
<p:tagLst xmlns:a="http://schemas.openxmlformats.org/drawingml/2006/main" xmlns:r="http://schemas.openxmlformats.org/officeDocument/2006/relationships" xmlns:p="http://schemas.openxmlformats.org/presentationml/2006/main">
  <p:tag name="NUM" val="9"/>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NUM" val="10"/>
</p:tagLst>
</file>

<file path=ppt/tags/tag71.xml><?xml version="1.0" encoding="utf-8"?>
<p:tagLst xmlns:a="http://schemas.openxmlformats.org/drawingml/2006/main" xmlns:r="http://schemas.openxmlformats.org/officeDocument/2006/relationships" xmlns:p="http://schemas.openxmlformats.org/presentationml/2006/main">
  <p:tag name="NUM" val="11"/>
</p:tagLst>
</file>

<file path=ppt/tags/tag72.xml><?xml version="1.0" encoding="utf-8"?>
<p:tagLst xmlns:a="http://schemas.openxmlformats.org/drawingml/2006/main" xmlns:r="http://schemas.openxmlformats.org/officeDocument/2006/relationships" xmlns:p="http://schemas.openxmlformats.org/presentationml/2006/main">
  <p:tag name="NUM" val="12"/>
</p:tagLst>
</file>

<file path=ppt/tags/tag73.xml><?xml version="1.0" encoding="utf-8"?>
<p:tagLst xmlns:a="http://schemas.openxmlformats.org/drawingml/2006/main" xmlns:r="http://schemas.openxmlformats.org/officeDocument/2006/relationships" xmlns:p="http://schemas.openxmlformats.org/presentationml/2006/main">
  <p:tag name="NUM" val="13"/>
</p:tagLst>
</file>

<file path=ppt/tags/tag74.xml><?xml version="1.0" encoding="utf-8"?>
<p:tagLst xmlns:a="http://schemas.openxmlformats.org/drawingml/2006/main" xmlns:r="http://schemas.openxmlformats.org/officeDocument/2006/relationships" xmlns:p="http://schemas.openxmlformats.org/presentationml/2006/main">
  <p:tag name="NUM" val="14"/>
</p:tagLst>
</file>

<file path=ppt/tags/tag75.xml><?xml version="1.0" encoding="utf-8"?>
<p:tagLst xmlns:a="http://schemas.openxmlformats.org/drawingml/2006/main" xmlns:r="http://schemas.openxmlformats.org/officeDocument/2006/relationships" xmlns:p="http://schemas.openxmlformats.org/presentationml/2006/main">
  <p:tag name="NUM" val="15"/>
</p:tagLst>
</file>

<file path=ppt/tags/tag76.xml><?xml version="1.0" encoding="utf-8"?>
<p:tagLst xmlns:a="http://schemas.openxmlformats.org/drawingml/2006/main" xmlns:r="http://schemas.openxmlformats.org/officeDocument/2006/relationships" xmlns:p="http://schemas.openxmlformats.org/presentationml/2006/main">
  <p:tag name="NUM" val="16"/>
</p:tagLst>
</file>

<file path=ppt/tags/tag77.xml><?xml version="1.0" encoding="utf-8"?>
<p:tagLst xmlns:a="http://schemas.openxmlformats.org/drawingml/2006/main" xmlns:r="http://schemas.openxmlformats.org/officeDocument/2006/relationships" xmlns:p="http://schemas.openxmlformats.org/presentationml/2006/main">
  <p:tag name="NUM" val="17"/>
</p:tagLst>
</file>

<file path=ppt/tags/tag78.xml><?xml version="1.0" encoding="utf-8"?>
<p:tagLst xmlns:a="http://schemas.openxmlformats.org/drawingml/2006/main" xmlns:r="http://schemas.openxmlformats.org/officeDocument/2006/relationships" xmlns:p="http://schemas.openxmlformats.org/presentationml/2006/main">
  <p:tag name="NUM" val="18"/>
</p:tagLst>
</file>

<file path=ppt/tags/tag79.xml><?xml version="1.0" encoding="utf-8"?>
<p:tagLst xmlns:a="http://schemas.openxmlformats.org/drawingml/2006/main" xmlns:r="http://schemas.openxmlformats.org/officeDocument/2006/relationships" xmlns:p="http://schemas.openxmlformats.org/presentationml/2006/main">
  <p:tag name="NUM" val="19"/>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NUM" val="20"/>
</p:tagLst>
</file>

<file path=ppt/tags/tag81.xml><?xml version="1.0" encoding="utf-8"?>
<p:tagLst xmlns:a="http://schemas.openxmlformats.org/drawingml/2006/main" xmlns:r="http://schemas.openxmlformats.org/officeDocument/2006/relationships" xmlns:p="http://schemas.openxmlformats.org/presentationml/2006/main">
  <p:tag name="NUM" val="31"/>
</p:tagLst>
</file>

<file path=ppt/tags/tag82.xml><?xml version="1.0" encoding="utf-8"?>
<p:tagLst xmlns:a="http://schemas.openxmlformats.org/drawingml/2006/main" xmlns:r="http://schemas.openxmlformats.org/officeDocument/2006/relationships" xmlns:p="http://schemas.openxmlformats.org/presentationml/2006/main">
  <p:tag name="NUM" val="33"/>
</p:tagLst>
</file>

<file path=ppt/tags/tag83.xml><?xml version="1.0" encoding="utf-8"?>
<p:tagLst xmlns:a="http://schemas.openxmlformats.org/drawingml/2006/main" xmlns:r="http://schemas.openxmlformats.org/officeDocument/2006/relationships" xmlns:p="http://schemas.openxmlformats.org/presentationml/2006/main">
  <p:tag name="NUM" val="36"/>
</p:tagLst>
</file>

<file path=ppt/tags/tag84.xml><?xml version="1.0" encoding="utf-8"?>
<p:tagLst xmlns:a="http://schemas.openxmlformats.org/drawingml/2006/main" xmlns:r="http://schemas.openxmlformats.org/officeDocument/2006/relationships" xmlns:p="http://schemas.openxmlformats.org/presentationml/2006/main">
  <p:tag name="NUM" val="37"/>
</p:tagLst>
</file>

<file path=ppt/tags/tag85.xml><?xml version="1.0" encoding="utf-8"?>
<p:tagLst xmlns:a="http://schemas.openxmlformats.org/drawingml/2006/main" xmlns:r="http://schemas.openxmlformats.org/officeDocument/2006/relationships" xmlns:p="http://schemas.openxmlformats.org/presentationml/2006/main">
  <p:tag name="NUM" val="38"/>
</p:tagLst>
</file>

<file path=ppt/tags/tag86.xml><?xml version="1.0" encoding="utf-8"?>
<p:tagLst xmlns:a="http://schemas.openxmlformats.org/drawingml/2006/main" xmlns:r="http://schemas.openxmlformats.org/officeDocument/2006/relationships" xmlns:p="http://schemas.openxmlformats.org/presentationml/2006/main">
  <p:tag name="NUM" val="39"/>
</p:tagLst>
</file>

<file path=ppt/tags/tag87.xml><?xml version="1.0" encoding="utf-8"?>
<p:tagLst xmlns:a="http://schemas.openxmlformats.org/drawingml/2006/main" xmlns:r="http://schemas.openxmlformats.org/officeDocument/2006/relationships" xmlns:p="http://schemas.openxmlformats.org/presentationml/2006/main">
  <p:tag name="NUM" val="40"/>
</p:tagLst>
</file>

<file path=ppt/tags/tag88.xml><?xml version="1.0" encoding="utf-8"?>
<p:tagLst xmlns:a="http://schemas.openxmlformats.org/drawingml/2006/main" xmlns:r="http://schemas.openxmlformats.org/officeDocument/2006/relationships" xmlns:p="http://schemas.openxmlformats.org/presentationml/2006/main">
  <p:tag name="NUM" val="41"/>
</p:tagLst>
</file>

<file path=ppt/tags/tag89.xml><?xml version="1.0" encoding="utf-8"?>
<p:tagLst xmlns:a="http://schemas.openxmlformats.org/drawingml/2006/main" xmlns:r="http://schemas.openxmlformats.org/officeDocument/2006/relationships" xmlns:p="http://schemas.openxmlformats.org/presentationml/2006/main">
  <p:tag name="NUM" val="42"/>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NUM" val="43"/>
</p:tagLst>
</file>

<file path=ppt/tags/tag91.xml><?xml version="1.0" encoding="utf-8"?>
<p:tagLst xmlns:a="http://schemas.openxmlformats.org/drawingml/2006/main" xmlns:r="http://schemas.openxmlformats.org/officeDocument/2006/relationships" xmlns:p="http://schemas.openxmlformats.org/presentationml/2006/main">
  <p:tag name="NUM" val="44"/>
</p:tagLst>
</file>

<file path=ppt/tags/tag92.xml><?xml version="1.0" encoding="utf-8"?>
<p:tagLst xmlns:a="http://schemas.openxmlformats.org/drawingml/2006/main" xmlns:r="http://schemas.openxmlformats.org/officeDocument/2006/relationships" xmlns:p="http://schemas.openxmlformats.org/presentationml/2006/main">
  <p:tag name="NUM" val="52"/>
</p:tagLst>
</file>

<file path=ppt/tags/tag93.xml><?xml version="1.0" encoding="utf-8"?>
<p:tagLst xmlns:a="http://schemas.openxmlformats.org/drawingml/2006/main" xmlns:r="http://schemas.openxmlformats.org/officeDocument/2006/relationships" xmlns:p="http://schemas.openxmlformats.org/presentationml/2006/main">
  <p:tag name="NUM" val="53"/>
</p:tagLst>
</file>

<file path=ppt/tags/tag94.xml><?xml version="1.0" encoding="utf-8"?>
<p:tagLst xmlns:a="http://schemas.openxmlformats.org/drawingml/2006/main" xmlns:r="http://schemas.openxmlformats.org/officeDocument/2006/relationships" xmlns:p="http://schemas.openxmlformats.org/presentationml/2006/main">
  <p:tag name="NUM" val="66"/>
</p:tagLst>
</file>

<file path=ppt/tags/tag95.xml><?xml version="1.0" encoding="utf-8"?>
<p:tagLst xmlns:a="http://schemas.openxmlformats.org/drawingml/2006/main" xmlns:r="http://schemas.openxmlformats.org/officeDocument/2006/relationships" xmlns:p="http://schemas.openxmlformats.org/presentationml/2006/main">
  <p:tag name="NUM" val="46"/>
</p:tagLst>
</file>

<file path=ppt/tags/tag96.xml><?xml version="1.0" encoding="utf-8"?>
<p:tagLst xmlns:a="http://schemas.openxmlformats.org/drawingml/2006/main" xmlns:r="http://schemas.openxmlformats.org/officeDocument/2006/relationships" xmlns:p="http://schemas.openxmlformats.org/presentationml/2006/main">
  <p:tag name="NUM" val="47"/>
</p:tagLst>
</file>

<file path=ppt/tags/tag97.xml><?xml version="1.0" encoding="utf-8"?>
<p:tagLst xmlns:a="http://schemas.openxmlformats.org/drawingml/2006/main" xmlns:r="http://schemas.openxmlformats.org/officeDocument/2006/relationships" xmlns:p="http://schemas.openxmlformats.org/presentationml/2006/main">
  <p:tag name="NUM" val="48"/>
</p:tagLst>
</file>

<file path=ppt/tags/tag98.xml><?xml version="1.0" encoding="utf-8"?>
<p:tagLst xmlns:a="http://schemas.openxmlformats.org/drawingml/2006/main" xmlns:r="http://schemas.openxmlformats.org/officeDocument/2006/relationships" xmlns:p="http://schemas.openxmlformats.org/presentationml/2006/main">
  <p:tag name="NUM" val="45"/>
</p:tagLst>
</file>

<file path=ppt/tags/tag99.xml><?xml version="1.0" encoding="utf-8"?>
<p:tagLst xmlns:a="http://schemas.openxmlformats.org/drawingml/2006/main" xmlns:r="http://schemas.openxmlformats.org/officeDocument/2006/relationships" xmlns:p="http://schemas.openxmlformats.org/presentationml/2006/main">
  <p:tag name="NUM" val="22"/>
</p:tagLst>
</file>

<file path=ppt/theme/theme1.xml><?xml version="1.0" encoding="utf-8"?>
<a:theme xmlns:a="http://schemas.openxmlformats.org/drawingml/2006/main" name="1_2020-Template-External">
  <a:themeElements>
    <a:clrScheme name="SAS 2020">
      <a:dk1>
        <a:srgbClr val="012036"/>
      </a:dk1>
      <a:lt1>
        <a:srgbClr val="FFFFFF"/>
      </a:lt1>
      <a:dk2>
        <a:srgbClr val="012036"/>
      </a:dk2>
      <a:lt2>
        <a:srgbClr val="768396"/>
      </a:lt2>
      <a:accent1>
        <a:srgbClr val="33A3FF"/>
      </a:accent1>
      <a:accent2>
        <a:srgbClr val="29D6CD"/>
      </a:accent2>
      <a:accent3>
        <a:srgbClr val="15B57B"/>
      </a:accent3>
      <a:accent4>
        <a:srgbClr val="6D69FF"/>
      </a:accent4>
      <a:accent5>
        <a:srgbClr val="86134F"/>
      </a:accent5>
      <a:accent6>
        <a:srgbClr val="FFCC32"/>
      </a:accent6>
      <a:hlink>
        <a:srgbClr val="6D69FF"/>
      </a:hlink>
      <a:folHlink>
        <a:srgbClr val="FFCC3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a:solidFill>
              <a:schemeClr val="bg1"/>
            </a:solidFill>
            <a:latin typeface="+mj-lt"/>
          </a:defRPr>
        </a:defPPr>
      </a:lstStyle>
    </a:txDef>
  </a:objectDefaults>
  <a:extraClrSchemeLst/>
  <a:extLst>
    <a:ext uri="{05A4C25C-085E-4340-85A3-A5531E510DB2}">
      <thm15:themeFamily xmlns:thm15="http://schemas.microsoft.com/office/thememl/2012/main" name="Presentation1" id="{B073ED02-2935-B44A-A6CB-DDD09AF28534}" vid="{3D556F1D-43AC-9A44-A933-3CB7A027B220}"/>
    </a:ext>
  </a:extLst>
</a:theme>
</file>

<file path=ppt/theme/theme2.xml><?xml version="1.0" encoding="utf-8"?>
<a:theme xmlns:a="http://schemas.openxmlformats.org/drawingml/2006/main" name="1_NDA">
  <a:themeElements>
    <a:clrScheme name="SAS 2020">
      <a:dk1>
        <a:srgbClr val="012036"/>
      </a:dk1>
      <a:lt1>
        <a:srgbClr val="FFFFFF"/>
      </a:lt1>
      <a:dk2>
        <a:srgbClr val="012036"/>
      </a:dk2>
      <a:lt2>
        <a:srgbClr val="768396"/>
      </a:lt2>
      <a:accent1>
        <a:srgbClr val="33A3FF"/>
      </a:accent1>
      <a:accent2>
        <a:srgbClr val="29D6CD"/>
      </a:accent2>
      <a:accent3>
        <a:srgbClr val="15B57B"/>
      </a:accent3>
      <a:accent4>
        <a:srgbClr val="6D69FF"/>
      </a:accent4>
      <a:accent5>
        <a:srgbClr val="86134F"/>
      </a:accent5>
      <a:accent6>
        <a:srgbClr val="FFCC32"/>
      </a:accent6>
      <a:hlink>
        <a:srgbClr val="6D69FF"/>
      </a:hlink>
      <a:folHlink>
        <a:srgbClr val="FFCC3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a:solidFill>
              <a:schemeClr val="bg1"/>
            </a:solidFill>
            <a:latin typeface="+mj-lt"/>
          </a:defRPr>
        </a:defPPr>
      </a:lstStyle>
    </a:txDef>
  </a:objectDefaults>
  <a:extraClrSchemeLst/>
  <a:extLst>
    <a:ext uri="{05A4C25C-085E-4340-85A3-A5531E510DB2}">
      <thm15:themeFamily xmlns:thm15="http://schemas.microsoft.com/office/thememl/2012/main" name="Presentation1" id="{B073ED02-2935-B44A-A6CB-DDD09AF28534}" vid="{FD92C41C-E938-6644-A877-2D0FB8407C3F}"/>
    </a:ext>
  </a:extLst>
</a:theme>
</file>

<file path=ppt/theme/theme3.xml><?xml version="1.0" encoding="utf-8"?>
<a:theme xmlns:a="http://schemas.openxmlformats.org/drawingml/2006/main" name="12_2020-Template-External">
  <a:themeElements>
    <a:clrScheme name="Custom 30">
      <a:dk1>
        <a:srgbClr val="012036"/>
      </a:dk1>
      <a:lt1>
        <a:srgbClr val="FFFFFF"/>
      </a:lt1>
      <a:dk2>
        <a:srgbClr val="012036"/>
      </a:dk2>
      <a:lt2>
        <a:srgbClr val="768396"/>
      </a:lt2>
      <a:accent1>
        <a:srgbClr val="33A3FF"/>
      </a:accent1>
      <a:accent2>
        <a:srgbClr val="29D6CD"/>
      </a:accent2>
      <a:accent3>
        <a:srgbClr val="15B57B"/>
      </a:accent3>
      <a:accent4>
        <a:srgbClr val="6D69FF"/>
      </a:accent4>
      <a:accent5>
        <a:srgbClr val="86134F"/>
      </a:accent5>
      <a:accent6>
        <a:srgbClr val="FFCC32"/>
      </a:accent6>
      <a:hlink>
        <a:srgbClr val="FFFFFF"/>
      </a:hlink>
      <a:folHlink>
        <a:srgbClr val="FFCC3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a:solidFill>
              <a:schemeClr val="bg1"/>
            </a:solidFill>
            <a:latin typeface="+mj-lt"/>
          </a:defRPr>
        </a:defPPr>
      </a:lstStyle>
    </a:txDef>
  </a:objectDefaults>
  <a:extraClrSchemeLst/>
  <a:extLst>
    <a:ext uri="{05A4C25C-085E-4340-85A3-A5531E510DB2}">
      <thm15:themeFamily xmlns:thm15="http://schemas.microsoft.com/office/thememl/2012/main" name="Presentation1" id="{B073ED02-2935-B44A-A6CB-DDD09AF28534}" vid="{3D556F1D-43AC-9A44-A933-3CB7A027B220}"/>
    </a:ext>
  </a:extLst>
</a:theme>
</file>

<file path=ppt/theme/theme4.xml><?xml version="1.0" encoding="utf-8"?>
<a:theme xmlns:a="http://schemas.openxmlformats.org/drawingml/2006/main" name="Theme1">
  <a:themeElements>
    <a:clrScheme name="Custom 4">
      <a:dk1>
        <a:srgbClr val="000000"/>
      </a:dk1>
      <a:lt1>
        <a:srgbClr val="FFFFFF"/>
      </a:lt1>
      <a:dk2>
        <a:srgbClr val="00202D"/>
      </a:dk2>
      <a:lt2>
        <a:srgbClr val="FFFFFE"/>
      </a:lt2>
      <a:accent1>
        <a:srgbClr val="920F1C"/>
      </a:accent1>
      <a:accent2>
        <a:srgbClr val="CD0920"/>
      </a:accent2>
      <a:accent3>
        <a:srgbClr val="4D7386"/>
      </a:accent3>
      <a:accent4>
        <a:srgbClr val="94ACB8"/>
      </a:accent4>
      <a:accent5>
        <a:srgbClr val="C2D3D9"/>
      </a:accent5>
      <a:accent6>
        <a:srgbClr val="999A98"/>
      </a:accent6>
      <a:hlink>
        <a:srgbClr val="CD0920"/>
      </a:hlink>
      <a:folHlink>
        <a:srgbClr val="000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ckpit-Performance-Marketing-2021-04-02" id="{310DF9CC-5A44-464D-B356-86B1D9D8250B}" vid="{46573CFD-B3FA-40B7-A3F5-7ADF0C2C67C0}"/>
    </a:ext>
  </a:extLst>
</a:theme>
</file>

<file path=ppt/theme/theme5.xml><?xml version="1.0" encoding="utf-8"?>
<a:theme xmlns:a="http://schemas.openxmlformats.org/drawingml/2006/main" name="2_2020-Template-External">
  <a:themeElements>
    <a:clrScheme name="SAS 2020">
      <a:dk1>
        <a:srgbClr val="012036"/>
      </a:dk1>
      <a:lt1>
        <a:srgbClr val="FFFFFF"/>
      </a:lt1>
      <a:dk2>
        <a:srgbClr val="012036"/>
      </a:dk2>
      <a:lt2>
        <a:srgbClr val="768396"/>
      </a:lt2>
      <a:accent1>
        <a:srgbClr val="33A3FF"/>
      </a:accent1>
      <a:accent2>
        <a:srgbClr val="29D6CD"/>
      </a:accent2>
      <a:accent3>
        <a:srgbClr val="15B57B"/>
      </a:accent3>
      <a:accent4>
        <a:srgbClr val="6D69FF"/>
      </a:accent4>
      <a:accent5>
        <a:srgbClr val="86134F"/>
      </a:accent5>
      <a:accent6>
        <a:srgbClr val="FFCC32"/>
      </a:accent6>
      <a:hlink>
        <a:srgbClr val="6D69FF"/>
      </a:hlink>
      <a:folHlink>
        <a:srgbClr val="FFCC3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a:solidFill>
              <a:schemeClr val="bg1"/>
            </a:solidFill>
            <a:latin typeface="+mj-lt"/>
          </a:defRPr>
        </a:defPPr>
      </a:lstStyle>
    </a:txDef>
  </a:objectDefaults>
  <a:extraClrSchemeLst/>
  <a:extLst>
    <a:ext uri="{05A4C25C-085E-4340-85A3-A5531E510DB2}">
      <thm15:themeFamily xmlns:thm15="http://schemas.microsoft.com/office/thememl/2012/main" name="Presentation1" id="{B073ED02-2935-B44A-A6CB-DDD09AF28534}" vid="{3D556F1D-43AC-9A44-A933-3CB7A027B220}"/>
    </a:ext>
  </a:extLst>
</a:theme>
</file>

<file path=ppt/theme/theme6.xml><?xml version="1.0" encoding="utf-8"?>
<a:theme xmlns:a="http://schemas.openxmlformats.org/drawingml/2006/main" name="SAS">
  <a:themeElements>
    <a:clrScheme name="SAS-Palette">
      <a:dk1>
        <a:srgbClr val="000000"/>
      </a:dk1>
      <a:lt1>
        <a:srgbClr val="FFFFFF"/>
      </a:lt1>
      <a:dk2>
        <a:srgbClr val="04304B"/>
      </a:dk2>
      <a:lt2>
        <a:srgbClr val="C0E3F6"/>
      </a:lt2>
      <a:accent1>
        <a:srgbClr val="0074BE"/>
      </a:accent1>
      <a:accent2>
        <a:srgbClr val="61BAE9"/>
      </a:accent2>
      <a:accent3>
        <a:srgbClr val="04304B"/>
      </a:accent3>
      <a:accent4>
        <a:srgbClr val="00B08D"/>
      </a:accent4>
      <a:accent5>
        <a:srgbClr val="90B328"/>
      </a:accent5>
      <a:accent6>
        <a:srgbClr val="F58220"/>
      </a:accent6>
      <a:hlink>
        <a:srgbClr val="0074BE"/>
      </a:hlink>
      <a:folHlink>
        <a:srgbClr val="8E2F8A"/>
      </a:folHlink>
    </a:clrScheme>
    <a:fontScheme name="SAS-Fonts">
      <a:majorFont>
        <a:latin typeface="Calibri"/>
        <a:ea typeface=""/>
        <a:cs typeface=""/>
      </a:majorFont>
      <a:minorFont>
        <a:latin typeface="Calibri Light"/>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S-External-16x9" id="{A4157DE2-79D1-5542-BEA3-73B3857D78EB}" vid="{E6678E88-29AC-7645-BD56-4581BD5F57B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AS-External-16x9</Template>
  <TotalTime>1572</TotalTime>
  <Words>1089</Words>
  <Application>Microsoft Office PowerPoint</Application>
  <PresentationFormat>Affichage à l'écran (16:9)</PresentationFormat>
  <Paragraphs>162</Paragraphs>
  <Slides>10</Slides>
  <Notes>4</Notes>
  <HiddenSlides>0</HiddenSlides>
  <MMClips>0</MMClips>
  <ScaleCrop>false</ScaleCrop>
  <HeadingPairs>
    <vt:vector size="8" baseType="variant">
      <vt:variant>
        <vt:lpstr>Polices utilisées</vt:lpstr>
      </vt:variant>
      <vt:variant>
        <vt:i4>11</vt:i4>
      </vt:variant>
      <vt:variant>
        <vt:lpstr>Thème</vt:lpstr>
      </vt:variant>
      <vt:variant>
        <vt:i4>7</vt:i4>
      </vt:variant>
      <vt:variant>
        <vt:lpstr>Serveurs OLE incorporés</vt:lpstr>
      </vt:variant>
      <vt:variant>
        <vt:i4>1</vt:i4>
      </vt:variant>
      <vt:variant>
        <vt:lpstr>Titres des diapositives</vt:lpstr>
      </vt:variant>
      <vt:variant>
        <vt:i4>10</vt:i4>
      </vt:variant>
    </vt:vector>
  </HeadingPairs>
  <TitlesOfParts>
    <vt:vector size="29" baseType="lpstr">
      <vt:lpstr>Arial</vt:lpstr>
      <vt:lpstr>Avenir Next LT Pro</vt:lpstr>
      <vt:lpstr>Avenir Next W1G</vt:lpstr>
      <vt:lpstr>Calibri</vt:lpstr>
      <vt:lpstr>Calibri Light</vt:lpstr>
      <vt:lpstr>Gilroy Light</vt:lpstr>
      <vt:lpstr>Gilroy SemiBold</vt:lpstr>
      <vt:lpstr>Lucida Grande</vt:lpstr>
      <vt:lpstr>LucidaGrande</vt:lpstr>
      <vt:lpstr>Poppins</vt:lpstr>
      <vt:lpstr>Segoe UI</vt:lpstr>
      <vt:lpstr>1_2020-Template-External</vt:lpstr>
      <vt:lpstr>1_NDA</vt:lpstr>
      <vt:lpstr>12_2020-Template-External</vt:lpstr>
      <vt:lpstr>Theme1</vt:lpstr>
      <vt:lpstr>2_2020-Template-External</vt:lpstr>
      <vt:lpstr>SAS</vt:lpstr>
      <vt:lpstr>Office Theme</vt:lpstr>
      <vt:lpstr>think-cell Slide</vt:lpstr>
      <vt:lpstr>Présentation PowerPoint</vt:lpstr>
      <vt:lpstr>Présentation PowerPoint</vt:lpstr>
      <vt:lpstr>Présentation PowerPoint</vt:lpstr>
      <vt:lpstr>Présentation PowerPoint</vt:lpstr>
      <vt:lpstr>Présentation PowerPoint</vt:lpstr>
      <vt:lpstr>Composantes de la solution</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bin Drolet</dc:creator>
  <cp:lastModifiedBy>Robin Drolet</cp:lastModifiedBy>
  <cp:revision>7</cp:revision>
  <dcterms:created xsi:type="dcterms:W3CDTF">2023-03-31T13:04:06Z</dcterms:created>
  <dcterms:modified xsi:type="dcterms:W3CDTF">2023-04-11T12:0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51006F2-8E20-4D4E-B05C-4B5D02827FD6</vt:lpwstr>
  </property>
  <property fmtid="{D5CDD505-2E9C-101B-9397-08002B2CF9AE}" pid="3" name="ArticulatePath">
    <vt:lpwstr>2020-Template-External</vt:lpwstr>
  </property>
</Properties>
</file>